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4.xml" ContentType="application/vnd.openxmlformats-officedocument.them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5.xml" ContentType="application/vnd.openxmlformats-officedocument.them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6.xml" ContentType="application/vnd.openxmlformats-officedocument.them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7.xml" ContentType="application/vnd.openxmlformats-officedocument.them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8.xml" ContentType="application/vnd.openxmlformats-officedocument.them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1.xml" ContentType="application/vnd.openxmlformats-officedocument.presentationml.notesSlide+xml"/>
  <Override PartName="/ppt/tags/tag69.xml" ContentType="application/vnd.openxmlformats-officedocument.presentationml.tags+xml"/>
  <Override PartName="/ppt/notesSlides/notesSlide2.xml" ContentType="application/vnd.openxmlformats-officedocument.presentationml.notesSlide+xml"/>
  <Override PartName="/ppt/tags/tag70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71.xml" ContentType="application/vnd.openxmlformats-officedocument.presentationml.tags+xml"/>
  <Override PartName="/ppt/notesSlides/notesSlide5.xml" ContentType="application/vnd.openxmlformats-officedocument.presentationml.notesSlide+xml"/>
  <Override PartName="/ppt/tags/tag72.xml" ContentType="application/vnd.openxmlformats-officedocument.presentationml.tags+xml"/>
  <Override PartName="/ppt/notesSlides/notesSlide6.xml" ContentType="application/vnd.openxmlformats-officedocument.presentationml.notesSlide+xml"/>
  <Override PartName="/ppt/tags/tag73.xml" ContentType="application/vnd.openxmlformats-officedocument.presentationml.tags+xml"/>
  <Override PartName="/ppt/notesSlides/notesSlide7.xml" ContentType="application/vnd.openxmlformats-officedocument.presentationml.notesSlide+xml"/>
  <Override PartName="/ppt/tags/tag74.xml" ContentType="application/vnd.openxmlformats-officedocument.presentationml.tags+xml"/>
  <Override PartName="/ppt/notesSlides/notesSlide8.xml" ContentType="application/vnd.openxmlformats-officedocument.presentationml.notesSlide+xml"/>
  <Override PartName="/ppt/tags/tag75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11.xml" ContentType="application/vnd.openxmlformats-officedocument.presentationml.notesSlide+xml"/>
  <Override PartName="/ppt/tags/tag78.xml" ContentType="application/vnd.openxmlformats-officedocument.presentationml.tags+xml"/>
  <Override PartName="/ppt/notesSlides/notesSlide12.xml" ContentType="application/vnd.openxmlformats-officedocument.presentationml.notesSlide+xml"/>
  <Override PartName="/ppt/tags/tag79.xml" ContentType="application/vnd.openxmlformats-officedocument.presentationml.tags+xml"/>
  <Override PartName="/ppt/notesSlides/notesSlide13.xml" ContentType="application/vnd.openxmlformats-officedocument.presentationml.notesSlide+xml"/>
  <Override PartName="/ppt/tags/tag80.xml" ContentType="application/vnd.openxmlformats-officedocument.presentationml.tags+xml"/>
  <Override PartName="/ppt/notesSlides/notesSlide14.xml" ContentType="application/vnd.openxmlformats-officedocument.presentationml.notesSlide+xml"/>
  <Override PartName="/ppt/tags/tag81.xml" ContentType="application/vnd.openxmlformats-officedocument.presentationml.tags+xml"/>
  <Override PartName="/ppt/notesSlides/notesSlide15.xml" ContentType="application/vnd.openxmlformats-officedocument.presentationml.notesSlide+xml"/>
  <Override PartName="/ppt/tags/tag82.xml" ContentType="application/vnd.openxmlformats-officedocument.presentationml.tags+xml"/>
  <Override PartName="/ppt/notesSlides/notesSlide16.xml" ContentType="application/vnd.openxmlformats-officedocument.presentationml.notesSlide+xml"/>
  <Override PartName="/ppt/tags/tag83.xml" ContentType="application/vnd.openxmlformats-officedocument.presentationml.tags+xml"/>
  <Override PartName="/ppt/notesSlides/notesSlide17.xml" ContentType="application/vnd.openxmlformats-officedocument.presentationml.notesSlide+xml"/>
  <Override PartName="/ppt/tags/tag84.xml" ContentType="application/vnd.openxmlformats-officedocument.presentationml.tags+xml"/>
  <Override PartName="/ppt/notesSlides/notesSlide18.xml" ContentType="application/vnd.openxmlformats-officedocument.presentationml.notesSlide+xml"/>
  <Override PartName="/ppt/tags/tag85.xml" ContentType="application/vnd.openxmlformats-officedocument.presentationml.tags+xml"/>
  <Override PartName="/ppt/notesSlides/notesSlide19.xml" ContentType="application/vnd.openxmlformats-officedocument.presentationml.notesSlide+xml"/>
  <Override PartName="/ppt/tags/tag86.xml" ContentType="application/vnd.openxmlformats-officedocument.presentationml.tags+xml"/>
  <Override PartName="/ppt/notesSlides/notesSlide20.xml" ContentType="application/vnd.openxmlformats-officedocument.presentationml.notesSlid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notesSlides/notesSlide21.xml" ContentType="application/vnd.openxmlformats-officedocument.presentationml.notesSlide+xml"/>
  <Override PartName="/ppt/tags/tag89.xml" ContentType="application/vnd.openxmlformats-officedocument.presentationml.tags+xml"/>
  <Override PartName="/ppt/notesSlides/notesSlide22.xml" ContentType="application/vnd.openxmlformats-officedocument.presentationml.notesSlide+xml"/>
  <Override PartName="/ppt/tags/tag90.xml" ContentType="application/vnd.openxmlformats-officedocument.presentationml.tags+xml"/>
  <Override PartName="/ppt/notesSlides/notesSlide23.xml" ContentType="application/vnd.openxmlformats-officedocument.presentationml.notesSlide+xml"/>
  <Override PartName="/ppt/tags/tag91.xml" ContentType="application/vnd.openxmlformats-officedocument.presentationml.tags+xml"/>
  <Override PartName="/ppt/notesSlides/notesSlide24.xml" ContentType="application/vnd.openxmlformats-officedocument.presentationml.notesSlide+xml"/>
  <Override PartName="/ppt/tags/tag92.xml" ContentType="application/vnd.openxmlformats-officedocument.presentationml.tags+xml"/>
  <Override PartName="/ppt/notesSlides/notesSlide25.xml" ContentType="application/vnd.openxmlformats-officedocument.presentationml.notesSlide+xml"/>
  <Override PartName="/ppt/tags/tag93.xml" ContentType="application/vnd.openxmlformats-officedocument.presentationml.tags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tags/tag94.xml" ContentType="application/vnd.openxmlformats-officedocument.presentationml.tags+xml"/>
  <Override PartName="/ppt/notesSlides/notesSlide28.xml" ContentType="application/vnd.openxmlformats-officedocument.presentationml.notesSlide+xml"/>
  <Override PartName="/ppt/tags/tag95.xml" ContentType="application/vnd.openxmlformats-officedocument.presentationml.tags+xml"/>
  <Override PartName="/ppt/notesSlides/notesSlide29.xml" ContentType="application/vnd.openxmlformats-officedocument.presentationml.notesSlide+xml"/>
  <Override PartName="/ppt/tags/tag96.xml" ContentType="application/vnd.openxmlformats-officedocument.presentationml.tags+xml"/>
  <Override PartName="/ppt/notesSlides/notesSlide30.xml" ContentType="application/vnd.openxmlformats-officedocument.presentationml.notesSlide+xml"/>
  <Override PartName="/ppt/tags/tag97.xml" ContentType="application/vnd.openxmlformats-officedocument.presentationml.tags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tags/tag98.xml" ContentType="application/vnd.openxmlformats-officedocument.presentationml.tags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1"/>
    <p:sldMasterId id="2147483693" r:id="rId2"/>
    <p:sldMasterId id="2147483701" r:id="rId3"/>
    <p:sldMasterId id="2147483706" r:id="rId4"/>
    <p:sldMasterId id="2147483712" r:id="rId5"/>
    <p:sldMasterId id="2147483723" r:id="rId6"/>
    <p:sldMasterId id="2147483908" r:id="rId7"/>
    <p:sldMasterId id="2147483927" r:id="rId8"/>
  </p:sldMasterIdLst>
  <p:notesMasterIdLst>
    <p:notesMasterId r:id="rId51"/>
  </p:notesMasterIdLst>
  <p:handoutMasterIdLst>
    <p:handoutMasterId r:id="rId52"/>
  </p:handoutMasterIdLst>
  <p:sldIdLst>
    <p:sldId id="7722" r:id="rId9"/>
    <p:sldId id="7686" r:id="rId10"/>
    <p:sldId id="7705" r:id="rId11"/>
    <p:sldId id="7706" r:id="rId12"/>
    <p:sldId id="260" r:id="rId13"/>
    <p:sldId id="455" r:id="rId14"/>
    <p:sldId id="7728" r:id="rId15"/>
    <p:sldId id="7729" r:id="rId16"/>
    <p:sldId id="7724" r:id="rId17"/>
    <p:sldId id="7730" r:id="rId18"/>
    <p:sldId id="7731" r:id="rId19"/>
    <p:sldId id="7732" r:id="rId20"/>
    <p:sldId id="7726" r:id="rId21"/>
    <p:sldId id="7727" r:id="rId22"/>
    <p:sldId id="7688" r:id="rId23"/>
    <p:sldId id="7733" r:id="rId24"/>
    <p:sldId id="7734" r:id="rId25"/>
    <p:sldId id="7735" r:id="rId26"/>
    <p:sldId id="7736" r:id="rId27"/>
    <p:sldId id="7737" r:id="rId28"/>
    <p:sldId id="7738" r:id="rId29"/>
    <p:sldId id="7739" r:id="rId30"/>
    <p:sldId id="266" r:id="rId31"/>
    <p:sldId id="7759" r:id="rId32"/>
    <p:sldId id="7740" r:id="rId33"/>
    <p:sldId id="7710" r:id="rId34"/>
    <p:sldId id="7741" r:id="rId35"/>
    <p:sldId id="7742" r:id="rId36"/>
    <p:sldId id="7743" r:id="rId37"/>
    <p:sldId id="7744" r:id="rId38"/>
    <p:sldId id="7745" r:id="rId39"/>
    <p:sldId id="7746" r:id="rId40"/>
    <p:sldId id="805" r:id="rId41"/>
    <p:sldId id="7747" r:id="rId42"/>
    <p:sldId id="7750" r:id="rId43"/>
    <p:sldId id="7748" r:id="rId44"/>
    <p:sldId id="7752" r:id="rId45"/>
    <p:sldId id="7753" r:id="rId46"/>
    <p:sldId id="7754" r:id="rId47"/>
    <p:sldId id="7758" r:id="rId48"/>
    <p:sldId id="7755" r:id="rId49"/>
    <p:sldId id="7757" r:id="rId50"/>
  </p:sldIdLst>
  <p:sldSz cx="12192000" cy="6858000"/>
  <p:notesSz cx="6735763" cy="9866313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5A23"/>
    <a:srgbClr val="FCEAE8"/>
    <a:srgbClr val="FFFFFF"/>
    <a:srgbClr val="F3774B"/>
    <a:srgbClr val="FFEBDE"/>
    <a:srgbClr val="FEB687"/>
    <a:srgbClr val="FFF8F3"/>
    <a:srgbClr val="F9D1CC"/>
    <a:srgbClr val="FDE6DE"/>
    <a:srgbClr val="FEF2E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A107856-5554-42FB-B03E-39F5DBC370BA}" styleName="中度样式 4 - 强调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9DCAF9ED-07DC-4A11-8D7F-57B35C25682E}" styleName="中度样式 1 - 强调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0E3FDE45-AF77-4B5C-9715-49D594BDF05E}" styleName="浅色样式 1 - 强调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4194" autoAdjust="0"/>
    <p:restoredTop sz="83650" autoAdjust="0"/>
  </p:normalViewPr>
  <p:slideViewPr>
    <p:cSldViewPr snapToGrid="0">
      <p:cViewPr varScale="1">
        <p:scale>
          <a:sx n="71" d="100"/>
          <a:sy n="71" d="100"/>
        </p:scale>
        <p:origin x="538" y="53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132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napToGrid="0">
      <p:cViewPr varScale="1">
        <p:scale>
          <a:sx n="60" d="100"/>
          <a:sy n="60" d="100"/>
        </p:scale>
        <p:origin x="2434" y="3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slide" Target="slides/slide34.xml"/><Relationship Id="rId47" Type="http://schemas.openxmlformats.org/officeDocument/2006/relationships/slide" Target="slides/slide39.xml"/><Relationship Id="rId50" Type="http://schemas.openxmlformats.org/officeDocument/2006/relationships/slide" Target="slides/slide42.xml"/><Relationship Id="rId55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9" Type="http://schemas.openxmlformats.org/officeDocument/2006/relationships/slide" Target="slides/slide21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slide" Target="slides/slide37.xml"/><Relationship Id="rId53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slide" Target="slides/slide36.xml"/><Relationship Id="rId52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slide" Target="slides/slide35.xml"/><Relationship Id="rId48" Type="http://schemas.openxmlformats.org/officeDocument/2006/relationships/slide" Target="slides/slide40.xml"/><Relationship Id="rId56" Type="http://schemas.openxmlformats.org/officeDocument/2006/relationships/tableStyles" Target="tableStyles.xml"/><Relationship Id="rId8" Type="http://schemas.openxmlformats.org/officeDocument/2006/relationships/slideMaster" Target="slideMasters/slideMaster8.xml"/><Relationship Id="rId51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slide" Target="slides/slide38.xml"/><Relationship Id="rId20" Type="http://schemas.openxmlformats.org/officeDocument/2006/relationships/slide" Target="slides/slide12.xml"/><Relationship Id="rId41" Type="http://schemas.openxmlformats.org/officeDocument/2006/relationships/slide" Target="slides/slide33.xml"/><Relationship Id="rId54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slide" Target="slides/slide4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2CECAA81-BD31-013A-ABAD-17A50294E48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941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A5FE2A22-5087-2B55-D44A-B1E7B15B06F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14763" y="0"/>
            <a:ext cx="2919412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3D7D3AD-E0CE-4CCA-A2D0-C18D54F23F59}" type="datetimeFigureOut">
              <a:rPr lang="zh-CN" altLang="en-US" smtClean="0"/>
              <a:t>2024/8/13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933B532C-6477-FCA1-A8DE-8549640E9CC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371013"/>
            <a:ext cx="291941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4DEE0C7B-019B-4D02-96CA-A8B6D478750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14763" y="9371013"/>
            <a:ext cx="2919412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B8E724-2E72-4B6F-9B71-0D521DB73D6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1966487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688417-6737-4F20-A22D-5038F03E2760}" type="datetimeFigureOut">
              <a:rPr lang="zh-CN" altLang="en-US" smtClean="0"/>
              <a:t>2024/8/1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09FE43-54E4-4532-AB4E-D7044BDB635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73896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9FE43-54E4-4532-AB4E-D7044BDB6354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1362276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09FE43-54E4-4532-AB4E-D7044BDB6354}" type="slidenum">
              <a:rPr lang="zh-CN" altLang="en-US" smtClean="0"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3774498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9FE43-54E4-4532-AB4E-D7044BDB6354}" type="slidenum">
              <a:rPr lang="zh-CN" altLang="en-US" smtClean="0"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2516986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9FE43-54E4-4532-AB4E-D7044BDB6354}" type="slidenum">
              <a:rPr lang="zh-CN" altLang="en-US" smtClean="0"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528318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9FE43-54E4-4532-AB4E-D7044BDB6354}" type="slidenum">
              <a:rPr lang="zh-CN" altLang="en-US" smtClean="0"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3258124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9FE43-54E4-4532-AB4E-D7044BDB6354}" type="slidenum">
              <a:rPr lang="zh-CN" altLang="en-US" smtClean="0"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360943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9FE43-54E4-4532-AB4E-D7044BDB6354}" type="slidenum">
              <a:rPr lang="zh-CN" altLang="en-US" smtClean="0"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0576830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9FE43-54E4-4532-AB4E-D7044BDB6354}" type="slidenum">
              <a:rPr lang="zh-CN" altLang="en-US" smtClean="0"/>
              <a:t>2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569283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9FE43-54E4-4532-AB4E-D7044BDB6354}" type="slidenum">
              <a:rPr lang="zh-CN" altLang="en-US" smtClean="0"/>
              <a:t>2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7740469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9FE43-54E4-4532-AB4E-D7044BDB6354}" type="slidenum">
              <a:rPr lang="zh-CN" altLang="en-US" smtClean="0"/>
              <a:t>2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018769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09FE43-54E4-4532-AB4E-D7044BDB6354}" type="slidenum">
              <a:rPr lang="zh-CN" altLang="en-US" smtClean="0"/>
              <a:t>2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88870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9FE43-54E4-4532-AB4E-D7044BDB6354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6437351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9FE43-54E4-4532-AB4E-D7044BDB6354}" type="slidenum">
              <a:rPr lang="zh-CN" altLang="en-US" smtClean="0"/>
              <a:t>2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4889695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9FE43-54E4-4532-AB4E-D7044BDB6354}" type="slidenum">
              <a:rPr lang="zh-CN" altLang="en-US" smtClean="0"/>
              <a:t>2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3527884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9FE43-54E4-4532-AB4E-D7044BDB6354}" type="slidenum">
              <a:rPr lang="zh-CN" altLang="en-US" smtClean="0"/>
              <a:t>2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9525155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9FE43-54E4-4532-AB4E-D7044BDB6354}" type="slidenum">
              <a:rPr lang="zh-CN" altLang="en-US" smtClean="0"/>
              <a:t>2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708135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9FE43-54E4-4532-AB4E-D7044BDB6354}" type="slidenum">
              <a:rPr lang="zh-CN" altLang="en-US" smtClean="0"/>
              <a:t>3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6847793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9FE43-54E4-4532-AB4E-D7044BDB6354}" type="slidenum">
              <a:rPr lang="zh-CN" altLang="en-US" smtClean="0"/>
              <a:t>3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1436413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9FE43-54E4-4532-AB4E-D7044BDB6354}" type="slidenum">
              <a:rPr lang="zh-CN" altLang="en-US" smtClean="0"/>
              <a:t>3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5744775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09FE43-54E4-4532-AB4E-D7044BDB6354}" type="slidenum">
              <a:rPr lang="zh-CN" altLang="en-US" smtClean="0"/>
              <a:t>3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1826628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9FE43-54E4-4532-AB4E-D7044BDB6354}" type="slidenum">
              <a:rPr lang="zh-CN" altLang="en-US" smtClean="0"/>
              <a:t>3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4596169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9FE43-54E4-4532-AB4E-D7044BDB6354}" type="slidenum">
              <a:rPr lang="zh-CN" altLang="en-US" smtClean="0"/>
              <a:t>3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656231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9FE43-54E4-4532-AB4E-D7044BDB6354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4325445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9FE43-54E4-4532-AB4E-D7044BDB6354}" type="slidenum">
              <a:rPr lang="zh-CN" altLang="en-US" smtClean="0"/>
              <a:t>3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3971359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9FE43-54E4-4532-AB4E-D7044BDB6354}" type="slidenum">
              <a:rPr lang="zh-CN" altLang="en-US" smtClean="0"/>
              <a:t>3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2189910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09FE43-54E4-4532-AB4E-D7044BDB6354}" type="slidenum">
              <a:rPr lang="zh-CN" altLang="en-US" smtClean="0"/>
              <a:t>3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7682486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9FE43-54E4-4532-AB4E-D7044BDB6354}" type="slidenum">
              <a:rPr lang="zh-CN" altLang="en-US" smtClean="0"/>
              <a:t>3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10170131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09FE43-54E4-4532-AB4E-D7044BDB6354}" type="slidenum">
              <a:rPr lang="zh-CN" altLang="en-US" smtClean="0"/>
              <a:t>4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05406449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9FE43-54E4-4532-AB4E-D7044BDB6354}" type="slidenum">
              <a:rPr lang="zh-CN" altLang="en-US" smtClean="0"/>
              <a:t>4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2637786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09FE43-54E4-4532-AB4E-D7044BDB6354}" type="slidenum">
              <a:rPr lang="zh-CN" altLang="en-US" smtClean="0"/>
              <a:t>4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205650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57580D-E2DA-4F03-9E17-A0829F46269E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61405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9FE43-54E4-4532-AB4E-D7044BDB6354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3484122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9FE43-54E4-4532-AB4E-D7044BDB6354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092039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9FE43-54E4-4532-AB4E-D7044BDB6354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7301696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9FE43-54E4-4532-AB4E-D7044BDB6354}" type="slidenum">
              <a:rPr lang="zh-CN" altLang="en-US" smtClean="0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3347715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9FE43-54E4-4532-AB4E-D7044BDB6354}" type="slidenum">
              <a:rPr lang="zh-CN" altLang="en-US" smtClean="0"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409181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5.jpe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27.xml"/><Relationship Id="rId7" Type="http://schemas.openxmlformats.org/officeDocument/2006/relationships/image" Target="../media/image2.emf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8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9.xml"/><Relationship Id="rId5" Type="http://schemas.openxmlformats.org/officeDocument/2006/relationships/image" Target="../media/image9.png"/><Relationship Id="rId4" Type="http://schemas.openxmlformats.org/officeDocument/2006/relationships/image" Target="../media/image2.emf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3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2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0.bin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.bin"/><Relationship Id="rId3" Type="http://schemas.openxmlformats.org/officeDocument/2006/relationships/tags" Target="../tags/tag38.xml"/><Relationship Id="rId7" Type="http://schemas.openxmlformats.org/officeDocument/2006/relationships/image" Target="../media/image2.emf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oleObject" Target="../embeddings/oleObject21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39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0.xml"/><Relationship Id="rId5" Type="http://schemas.openxmlformats.org/officeDocument/2006/relationships/image" Target="../media/image9.png"/><Relationship Id="rId4" Type="http://schemas.openxmlformats.org/officeDocument/2006/relationships/image" Target="../media/image2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7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9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1.bin"/></Relationships>
</file>

<file path=ppt/slideLayouts/_rels/slideLayout6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6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4.bin"/><Relationship Id="rId4" Type="http://schemas.openxmlformats.org/officeDocument/2006/relationships/image" Target="../media/image4.jpeg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5.bin"/><Relationship Id="rId4" Type="http://schemas.openxmlformats.org/officeDocument/2006/relationships/image" Target="../media/image5.jpe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6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4.jpe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封面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"/>
          <p:cNvSpPr>
            <a:spLocks/>
          </p:cNvSpPr>
          <p:nvPr userDrawn="1"/>
        </p:nvSpPr>
        <p:spPr bwMode="auto">
          <a:xfrm flipH="1">
            <a:off x="0" y="3073313"/>
            <a:ext cx="10920534" cy="2262324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YaHei"/>
              <a:ea typeface="Microsoft YaHei"/>
            </a:endParaRPr>
          </a:p>
        </p:txBody>
      </p:sp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对象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矩形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4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矩形 11"/>
          <p:cNvSpPr/>
          <p:nvPr userDrawn="1"/>
        </p:nvSpPr>
        <p:spPr>
          <a:xfrm>
            <a:off x="-1" y="5335637"/>
            <a:ext cx="12191999" cy="15223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24135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9300883" y="6381684"/>
            <a:ext cx="2743200" cy="365125"/>
          </a:xfrm>
        </p:spPr>
        <p:txBody>
          <a:bodyPr/>
          <a:lstStyle>
            <a:lvl1pPr algn="r">
              <a:defRPr sz="1600"/>
            </a:lvl1pPr>
          </a:lstStyle>
          <a:p>
            <a:fld id="{D174682D-7201-4549-AB46-A3B3CC68F057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3" name="流程图: 接点 2">
            <a:extLst>
              <a:ext uri="{FF2B5EF4-FFF2-40B4-BE49-F238E27FC236}">
                <a16:creationId xmlns:a16="http://schemas.microsoft.com/office/drawing/2014/main" id="{C4E02A8D-56BA-2A02-50C5-8FF20B9E4246}"/>
              </a:ext>
            </a:extLst>
          </p:cNvPr>
          <p:cNvSpPr/>
          <p:nvPr userDrawn="1"/>
        </p:nvSpPr>
        <p:spPr>
          <a:xfrm>
            <a:off x="341744" y="332508"/>
            <a:ext cx="508002" cy="432000"/>
          </a:xfrm>
          <a:prstGeom prst="flowChartConnector">
            <a:avLst/>
          </a:prstGeom>
          <a:solidFill>
            <a:srgbClr val="F05A23"/>
          </a:solidFill>
          <a:ln w="9525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36000" tIns="108000" rIns="36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endParaRPr lang="zh-CN" altLang="en-US" sz="1100" b="1" kern="0">
              <a:solidFill>
                <a:prstClr val="black"/>
              </a:solidFill>
              <a:latin typeface="Arial"/>
              <a:ea typeface="华文楷体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30369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封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4" name="Rectangle 2"/>
          <p:cNvSpPr/>
          <p:nvPr userDrawn="1"/>
        </p:nvSpPr>
        <p:spPr bwMode="auto">
          <a:xfrm flipH="1">
            <a:off x="4493" y="2451820"/>
            <a:ext cx="12190413" cy="1985292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noFill/>
          </a:ln>
        </p:spPr>
        <p:txBody>
          <a:bodyPr lIns="0" tIns="0" rIns="0" bIns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4" name="对象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矩形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4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80604020202020204" pitchFamily="34" charset="0"/>
              <a:ea typeface="微软雅黑" panose="020B0503020204020204" pitchFamily="34" charset="-122"/>
              <a:cs typeface="+mn-cs"/>
              <a:sym typeface="Arial" panose="02080604020202020204" pitchFamily="34" charset="0"/>
            </a:endParaRPr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0" hasCustomPrompt="1"/>
          </p:nvPr>
        </p:nvSpPr>
        <p:spPr>
          <a:xfrm>
            <a:off x="4495" y="2970699"/>
            <a:ext cx="12190413" cy="94753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/>
              <a:t>谢谢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7326749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270" imgH="270" progId="TCLayout.ActiveDocument.1">
                  <p:embed/>
                </p:oleObj>
              </mc:Choice>
              <mc:Fallback>
                <p:oleObj name="think-cell 幻灯片" r:id="rId4" imgW="270" imgH="270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altLang="zh-CN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2105 TED Sample Slides WhiteV13_Gaoliao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61600" y="3069000"/>
            <a:ext cx="10934700" cy="72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lnSpc>
                <a:spcPct val="100000"/>
              </a:lnSpc>
              <a:defRPr b="1"/>
            </a:lvl1pPr>
          </a:lstStyle>
          <a:p>
            <a:r>
              <a:rPr lang="en-US" altLang="zh-CN" dirty="0"/>
              <a:t>Click to add title</a:t>
            </a:r>
            <a:endParaRPr lang="en-US" dirty="0"/>
          </a:p>
        </p:txBody>
      </p:sp>
      <p:sp>
        <p:nvSpPr>
          <p:cNvPr id="8" name="文本占位符 6"/>
          <p:cNvSpPr>
            <a:spLocks noGrp="1"/>
          </p:cNvSpPr>
          <p:nvPr>
            <p:ph type="body" sz="quarter" idx="11" hasCustomPrompt="1"/>
          </p:nvPr>
        </p:nvSpPr>
        <p:spPr>
          <a:xfrm>
            <a:off x="360000" y="6408210"/>
            <a:ext cx="10934700" cy="422275"/>
          </a:xfrm>
        </p:spPr>
        <p:txBody>
          <a:bodyPr tIns="0" bIns="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zh-CN" dirty="0"/>
              <a:t>Note:</a:t>
            </a:r>
            <a:br>
              <a:rPr lang="en-US" altLang="zh-CN" dirty="0"/>
            </a:br>
            <a:r>
              <a:rPr lang="en-US" altLang="zh-CN" dirty="0"/>
              <a:t>Source: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647368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3" descr="1321321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29" t="-11413" r="28311" b="-8087"/>
          <a:stretch/>
        </p:blipFill>
        <p:spPr bwMode="auto">
          <a:xfrm>
            <a:off x="-2" y="6537324"/>
            <a:ext cx="12192001" cy="335915"/>
          </a:xfrm>
          <a:prstGeom prst="rect">
            <a:avLst/>
          </a:prstGeom>
          <a:noFill/>
          <a:ln>
            <a:noFill/>
          </a:ln>
          <a:effectLst>
            <a:glow>
              <a:schemeClr val="accent1">
                <a:alpha val="40000"/>
              </a:schemeClr>
            </a:glow>
            <a:outerShdw blurRad="50800" dist="50800" dir="5400000" algn="ctr" rotWithShape="0">
              <a:srgbClr val="000000">
                <a:alpha val="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标题 1"/>
          <p:cNvSpPr txBox="1">
            <a:spLocks/>
          </p:cNvSpPr>
          <p:nvPr userDrawn="1"/>
        </p:nvSpPr>
        <p:spPr>
          <a:xfrm>
            <a:off x="335360" y="241511"/>
            <a:ext cx="11390032" cy="431136"/>
          </a:xfrm>
          <a:prstGeom prst="rect">
            <a:avLst/>
          </a:prstGeom>
        </p:spPr>
        <p:txBody>
          <a:bodyPr lIns="0" rIns="47997" anchor="ctr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+mj-lt"/>
                <a:ea typeface="华文楷体" panose="02010600040101010101" pitchFamily="2" charset="-122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5867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5867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5867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5867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609585" algn="ctr" rtl="0" fontAlgn="base">
              <a:spcBef>
                <a:spcPct val="0"/>
              </a:spcBef>
              <a:spcAft>
                <a:spcPct val="0"/>
              </a:spcAft>
              <a:defRPr sz="5867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1219170" algn="ctr" rtl="0" fontAlgn="base">
              <a:spcBef>
                <a:spcPct val="0"/>
              </a:spcBef>
              <a:spcAft>
                <a:spcPct val="0"/>
              </a:spcAft>
              <a:defRPr sz="5867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828754" algn="ctr" rtl="0" fontAlgn="base">
              <a:spcBef>
                <a:spcPct val="0"/>
              </a:spcBef>
              <a:spcAft>
                <a:spcPct val="0"/>
              </a:spcAft>
              <a:defRPr sz="5867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2438339" algn="ctr" rtl="0" fontAlgn="base">
              <a:spcBef>
                <a:spcPct val="0"/>
              </a:spcBef>
              <a:spcAft>
                <a:spcPct val="0"/>
              </a:spcAft>
              <a:defRPr sz="5867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j-cs"/>
            </a:endParaRPr>
          </a:p>
        </p:txBody>
      </p:sp>
      <p:sp>
        <p:nvSpPr>
          <p:cNvPr id="8" name="灯片编号占位符 3"/>
          <p:cNvSpPr>
            <a:spLocks noGrp="1"/>
          </p:cNvSpPr>
          <p:nvPr>
            <p:ph type="sldNum" sz="quarter" idx="4"/>
          </p:nvPr>
        </p:nvSpPr>
        <p:spPr>
          <a:xfrm>
            <a:off x="9342967" y="6534854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华文楷体" panose="02010600040101010101" pitchFamily="2" charset="-122"/>
                <a:ea typeface="华文楷体" panose="02010600040101010101" pitchFamily="2" charset="-122"/>
              </a:defRPr>
            </a:lvl1pPr>
          </a:lstStyle>
          <a:p>
            <a:pPr algn="r">
              <a:defRPr/>
            </a:pPr>
            <a:r>
              <a:rPr lang="zh-CN" altLang="en-US"/>
              <a:t>第</a:t>
            </a:r>
            <a:fld id="{05D54425-7CA0-47B8-BF13-C0F370DB0253}" type="slidenum">
              <a:rPr lang="zh-CN" altLang="en-US" smtClean="0"/>
              <a:pPr algn="r">
                <a:defRPr/>
              </a:pPr>
              <a:t>‹#›</a:t>
            </a:fld>
            <a:r>
              <a:rPr lang="zh-CN" altLang="en-US"/>
              <a:t>页</a:t>
            </a:r>
            <a:endParaRPr lang="zh-CN" altLang="en-US" dirty="0"/>
          </a:p>
        </p:txBody>
      </p:sp>
      <p:pic>
        <p:nvPicPr>
          <p:cNvPr id="9" name="Picture 21" descr="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325" y="6644961"/>
            <a:ext cx="1387290" cy="1271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8689750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图片占位符 3">
            <a:extLst>
              <a:ext uri="{FF2B5EF4-FFF2-40B4-BE49-F238E27FC236}">
                <a16:creationId xmlns:a16="http://schemas.microsoft.com/office/drawing/2014/main" id="{A7710C29-5F58-7647-80F7-F5FD18ECC9E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91727" y="4113203"/>
            <a:ext cx="3285901" cy="1765813"/>
          </a:xfrm>
          <a:prstGeom prst="rect">
            <a:avLst/>
          </a:pr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kumimoji="1" lang="zh-CN" alt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kumimoji="1" lang="zh-CN" altLang="en-US"/>
              <a:t>拖拽插入图片</a:t>
            </a:r>
          </a:p>
        </p:txBody>
      </p:sp>
      <p:sp>
        <p:nvSpPr>
          <p:cNvPr id="6" name="图片占位符 3">
            <a:extLst>
              <a:ext uri="{FF2B5EF4-FFF2-40B4-BE49-F238E27FC236}">
                <a16:creationId xmlns:a16="http://schemas.microsoft.com/office/drawing/2014/main" id="{BDFE1B8C-F241-BF42-9E4E-A0EE67D85E9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453048" y="4113203"/>
            <a:ext cx="3285901" cy="1765813"/>
          </a:xfrm>
          <a:prstGeom prst="rect">
            <a:avLst/>
          </a:pr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kumimoji="1" lang="zh-CN" alt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kumimoji="1" lang="zh-CN" altLang="en-US"/>
              <a:t>拖拽插入图片</a:t>
            </a:r>
          </a:p>
        </p:txBody>
      </p:sp>
      <p:sp>
        <p:nvSpPr>
          <p:cNvPr id="7" name="图片占位符 3">
            <a:extLst>
              <a:ext uri="{FF2B5EF4-FFF2-40B4-BE49-F238E27FC236}">
                <a16:creationId xmlns:a16="http://schemas.microsoft.com/office/drawing/2014/main" id="{46ED8263-5F93-2346-8BA4-91A4CD56F4A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114371" y="4113203"/>
            <a:ext cx="3285901" cy="1765813"/>
          </a:xfrm>
          <a:prstGeom prst="rect">
            <a:avLst/>
          </a:pr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kumimoji="1" lang="zh-CN" alt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kumimoji="1" lang="zh-CN" altLang="en-US"/>
              <a:t>拖拽插入图片</a:t>
            </a:r>
          </a:p>
        </p:txBody>
      </p:sp>
    </p:spTree>
    <p:extLst>
      <p:ext uri="{BB962C8B-B14F-4D97-AF65-F5344CB8AC3E}">
        <p14:creationId xmlns:p14="http://schemas.microsoft.com/office/powerpoint/2010/main" val="149591942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15275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270" imgH="270" progId="TCLayout.ActiveDocument.1">
                  <p:embed/>
                </p:oleObj>
              </mc:Choice>
              <mc:Fallback>
                <p:oleObj name="think-cell 幻灯片" r:id="rId3" imgW="270" imgH="270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矩形 2"/>
          <p:cNvSpPr/>
          <p:nvPr/>
        </p:nvSpPr>
        <p:spPr>
          <a:xfrm>
            <a:off x="0" y="0"/>
            <a:ext cx="129309" cy="6858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77"/>
          <a:stretch/>
        </p:blipFill>
        <p:spPr bwMode="auto">
          <a:xfrm>
            <a:off x="295564" y="0"/>
            <a:ext cx="11896436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Rectangle 20"/>
          <p:cNvSpPr/>
          <p:nvPr/>
        </p:nvSpPr>
        <p:spPr bwMode="black">
          <a:xfrm>
            <a:off x="115021" y="2004291"/>
            <a:ext cx="9415624" cy="2292405"/>
          </a:xfrm>
          <a:prstGeom prst="rect">
            <a:avLst/>
          </a:prstGeom>
          <a:solidFill>
            <a:srgbClr val="EA5404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7305368" y="6207842"/>
            <a:ext cx="4681760" cy="327148"/>
          </a:xfrm>
          <a:prstGeom prst="rect">
            <a:avLst/>
          </a:prstGeom>
          <a:noFill/>
        </p:spPr>
        <p:txBody>
          <a:bodyPr anchor="ctr"/>
          <a:lstStyle>
            <a:lvl1pPr algn="r">
              <a:lnSpc>
                <a:spcPct val="110000"/>
              </a:lnSpc>
              <a:buNone/>
              <a:defRPr sz="1600" b="1" cap="all" baseline="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957600" y="3834054"/>
            <a:ext cx="7607902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2000" b="0" baseline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957600" y="2257799"/>
            <a:ext cx="7607902" cy="1431161"/>
          </a:xfrm>
          <a:prstGeom prst="rect">
            <a:avLst/>
          </a:prstGeom>
        </p:spPr>
        <p:txBody>
          <a:bodyPr vert="horz" wrap="square" anchor="ctr">
            <a:noAutofit/>
          </a:bodyPr>
          <a:lstStyle>
            <a:lvl1pPr algn="l">
              <a:lnSpc>
                <a:spcPct val="93000"/>
              </a:lnSpc>
              <a:defRPr sz="5000" b="1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altLang="zh-CN" dirty="0"/>
              <a:t>Title in Title Case</a:t>
            </a:r>
            <a:endParaRPr lang="en-US" dirty="0"/>
          </a:p>
        </p:txBody>
      </p:sp>
      <p:grpSp>
        <p:nvGrpSpPr>
          <p:cNvPr id="16" name="组合 15"/>
          <p:cNvGrpSpPr>
            <a:grpSpLocks noChangeAspect="1"/>
          </p:cNvGrpSpPr>
          <p:nvPr/>
        </p:nvGrpSpPr>
        <p:grpSpPr>
          <a:xfrm>
            <a:off x="652637" y="297259"/>
            <a:ext cx="1150838" cy="432048"/>
            <a:chOff x="13103547" y="829734"/>
            <a:chExt cx="2203232" cy="827288"/>
          </a:xfrm>
        </p:grpSpPr>
        <p:pic>
          <p:nvPicPr>
            <p:cNvPr id="17" name="图片 16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3586494" y="885667"/>
              <a:ext cx="1720285" cy="720000"/>
            </a:xfrm>
            <a:prstGeom prst="rect">
              <a:avLst/>
            </a:prstGeom>
          </p:spPr>
        </p:pic>
        <p:grpSp>
          <p:nvGrpSpPr>
            <p:cNvPr id="19" name="组合 18"/>
            <p:cNvGrpSpPr/>
            <p:nvPr userDrawn="1"/>
          </p:nvGrpSpPr>
          <p:grpSpPr>
            <a:xfrm>
              <a:off x="13103547" y="829734"/>
              <a:ext cx="171450" cy="827288"/>
              <a:chOff x="12841961" y="829734"/>
              <a:chExt cx="171450" cy="827288"/>
            </a:xfrm>
          </p:grpSpPr>
          <p:cxnSp>
            <p:nvCxnSpPr>
              <p:cNvPr id="28" name="直接连接符 27"/>
              <p:cNvCxnSpPr/>
              <p:nvPr userDrawn="1"/>
            </p:nvCxnSpPr>
            <p:spPr>
              <a:xfrm>
                <a:off x="12841961" y="829734"/>
                <a:ext cx="0" cy="827288"/>
              </a:xfrm>
              <a:prstGeom prst="line">
                <a:avLst/>
              </a:prstGeom>
              <a:ln w="57150">
                <a:solidFill>
                  <a:srgbClr val="EA5404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直接连接符 28"/>
              <p:cNvCxnSpPr/>
              <p:nvPr userDrawn="1"/>
            </p:nvCxnSpPr>
            <p:spPr>
              <a:xfrm>
                <a:off x="13013411" y="829734"/>
                <a:ext cx="0" cy="827288"/>
              </a:xfrm>
              <a:prstGeom prst="line">
                <a:avLst/>
              </a:prstGeom>
              <a:ln w="25400">
                <a:solidFill>
                  <a:srgbClr val="EA5404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5" name="直接连接符 4"/>
          <p:cNvCxnSpPr/>
          <p:nvPr/>
        </p:nvCxnSpPr>
        <p:spPr>
          <a:xfrm>
            <a:off x="953729" y="3762866"/>
            <a:ext cx="8603226" cy="0"/>
          </a:xfrm>
          <a:prstGeom prst="line">
            <a:avLst/>
          </a:prstGeom>
          <a:ln w="9525" cap="rnd">
            <a:solidFill>
              <a:schemeClr val="bg1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接连接符 6"/>
          <p:cNvCxnSpPr/>
          <p:nvPr/>
        </p:nvCxnSpPr>
        <p:spPr>
          <a:xfrm>
            <a:off x="203200" y="0"/>
            <a:ext cx="0" cy="6858000"/>
          </a:xfrm>
          <a:prstGeom prst="line">
            <a:avLst/>
          </a:prstGeom>
          <a:ln w="9525" cap="rnd">
            <a:solidFill>
              <a:schemeClr val="accent1">
                <a:lumMod val="75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73761817"/>
      </p:ext>
    </p:extLst>
  </p:cSld>
  <p:clrMapOvr>
    <a:masterClrMapping/>
  </p:clrMapOvr>
  <p:hf hd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72385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270" imgH="270" progId="TCLayout.ActiveDocument.1">
                  <p:embed/>
                </p:oleObj>
              </mc:Choice>
              <mc:Fallback>
                <p:oleObj name="think-cell 幻灯片" r:id="rId4" imgW="270" imgH="270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oterSimple" hidden="1"/>
          <p:cNvSpPr txBox="1"/>
          <p:nvPr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altLang="zh-CN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2105 TED Sample Slides WhiteV13_Gaoliao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140399"/>
            <a:ext cx="10934700" cy="72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genda </a:t>
            </a:r>
            <a:r>
              <a:rPr lang="en-US" altLang="zh-CN" dirty="0"/>
              <a:t>page</a:t>
            </a:r>
            <a:endParaRPr lang="en-US" dirty="0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70"/>
          <a:stretch/>
        </p:blipFill>
        <p:spPr>
          <a:xfrm>
            <a:off x="0" y="1260057"/>
            <a:ext cx="12192000" cy="48760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27815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56667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6" imgW="270" imgH="270" progId="TCLayout.ActiveDocument.1">
                  <p:embed/>
                </p:oleObj>
              </mc:Choice>
              <mc:Fallback>
                <p:oleObj name="think-cell 幻灯片" r:id="rId6" imgW="270" imgH="270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oterSimple" hidden="1"/>
          <p:cNvSpPr txBox="1"/>
          <p:nvPr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altLang="zh-CN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2105 TED Sample Slides WhiteV13_Gaoliao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140399"/>
            <a:ext cx="10934700" cy="72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lnSpc>
                <a:spcPct val="100000"/>
              </a:lnSpc>
              <a:defRPr b="1"/>
            </a:lvl1pPr>
          </a:lstStyle>
          <a:p>
            <a:r>
              <a:rPr lang="en-US" altLang="zh-CN" dirty="0"/>
              <a:t>Click to add title</a:t>
            </a:r>
            <a:endParaRPr lang="en-US" dirty="0"/>
          </a:p>
        </p:txBody>
      </p:sp>
      <p:sp>
        <p:nvSpPr>
          <p:cNvPr id="8" name="文本占位符 6"/>
          <p:cNvSpPr>
            <a:spLocks noGrp="1"/>
          </p:cNvSpPr>
          <p:nvPr>
            <p:ph type="body" sz="quarter" idx="11" hasCustomPrompt="1"/>
          </p:nvPr>
        </p:nvSpPr>
        <p:spPr>
          <a:xfrm>
            <a:off x="360000" y="6408210"/>
            <a:ext cx="10934700" cy="422275"/>
          </a:xfrm>
        </p:spPr>
        <p:txBody>
          <a:bodyPr tIns="0" bIns="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zh-CN" dirty="0"/>
              <a:t>Note:</a:t>
            </a:r>
            <a:br>
              <a:rPr lang="en-US" altLang="zh-CN" dirty="0"/>
            </a:br>
            <a:r>
              <a:rPr lang="en-US" altLang="zh-CN" dirty="0"/>
              <a:t>Source:</a:t>
            </a:r>
            <a:endParaRPr lang="zh-CN" altLang="en-US" dirty="0"/>
          </a:p>
        </p:txBody>
      </p:sp>
      <p:graphicFrame>
        <p:nvGraphicFramePr>
          <p:cNvPr id="6" name="对象 5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8" imgW="270" imgH="270" progId="TCLayout.ActiveDocument.1">
                  <p:embed/>
                </p:oleObj>
              </mc:Choice>
              <mc:Fallback>
                <p:oleObj name="think-cell 幻灯片" r:id="rId8" imgW="270" imgH="270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altLang="zh-CN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2105 TED Sample Slides WhiteV13_Gaoliao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00130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81164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270" imgH="270" progId="TCLayout.ActiveDocument.1">
                  <p:embed/>
                </p:oleObj>
              </mc:Choice>
              <mc:Fallback>
                <p:oleObj name="think-cell 幻灯片" r:id="rId3" imgW="270" imgH="270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377" y="2383"/>
            <a:ext cx="12194377" cy="68523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矩形 2"/>
          <p:cNvSpPr/>
          <p:nvPr/>
        </p:nvSpPr>
        <p:spPr>
          <a:xfrm>
            <a:off x="-3174" y="2287437"/>
            <a:ext cx="12195173" cy="2282287"/>
          </a:xfrm>
          <a:prstGeom prst="rect">
            <a:avLst/>
          </a:prstGeom>
          <a:solidFill>
            <a:schemeClr val="accent1">
              <a:lumMod val="75000"/>
              <a:alpha val="85098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 hasCustomPrompt="1"/>
          </p:nvPr>
        </p:nvSpPr>
        <p:spPr>
          <a:xfrm>
            <a:off x="2215356" y="2457030"/>
            <a:ext cx="7758113" cy="1943100"/>
          </a:xfrm>
        </p:spPr>
        <p:txBody>
          <a:bodyPr anchor="ctr"/>
          <a:lstStyle>
            <a:lvl1pPr algn="ctr">
              <a:defRPr sz="44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altLang="zh-CN" dirty="0"/>
              <a:t>Click to add content</a:t>
            </a:r>
            <a:endParaRPr lang="zh-CN" altLang="en-US" dirty="0"/>
          </a:p>
        </p:txBody>
      </p:sp>
      <p:cxnSp>
        <p:nvCxnSpPr>
          <p:cNvPr id="6" name="直接连接符 5"/>
          <p:cNvCxnSpPr/>
          <p:nvPr/>
        </p:nvCxnSpPr>
        <p:spPr>
          <a:xfrm flipH="1">
            <a:off x="-3174" y="4643437"/>
            <a:ext cx="12195173" cy="0"/>
          </a:xfrm>
          <a:prstGeom prst="line">
            <a:avLst/>
          </a:prstGeom>
          <a:ln w="9525" cap="rnd">
            <a:solidFill>
              <a:schemeClr val="accent1">
                <a:lumMod val="75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2596490"/>
      </p:ext>
    </p:extLst>
  </p:cSld>
  <p:clrMapOvr>
    <a:masterClrMapping/>
  </p:clrMapOvr>
  <p:hf hdr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9300883" y="6381684"/>
            <a:ext cx="2743200" cy="365125"/>
          </a:xfrm>
        </p:spPr>
        <p:txBody>
          <a:bodyPr/>
          <a:lstStyle>
            <a:lvl1pPr algn="r">
              <a:defRPr sz="1600"/>
            </a:lvl1pPr>
          </a:lstStyle>
          <a:p>
            <a:fld id="{D174682D-7201-4549-AB46-A3B3CC68F057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3" name="流程图: 接点 2">
            <a:extLst>
              <a:ext uri="{FF2B5EF4-FFF2-40B4-BE49-F238E27FC236}">
                <a16:creationId xmlns:a16="http://schemas.microsoft.com/office/drawing/2014/main" id="{C4E02A8D-56BA-2A02-50C5-8FF20B9E4246}"/>
              </a:ext>
            </a:extLst>
          </p:cNvPr>
          <p:cNvSpPr/>
          <p:nvPr userDrawn="1"/>
        </p:nvSpPr>
        <p:spPr>
          <a:xfrm>
            <a:off x="341744" y="332508"/>
            <a:ext cx="508002" cy="432000"/>
          </a:xfrm>
          <a:prstGeom prst="flowChartConnector">
            <a:avLst/>
          </a:prstGeom>
          <a:solidFill>
            <a:srgbClr val="F05A23"/>
          </a:solidFill>
          <a:ln w="9525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36000" tIns="108000" rIns="36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endParaRPr lang="zh-CN" altLang="en-US" sz="1100" b="1" kern="0">
              <a:solidFill>
                <a:prstClr val="black"/>
              </a:solidFill>
              <a:latin typeface="Arial"/>
              <a:ea typeface="华文楷体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04096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对象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BCF4D">
              <a:alpha val="8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zh-CN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华文楷体" panose="02010600040101010101" pitchFamily="2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灯片编号占位符 5">
            <a:extLst>
              <a:ext uri="{FF2B5EF4-FFF2-40B4-BE49-F238E27FC236}">
                <a16:creationId xmlns:a16="http://schemas.microsoft.com/office/drawing/2014/main" id="{2C4AAB49-B02A-4DFD-A187-16F55D93430A}"/>
              </a:ext>
            </a:extLst>
          </p:cNvPr>
          <p:cNvSpPr txBox="1">
            <a:spLocks/>
          </p:cNvSpPr>
          <p:nvPr userDrawn="1"/>
        </p:nvSpPr>
        <p:spPr>
          <a:xfrm>
            <a:off x="8869679" y="6395878"/>
            <a:ext cx="2909888" cy="206381"/>
          </a:xfrm>
          <a:prstGeom prst="rect">
            <a:avLst/>
          </a:prstGeom>
        </p:spPr>
        <p:txBody>
          <a:bodyPr vert="horz" lIns="91440" tIns="0" rIns="91440" bIns="45720" rtlCol="0" anchor="b" anchorCtr="0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DD3DB80-B894-403A-B48E-6FDC1A72010E}" type="slidenum">
              <a:rPr lang="zh-CN" altLang="en-US" sz="1200" b="1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  <a:ea typeface="微软雅黑"/>
              </a:rPr>
              <a:pPr>
                <a:defRPr/>
              </a:pPr>
              <a:t>‹#›</a:t>
            </a:fld>
            <a:endParaRPr lang="zh-CN" altLang="en-US" sz="1200" b="1" dirty="0">
              <a:solidFill>
                <a:srgbClr val="000000">
                  <a:lumMod val="50000"/>
                  <a:lumOff val="50000"/>
                </a:srgbClr>
              </a:solidFill>
              <a:latin typeface="Arial"/>
              <a:ea typeface="微软雅黑"/>
            </a:endParaRPr>
          </a:p>
        </p:txBody>
      </p:sp>
      <p:cxnSp>
        <p:nvCxnSpPr>
          <p:cNvPr id="11" name="直接连接符 10"/>
          <p:cNvCxnSpPr/>
          <p:nvPr userDrawn="1"/>
        </p:nvCxnSpPr>
        <p:spPr>
          <a:xfrm>
            <a:off x="171507" y="1028700"/>
            <a:ext cx="11822373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1507" y="121920"/>
            <a:ext cx="11822373" cy="845820"/>
          </a:xfrm>
          <a:prstGeom prst="rect">
            <a:avLst/>
          </a:prstGeom>
        </p:spPr>
        <p:txBody>
          <a:bodyPr anchor="b"/>
          <a:lstStyle>
            <a:lvl1pPr>
              <a:defRPr/>
            </a:lvl1pPr>
          </a:lstStyle>
          <a:p>
            <a:r>
              <a:rPr lang="zh-CN" altLang="en-US" dirty="0"/>
              <a:t>标题</a:t>
            </a:r>
          </a:p>
        </p:txBody>
      </p:sp>
    </p:spTree>
    <p:extLst>
      <p:ext uri="{BB962C8B-B14F-4D97-AF65-F5344CB8AC3E}">
        <p14:creationId xmlns:p14="http://schemas.microsoft.com/office/powerpoint/2010/main" val="102941355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27411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270" imgH="270" progId="TCLayout.ActiveDocument.1">
                  <p:embed/>
                </p:oleObj>
              </mc:Choice>
              <mc:Fallback>
                <p:oleObj name="think-cell 幻灯片" r:id="rId3" imgW="270" imgH="270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矩形 2"/>
          <p:cNvSpPr/>
          <p:nvPr/>
        </p:nvSpPr>
        <p:spPr>
          <a:xfrm>
            <a:off x="0" y="0"/>
            <a:ext cx="129309" cy="6858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77"/>
          <a:stretch/>
        </p:blipFill>
        <p:spPr bwMode="auto">
          <a:xfrm>
            <a:off x="295564" y="0"/>
            <a:ext cx="11896436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Rectangle 20"/>
          <p:cNvSpPr/>
          <p:nvPr/>
        </p:nvSpPr>
        <p:spPr bwMode="black">
          <a:xfrm>
            <a:off x="115021" y="2004291"/>
            <a:ext cx="9415624" cy="2292405"/>
          </a:xfrm>
          <a:prstGeom prst="rect">
            <a:avLst/>
          </a:prstGeom>
          <a:solidFill>
            <a:srgbClr val="EA5404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7305368" y="6207842"/>
            <a:ext cx="4681760" cy="327148"/>
          </a:xfrm>
          <a:prstGeom prst="rect">
            <a:avLst/>
          </a:prstGeom>
          <a:noFill/>
        </p:spPr>
        <p:txBody>
          <a:bodyPr anchor="ctr"/>
          <a:lstStyle>
            <a:lvl1pPr algn="r">
              <a:lnSpc>
                <a:spcPct val="110000"/>
              </a:lnSpc>
              <a:buNone/>
              <a:defRPr sz="1600" b="1" cap="all" baseline="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957600" y="3834054"/>
            <a:ext cx="7607902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2000" b="0" baseline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957600" y="2257799"/>
            <a:ext cx="7607902" cy="1431161"/>
          </a:xfrm>
          <a:prstGeom prst="rect">
            <a:avLst/>
          </a:prstGeom>
        </p:spPr>
        <p:txBody>
          <a:bodyPr vert="horz" wrap="square" anchor="ctr">
            <a:noAutofit/>
          </a:bodyPr>
          <a:lstStyle>
            <a:lvl1pPr algn="l">
              <a:lnSpc>
                <a:spcPct val="93000"/>
              </a:lnSpc>
              <a:defRPr sz="5000" b="1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altLang="zh-CN" dirty="0"/>
              <a:t>Title in Title Case</a:t>
            </a:r>
            <a:endParaRPr lang="en-US" dirty="0"/>
          </a:p>
        </p:txBody>
      </p:sp>
      <p:grpSp>
        <p:nvGrpSpPr>
          <p:cNvPr id="16" name="组合 15"/>
          <p:cNvGrpSpPr>
            <a:grpSpLocks noChangeAspect="1"/>
          </p:cNvGrpSpPr>
          <p:nvPr/>
        </p:nvGrpSpPr>
        <p:grpSpPr>
          <a:xfrm>
            <a:off x="652637" y="297259"/>
            <a:ext cx="1150838" cy="432048"/>
            <a:chOff x="13103547" y="829734"/>
            <a:chExt cx="2203232" cy="827288"/>
          </a:xfrm>
        </p:grpSpPr>
        <p:pic>
          <p:nvPicPr>
            <p:cNvPr id="17" name="图片 16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3586494" y="885667"/>
              <a:ext cx="1720285" cy="720000"/>
            </a:xfrm>
            <a:prstGeom prst="rect">
              <a:avLst/>
            </a:prstGeom>
          </p:spPr>
        </p:pic>
        <p:grpSp>
          <p:nvGrpSpPr>
            <p:cNvPr id="19" name="组合 18"/>
            <p:cNvGrpSpPr/>
            <p:nvPr userDrawn="1"/>
          </p:nvGrpSpPr>
          <p:grpSpPr>
            <a:xfrm>
              <a:off x="13103547" y="829734"/>
              <a:ext cx="171450" cy="827288"/>
              <a:chOff x="12841961" y="829734"/>
              <a:chExt cx="171450" cy="827288"/>
            </a:xfrm>
          </p:grpSpPr>
          <p:cxnSp>
            <p:nvCxnSpPr>
              <p:cNvPr id="28" name="直接连接符 27"/>
              <p:cNvCxnSpPr/>
              <p:nvPr userDrawn="1"/>
            </p:nvCxnSpPr>
            <p:spPr>
              <a:xfrm>
                <a:off x="12841961" y="829734"/>
                <a:ext cx="0" cy="827288"/>
              </a:xfrm>
              <a:prstGeom prst="line">
                <a:avLst/>
              </a:prstGeom>
              <a:ln w="57150">
                <a:solidFill>
                  <a:srgbClr val="EA5404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直接连接符 28"/>
              <p:cNvCxnSpPr/>
              <p:nvPr userDrawn="1"/>
            </p:nvCxnSpPr>
            <p:spPr>
              <a:xfrm>
                <a:off x="13013411" y="829734"/>
                <a:ext cx="0" cy="827288"/>
              </a:xfrm>
              <a:prstGeom prst="line">
                <a:avLst/>
              </a:prstGeom>
              <a:ln w="25400">
                <a:solidFill>
                  <a:srgbClr val="EA5404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5" name="直接连接符 4"/>
          <p:cNvCxnSpPr/>
          <p:nvPr/>
        </p:nvCxnSpPr>
        <p:spPr>
          <a:xfrm>
            <a:off x="953729" y="3762866"/>
            <a:ext cx="8603226" cy="0"/>
          </a:xfrm>
          <a:prstGeom prst="line">
            <a:avLst/>
          </a:prstGeom>
          <a:ln w="9525" cap="rnd">
            <a:solidFill>
              <a:schemeClr val="bg1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接连接符 6"/>
          <p:cNvCxnSpPr/>
          <p:nvPr/>
        </p:nvCxnSpPr>
        <p:spPr>
          <a:xfrm>
            <a:off x="203200" y="0"/>
            <a:ext cx="0" cy="6858000"/>
          </a:xfrm>
          <a:prstGeom prst="line">
            <a:avLst/>
          </a:prstGeom>
          <a:ln w="9525" cap="rnd">
            <a:solidFill>
              <a:schemeClr val="accent1">
                <a:lumMod val="75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8879177"/>
      </p:ext>
    </p:extLst>
  </p:cSld>
  <p:clrMapOvr>
    <a:masterClrMapping/>
  </p:clrMapOvr>
  <p:hf hdr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59356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270" imgH="270" progId="TCLayout.ActiveDocument.1">
                  <p:embed/>
                </p:oleObj>
              </mc:Choice>
              <mc:Fallback>
                <p:oleObj name="think-cell 幻灯片" r:id="rId4" imgW="270" imgH="270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oterSimple" hidden="1"/>
          <p:cNvSpPr txBox="1"/>
          <p:nvPr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altLang="zh-CN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2105 TED Sample Slides WhiteV13_Gaoliao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140399"/>
            <a:ext cx="10934700" cy="72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genda </a:t>
            </a:r>
            <a:r>
              <a:rPr lang="en-US" altLang="zh-CN" dirty="0"/>
              <a:t>page</a:t>
            </a:r>
            <a:endParaRPr lang="en-US" dirty="0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70"/>
          <a:stretch/>
        </p:blipFill>
        <p:spPr>
          <a:xfrm>
            <a:off x="0" y="1260057"/>
            <a:ext cx="12192000" cy="48760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50455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40854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6" imgW="270" imgH="270" progId="TCLayout.ActiveDocument.1">
                  <p:embed/>
                </p:oleObj>
              </mc:Choice>
              <mc:Fallback>
                <p:oleObj name="think-cell 幻灯片" r:id="rId6" imgW="270" imgH="270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oterSimple" hidden="1"/>
          <p:cNvSpPr txBox="1"/>
          <p:nvPr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altLang="zh-CN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2105 TED Sample Slides WhiteV13_Gaoliao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140399"/>
            <a:ext cx="10934700" cy="72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lnSpc>
                <a:spcPct val="100000"/>
              </a:lnSpc>
              <a:defRPr b="1"/>
            </a:lvl1pPr>
          </a:lstStyle>
          <a:p>
            <a:r>
              <a:rPr lang="en-US" altLang="zh-CN" dirty="0"/>
              <a:t>Click to add title</a:t>
            </a:r>
            <a:endParaRPr lang="en-US" dirty="0"/>
          </a:p>
        </p:txBody>
      </p:sp>
      <p:sp>
        <p:nvSpPr>
          <p:cNvPr id="8" name="文本占位符 6"/>
          <p:cNvSpPr>
            <a:spLocks noGrp="1"/>
          </p:cNvSpPr>
          <p:nvPr>
            <p:ph type="body" sz="quarter" idx="11" hasCustomPrompt="1"/>
          </p:nvPr>
        </p:nvSpPr>
        <p:spPr>
          <a:xfrm>
            <a:off x="360000" y="6408210"/>
            <a:ext cx="10934700" cy="422275"/>
          </a:xfrm>
        </p:spPr>
        <p:txBody>
          <a:bodyPr tIns="0" bIns="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zh-CN" dirty="0"/>
              <a:t>Note:</a:t>
            </a:r>
            <a:br>
              <a:rPr lang="en-US" altLang="zh-CN" dirty="0"/>
            </a:br>
            <a:r>
              <a:rPr lang="en-US" altLang="zh-CN" dirty="0"/>
              <a:t>Source:</a:t>
            </a:r>
            <a:endParaRPr lang="zh-CN" altLang="en-US" dirty="0"/>
          </a:p>
        </p:txBody>
      </p:sp>
      <p:graphicFrame>
        <p:nvGraphicFramePr>
          <p:cNvPr id="6" name="对象 5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8" imgW="270" imgH="270" progId="TCLayout.ActiveDocument.1">
                  <p:embed/>
                </p:oleObj>
              </mc:Choice>
              <mc:Fallback>
                <p:oleObj name="think-cell 幻灯片" r:id="rId8" imgW="270" imgH="270" progId="TCLayout.ActiveDocument.1">
                  <p:embed/>
                  <p:pic>
                    <p:nvPicPr>
                      <p:cNvPr id="6" name="对象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altLang="zh-CN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2105 TED Sample Slides WhiteV13_Gaoliao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44912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41207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270" imgH="270" progId="TCLayout.ActiveDocument.1">
                  <p:embed/>
                </p:oleObj>
              </mc:Choice>
              <mc:Fallback>
                <p:oleObj name="think-cell 幻灯片" r:id="rId3" imgW="270" imgH="270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377" y="2383"/>
            <a:ext cx="12194377" cy="68523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矩形 2"/>
          <p:cNvSpPr/>
          <p:nvPr/>
        </p:nvSpPr>
        <p:spPr>
          <a:xfrm>
            <a:off x="-3174" y="2287437"/>
            <a:ext cx="12195173" cy="2282287"/>
          </a:xfrm>
          <a:prstGeom prst="rect">
            <a:avLst/>
          </a:prstGeom>
          <a:solidFill>
            <a:schemeClr val="accent1">
              <a:lumMod val="75000"/>
              <a:alpha val="85098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 hasCustomPrompt="1"/>
          </p:nvPr>
        </p:nvSpPr>
        <p:spPr>
          <a:xfrm>
            <a:off x="2215356" y="2457030"/>
            <a:ext cx="7758113" cy="1943100"/>
          </a:xfrm>
        </p:spPr>
        <p:txBody>
          <a:bodyPr anchor="ctr"/>
          <a:lstStyle>
            <a:lvl1pPr algn="ctr">
              <a:defRPr sz="44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altLang="zh-CN" dirty="0"/>
              <a:t>Click to add content</a:t>
            </a:r>
            <a:endParaRPr lang="zh-CN" altLang="en-US" dirty="0"/>
          </a:p>
        </p:txBody>
      </p:sp>
      <p:cxnSp>
        <p:nvCxnSpPr>
          <p:cNvPr id="6" name="直接连接符 5"/>
          <p:cNvCxnSpPr/>
          <p:nvPr/>
        </p:nvCxnSpPr>
        <p:spPr>
          <a:xfrm flipH="1">
            <a:off x="-3174" y="4643437"/>
            <a:ext cx="12195173" cy="0"/>
          </a:xfrm>
          <a:prstGeom prst="line">
            <a:avLst/>
          </a:prstGeom>
          <a:ln w="9525" cap="rnd">
            <a:solidFill>
              <a:schemeClr val="accent1">
                <a:lumMod val="75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56442591"/>
      </p:ext>
    </p:extLst>
  </p:cSld>
  <p:clrMapOvr>
    <a:masterClrMapping/>
  </p:clrMapOvr>
  <p:hf hdr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封面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"/>
          <p:cNvSpPr>
            <a:spLocks/>
          </p:cNvSpPr>
          <p:nvPr userDrawn="1"/>
        </p:nvSpPr>
        <p:spPr bwMode="auto">
          <a:xfrm flipH="1">
            <a:off x="0" y="3073313"/>
            <a:ext cx="10920534" cy="2262324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对象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矩形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4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12" name="矩形 11"/>
          <p:cNvSpPr/>
          <p:nvPr userDrawn="1"/>
        </p:nvSpPr>
        <p:spPr>
          <a:xfrm>
            <a:off x="-1" y="5335637"/>
            <a:ext cx="12191999" cy="15223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华文楷体"/>
              <a:ea typeface="华文楷体"/>
              <a:cs typeface="+mn-cs"/>
            </a:endParaRPr>
          </a:p>
        </p:txBody>
      </p:sp>
      <p:cxnSp>
        <p:nvCxnSpPr>
          <p:cNvPr id="6" name="直接连接符 5"/>
          <p:cNvCxnSpPr/>
          <p:nvPr userDrawn="1"/>
        </p:nvCxnSpPr>
        <p:spPr>
          <a:xfrm>
            <a:off x="171507" y="1028700"/>
            <a:ext cx="11822373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灯片编号占位符 5">
            <a:extLst>
              <a:ext uri="{FF2B5EF4-FFF2-40B4-BE49-F238E27FC236}">
                <a16:creationId xmlns:a16="http://schemas.microsoft.com/office/drawing/2014/main" id="{2C4AAB49-B02A-4DFD-A187-16F55D93430A}"/>
              </a:ext>
            </a:extLst>
          </p:cNvPr>
          <p:cNvSpPr txBox="1">
            <a:spLocks/>
          </p:cNvSpPr>
          <p:nvPr userDrawn="1"/>
        </p:nvSpPr>
        <p:spPr>
          <a:xfrm>
            <a:off x="8869679" y="6395878"/>
            <a:ext cx="2909888" cy="206381"/>
          </a:xfrm>
          <a:prstGeom prst="rect">
            <a:avLst/>
          </a:prstGeom>
        </p:spPr>
        <p:txBody>
          <a:bodyPr vert="horz" lIns="91440" tIns="0" rIns="91440" bIns="45720" rtlCol="0" anchor="b" anchorCtr="0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3DB80-B894-403A-B48E-6FDC1A72010E}" type="slidenum">
              <a:rPr kumimoji="0" lang="zh-CN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9886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对象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BCF4D">
              <a:alpha val="8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华文楷体" panose="02010600040101010101" pitchFamily="2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灯片编号占位符 5">
            <a:extLst>
              <a:ext uri="{FF2B5EF4-FFF2-40B4-BE49-F238E27FC236}">
                <a16:creationId xmlns:a16="http://schemas.microsoft.com/office/drawing/2014/main" id="{2C4AAB49-B02A-4DFD-A187-16F55D93430A}"/>
              </a:ext>
            </a:extLst>
          </p:cNvPr>
          <p:cNvSpPr txBox="1">
            <a:spLocks/>
          </p:cNvSpPr>
          <p:nvPr userDrawn="1"/>
        </p:nvSpPr>
        <p:spPr>
          <a:xfrm>
            <a:off x="8869679" y="6395878"/>
            <a:ext cx="2909888" cy="206381"/>
          </a:xfrm>
          <a:prstGeom prst="rect">
            <a:avLst/>
          </a:prstGeom>
        </p:spPr>
        <p:txBody>
          <a:bodyPr vert="horz" lIns="91440" tIns="0" rIns="91440" bIns="45720" rtlCol="0" anchor="b" anchorCtr="0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3DB80-B894-403A-B48E-6FDC1A72010E}" type="slidenum">
              <a:rPr kumimoji="0" lang="zh-CN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cxnSp>
        <p:nvCxnSpPr>
          <p:cNvPr id="11" name="直接连接符 10"/>
          <p:cNvCxnSpPr/>
          <p:nvPr userDrawn="1"/>
        </p:nvCxnSpPr>
        <p:spPr>
          <a:xfrm>
            <a:off x="171507" y="824671"/>
            <a:ext cx="11822373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1507" y="103259"/>
            <a:ext cx="11822373" cy="537443"/>
          </a:xfrm>
          <a:prstGeom prst="rect">
            <a:avLst/>
          </a:prstGeom>
        </p:spPr>
        <p:txBody>
          <a:bodyPr anchor="b"/>
          <a:lstStyle>
            <a:lvl1pPr>
              <a:defRPr/>
            </a:lvl1pPr>
          </a:lstStyle>
          <a:p>
            <a:r>
              <a:rPr lang="zh-CN" altLang="en-US" dirty="0"/>
              <a:t>标题</a:t>
            </a:r>
          </a:p>
        </p:txBody>
      </p:sp>
    </p:spTree>
    <p:extLst>
      <p:ext uri="{BB962C8B-B14F-4D97-AF65-F5344CB8AC3E}">
        <p14:creationId xmlns:p14="http://schemas.microsoft.com/office/powerpoint/2010/main" val="39415414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72d2fdfb8da93606a4b836a6cf30fcbf570dc6d9178c0b-ai3vDw.jpeg" descr="72d2fdfb8da93606a4b836a6cf30fcbf570dc6d9178c0b-ai3vDw.jpeg"/>
          <p:cNvPicPr>
            <a:picLocks noChangeAspect="1"/>
          </p:cNvPicPr>
          <p:nvPr userDrawn="1"/>
        </p:nvPicPr>
        <p:blipFill rotWithShape="1">
          <a:blip r:embed="rId2"/>
          <a:srcRect b="4492"/>
          <a:stretch/>
        </p:blipFill>
        <p:spPr>
          <a:xfrm>
            <a:off x="0" y="1"/>
            <a:ext cx="12231566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矩形"/>
          <p:cNvSpPr/>
          <p:nvPr userDrawn="1"/>
        </p:nvSpPr>
        <p:spPr>
          <a:xfrm>
            <a:off x="0" y="10581"/>
            <a:ext cx="12231566" cy="6847420"/>
          </a:xfrm>
          <a:prstGeom prst="rect">
            <a:avLst/>
          </a:prstGeom>
          <a:solidFill>
            <a:srgbClr val="000000">
              <a:alpha val="30174"/>
            </a:srgbClr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engXian"/>
              <a:ea typeface="DengXian"/>
              <a:cs typeface="+mn-cs"/>
              <a:sym typeface="DengXian"/>
            </a:endParaRPr>
          </a:p>
        </p:txBody>
      </p:sp>
    </p:spTree>
    <p:extLst>
      <p:ext uri="{BB962C8B-B14F-4D97-AF65-F5344CB8AC3E}">
        <p14:creationId xmlns:p14="http://schemas.microsoft.com/office/powerpoint/2010/main" val="98533105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7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华文楷体"/>
                <a:cs typeface="+mn-cs"/>
                <a:sym typeface="Trebuchet MS" panose="020B0603020202020204" pitchFamily="34" charset="0"/>
              </a:rPr>
              <a:t>【</a:t>
            </a:r>
            <a:r>
              <a:rPr kumimoji="0" lang="zh-CN" altLang="en-US" sz="7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华文楷体"/>
                <a:cs typeface="+mn-cs"/>
                <a:sym typeface="Trebuchet MS" panose="020B0603020202020204" pitchFamily="34" charset="0"/>
              </a:rPr>
              <a:t>材料汇总</a:t>
            </a:r>
            <a:r>
              <a:rPr kumimoji="0" lang="en-US" altLang="zh-CN" sz="7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华文楷体"/>
                <a:cs typeface="+mn-cs"/>
                <a:sym typeface="Trebuchet MS" panose="020B0603020202020204" pitchFamily="34" charset="0"/>
              </a:rPr>
              <a:t>】201809CIO office sample sldies v5.pptx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华文楷体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1" y="140399"/>
            <a:ext cx="10934700" cy="72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lnSpc>
                <a:spcPct val="100000"/>
              </a:lnSpc>
              <a:defRPr b="1"/>
            </a:lvl1pPr>
          </a:lstStyle>
          <a:p>
            <a:r>
              <a:rPr lang="en-US" altLang="zh-CN" dirty="0"/>
              <a:t>Click to add title</a:t>
            </a:r>
            <a:endParaRPr lang="en-US" dirty="0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EABC3398-290F-4251-88E5-03B4F753E184}"/>
              </a:ext>
            </a:extLst>
          </p:cNvPr>
          <p:cNvSpPr/>
          <p:nvPr userDrawn="1"/>
        </p:nvSpPr>
        <p:spPr>
          <a:xfrm>
            <a:off x="203223" y="6461080"/>
            <a:ext cx="11051664" cy="2974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华文楷体"/>
                <a:ea typeface="华文楷体"/>
                <a:cs typeface="+mn-cs"/>
                <a:sym typeface="Trebuchet MS" panose="020B0603020202020204" pitchFamily="34" charset="0"/>
              </a:rPr>
              <a:t>申明：本材料仅供集团内部学习交流使用，严禁出于商业目的使用，以避免不必要的纠纷。</a:t>
            </a:r>
            <a:r>
              <a:rPr kumimoji="0" lang="en-US" altLang="zh-CN" sz="1333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华文楷体"/>
                <a:ea typeface="华文楷体"/>
                <a:cs typeface="+mn-cs"/>
                <a:sym typeface="Trebuchet MS" panose="020B0603020202020204" pitchFamily="34" charset="0"/>
              </a:rPr>
              <a:t>		</a:t>
            </a:r>
            <a:endParaRPr kumimoji="0" lang="zh-CN" altLang="en-US" sz="1333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华文楷体"/>
              <a:ea typeface="华文楷体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灯片编号占位符 5">
            <a:extLst>
              <a:ext uri="{FF2B5EF4-FFF2-40B4-BE49-F238E27FC236}">
                <a16:creationId xmlns:a16="http://schemas.microsoft.com/office/drawing/2014/main" id="{2C4AAB49-B02A-4DFD-A187-16F55D93430A}"/>
              </a:ext>
            </a:extLst>
          </p:cNvPr>
          <p:cNvSpPr txBox="1">
            <a:spLocks/>
          </p:cNvSpPr>
          <p:nvPr userDrawn="1"/>
        </p:nvSpPr>
        <p:spPr>
          <a:xfrm>
            <a:off x="8869679" y="6395878"/>
            <a:ext cx="2909888" cy="206381"/>
          </a:xfrm>
          <a:prstGeom prst="rect">
            <a:avLst/>
          </a:prstGeom>
        </p:spPr>
        <p:txBody>
          <a:bodyPr vert="horz" lIns="91440" tIns="0" rIns="91440" bIns="45720" rtlCol="0" anchor="b" anchorCtr="0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3DB80-B894-403A-B48E-6FDC1A72010E}" type="slidenum">
              <a:rPr kumimoji="0" lang="zh-CN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1547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图片占位符 3">
            <a:extLst>
              <a:ext uri="{FF2B5EF4-FFF2-40B4-BE49-F238E27FC236}">
                <a16:creationId xmlns:a16="http://schemas.microsoft.com/office/drawing/2014/main" id="{A7710C29-5F58-7647-80F7-F5FD18ECC9E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91727" y="4113203"/>
            <a:ext cx="3285901" cy="1765813"/>
          </a:xfrm>
          <a:prstGeom prst="rect">
            <a:avLst/>
          </a:pr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kumimoji="1" lang="zh-CN" alt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kumimoji="1" lang="zh-CN" altLang="en-US"/>
              <a:t>拖拽插入图片</a:t>
            </a:r>
          </a:p>
        </p:txBody>
      </p:sp>
      <p:sp>
        <p:nvSpPr>
          <p:cNvPr id="6" name="图片占位符 3">
            <a:extLst>
              <a:ext uri="{FF2B5EF4-FFF2-40B4-BE49-F238E27FC236}">
                <a16:creationId xmlns:a16="http://schemas.microsoft.com/office/drawing/2014/main" id="{BDFE1B8C-F241-BF42-9E4E-A0EE67D85E9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453048" y="4113203"/>
            <a:ext cx="3285901" cy="1765813"/>
          </a:xfrm>
          <a:prstGeom prst="rect">
            <a:avLst/>
          </a:pr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kumimoji="1" lang="zh-CN" alt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kumimoji="1" lang="zh-CN" altLang="en-US"/>
              <a:t>拖拽插入图片</a:t>
            </a:r>
          </a:p>
        </p:txBody>
      </p:sp>
      <p:sp>
        <p:nvSpPr>
          <p:cNvPr id="7" name="图片占位符 3">
            <a:extLst>
              <a:ext uri="{FF2B5EF4-FFF2-40B4-BE49-F238E27FC236}">
                <a16:creationId xmlns:a16="http://schemas.microsoft.com/office/drawing/2014/main" id="{46ED8263-5F93-2346-8BA4-91A4CD56F4A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114371" y="4113203"/>
            <a:ext cx="3285901" cy="1765813"/>
          </a:xfrm>
          <a:prstGeom prst="rect">
            <a:avLst/>
          </a:pr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kumimoji="1" lang="zh-CN" alt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kumimoji="1" lang="zh-CN" altLang="en-US"/>
              <a:t>拖拽插入图片</a:t>
            </a:r>
          </a:p>
        </p:txBody>
      </p:sp>
      <p:sp>
        <p:nvSpPr>
          <p:cNvPr id="8" name="灯片编号占位符 5">
            <a:extLst>
              <a:ext uri="{FF2B5EF4-FFF2-40B4-BE49-F238E27FC236}">
                <a16:creationId xmlns:a16="http://schemas.microsoft.com/office/drawing/2014/main" id="{2C4AAB49-B02A-4DFD-A187-16F55D93430A}"/>
              </a:ext>
            </a:extLst>
          </p:cNvPr>
          <p:cNvSpPr txBox="1">
            <a:spLocks/>
          </p:cNvSpPr>
          <p:nvPr userDrawn="1"/>
        </p:nvSpPr>
        <p:spPr>
          <a:xfrm>
            <a:off x="8869679" y="6395878"/>
            <a:ext cx="2909888" cy="206381"/>
          </a:xfrm>
          <a:prstGeom prst="rect">
            <a:avLst/>
          </a:prstGeom>
        </p:spPr>
        <p:txBody>
          <a:bodyPr vert="horz" lIns="91440" tIns="0" rIns="91440" bIns="45720" rtlCol="0" anchor="b" anchorCtr="0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3DB80-B894-403A-B48E-6FDC1A72010E}" type="slidenum">
              <a:rPr kumimoji="0" lang="zh-CN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978364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4F9033FE-0487-4CD4-883F-C3C7C24355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华文楷体"/>
              <a:cs typeface="+mn-cs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FBADFF8F-D3ED-44C1-BC57-C842D45EAE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华文楷体"/>
              <a:cs typeface="+mn-cs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1E47D1A-89DD-4C39-9D5A-D4C5093DD1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79F964-9077-479C-84FE-FD00BAF75217}" type="slidenum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华文楷体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华文楷体"/>
              <a:cs typeface="+mn-cs"/>
            </a:endParaRPr>
          </a:p>
        </p:txBody>
      </p:sp>
      <p:sp>
        <p:nvSpPr>
          <p:cNvPr id="5" name="灯片编号占位符 5">
            <a:extLst>
              <a:ext uri="{FF2B5EF4-FFF2-40B4-BE49-F238E27FC236}">
                <a16:creationId xmlns:a16="http://schemas.microsoft.com/office/drawing/2014/main" id="{2C4AAB49-B02A-4DFD-A187-16F55D93430A}"/>
              </a:ext>
            </a:extLst>
          </p:cNvPr>
          <p:cNvSpPr txBox="1">
            <a:spLocks/>
          </p:cNvSpPr>
          <p:nvPr userDrawn="1"/>
        </p:nvSpPr>
        <p:spPr>
          <a:xfrm>
            <a:off x="8869679" y="6395878"/>
            <a:ext cx="2909888" cy="206381"/>
          </a:xfrm>
          <a:prstGeom prst="rect">
            <a:avLst/>
          </a:prstGeom>
        </p:spPr>
        <p:txBody>
          <a:bodyPr vert="horz" lIns="91440" tIns="0" rIns="91440" bIns="45720" rtlCol="0" anchor="b" anchorCtr="0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3DB80-B894-403A-B48E-6FDC1A72010E}" type="slidenum">
              <a:rPr kumimoji="0" lang="zh-CN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522377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270" imgH="270" progId="TCLayout.ActiveDocument.1">
                  <p:embed/>
                </p:oleObj>
              </mc:Choice>
              <mc:Fallback>
                <p:oleObj name="think-cell 幻灯片" r:id="rId4" imgW="270" imgH="270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altLang="zh-CN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2105 TED Sample Slides WhiteV13_Gaoliao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140399"/>
            <a:ext cx="10934700" cy="72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lnSpc>
                <a:spcPct val="100000"/>
              </a:lnSpc>
              <a:defRPr b="1"/>
            </a:lvl1pPr>
          </a:lstStyle>
          <a:p>
            <a:r>
              <a:rPr lang="en-US" altLang="zh-CN" dirty="0"/>
              <a:t>Click to add title</a:t>
            </a:r>
            <a:endParaRPr lang="en-US" dirty="0"/>
          </a:p>
        </p:txBody>
      </p:sp>
      <p:sp>
        <p:nvSpPr>
          <p:cNvPr id="8" name="文本占位符 6"/>
          <p:cNvSpPr>
            <a:spLocks noGrp="1"/>
          </p:cNvSpPr>
          <p:nvPr>
            <p:ph type="body" sz="quarter" idx="11" hasCustomPrompt="1"/>
          </p:nvPr>
        </p:nvSpPr>
        <p:spPr>
          <a:xfrm>
            <a:off x="360000" y="6408210"/>
            <a:ext cx="10934700" cy="422275"/>
          </a:xfrm>
        </p:spPr>
        <p:txBody>
          <a:bodyPr tIns="0" bIns="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zh-CN" dirty="0"/>
              <a:t>Note:</a:t>
            </a:r>
            <a:br>
              <a:rPr lang="en-US" altLang="zh-CN" dirty="0"/>
            </a:br>
            <a:r>
              <a:rPr lang="en-US" altLang="zh-CN" dirty="0"/>
              <a:t>Source: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7060429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" name="标题 19">
            <a:extLst>
              <a:ext uri="{FF2B5EF4-FFF2-40B4-BE49-F238E27FC236}">
                <a16:creationId xmlns:a16="http://schemas.microsoft.com/office/drawing/2014/main" id="{50040AF9-5428-4DD9-201F-AABE2C7297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4803" y="3504585"/>
            <a:ext cx="5745685" cy="89535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71" name="文本占位符 20">
            <a:extLst>
              <a:ext uri="{FF2B5EF4-FFF2-40B4-BE49-F238E27FC236}">
                <a16:creationId xmlns:a16="http://schemas.microsoft.com/office/drawing/2014/main" id="{9D8B2ADF-1CC2-079C-965D-6899E1FECE7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74803" y="4399935"/>
            <a:ext cx="5745685" cy="1015623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8504872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日期占位符 1">
            <a:extLst>
              <a:ext uri="{FF2B5EF4-FFF2-40B4-BE49-F238E27FC236}">
                <a16:creationId xmlns:a16="http://schemas.microsoft.com/office/drawing/2014/main" id="{5D3DAA8A-F39D-ACF7-E269-583C83AFFDC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90733" y="8546253"/>
            <a:ext cx="3657600" cy="365760"/>
          </a:xfrm>
        </p:spPr>
        <p:txBody>
          <a:bodyPr/>
          <a:lstStyle/>
          <a:p>
            <a:endParaRPr lang="en-US"/>
          </a:p>
        </p:txBody>
      </p:sp>
      <p:sp>
        <p:nvSpPr>
          <p:cNvPr id="7" name="页脚占位符 2">
            <a:extLst>
              <a:ext uri="{FF2B5EF4-FFF2-40B4-BE49-F238E27FC236}">
                <a16:creationId xmlns:a16="http://schemas.microsoft.com/office/drawing/2014/main" id="{BFDC5E9B-0F77-547C-4FD9-48C35A0D81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80532" y="8546253"/>
            <a:ext cx="4876800" cy="36576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8" name="灯片编号占位符 3">
            <a:extLst>
              <a:ext uri="{FF2B5EF4-FFF2-40B4-BE49-F238E27FC236}">
                <a16:creationId xmlns:a16="http://schemas.microsoft.com/office/drawing/2014/main" id="{DBEB87ED-1906-C500-96F8-131FE4DFAF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81733" y="8546253"/>
            <a:ext cx="4876800" cy="365760"/>
          </a:xfrm>
        </p:spPr>
        <p:txBody>
          <a:bodyPr/>
          <a:lstStyle/>
          <a:p>
            <a:fld id="{C8BB1146-E542-4D4E-B8E9-6919A11DDD4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953655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1">
            <a:extLst>
              <a:ext uri="{FF2B5EF4-FFF2-40B4-BE49-F238E27FC236}">
                <a16:creationId xmlns:a16="http://schemas.microsoft.com/office/drawing/2014/main" id="{89E409C0-9078-14B8-A1FF-ED961B846CB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fld id="{A50ECBEB-8597-4EA4-9D29-E1D7025CFAA0}" type="datetime1">
              <a:rPr lang="zh-CN" altLang="en-US" smtClean="0"/>
              <a:t>2024/8/13</a:t>
            </a:fld>
            <a:endParaRPr lang="zh-CN" altLang="en-US"/>
          </a:p>
        </p:txBody>
      </p:sp>
      <p:sp>
        <p:nvSpPr>
          <p:cNvPr id="4" name="页脚占位符 2">
            <a:extLst>
              <a:ext uri="{FF2B5EF4-FFF2-40B4-BE49-F238E27FC236}">
                <a16:creationId xmlns:a16="http://schemas.microsoft.com/office/drawing/2014/main" id="{682A2FCA-4ED6-5D4A-C8EC-9022E2A64F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3">
            <a:extLst>
              <a:ext uri="{FF2B5EF4-FFF2-40B4-BE49-F238E27FC236}">
                <a16:creationId xmlns:a16="http://schemas.microsoft.com/office/drawing/2014/main" id="{0DFB25DE-611D-52BF-260A-6FB81DE1E9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2146203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1">
            <a:extLst>
              <a:ext uri="{FF2B5EF4-FFF2-40B4-BE49-F238E27FC236}">
                <a16:creationId xmlns:a16="http://schemas.microsoft.com/office/drawing/2014/main" id="{E448E5D9-174B-541D-8201-92EBC252481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fld id="{A50ECBEB-8597-4EA4-9D29-E1D7025CFAA0}" type="datetime1">
              <a:rPr lang="zh-CN" altLang="en-US" smtClean="0"/>
              <a:t>2024/8/13</a:t>
            </a:fld>
            <a:endParaRPr lang="zh-CN" altLang="en-US"/>
          </a:p>
        </p:txBody>
      </p:sp>
      <p:sp>
        <p:nvSpPr>
          <p:cNvPr id="4" name="页脚占位符 2">
            <a:extLst>
              <a:ext uri="{FF2B5EF4-FFF2-40B4-BE49-F238E27FC236}">
                <a16:creationId xmlns:a16="http://schemas.microsoft.com/office/drawing/2014/main" id="{4F882FBC-61D0-3774-C1D5-FF8EB0DFEC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3">
            <a:extLst>
              <a:ext uri="{FF2B5EF4-FFF2-40B4-BE49-F238E27FC236}">
                <a16:creationId xmlns:a16="http://schemas.microsoft.com/office/drawing/2014/main" id="{05CE46D7-EDB1-B2BD-66BC-D5C5A1391A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1404777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竖排内容占位符 2">
            <a:extLst>
              <a:ext uri="{FF2B5EF4-FFF2-40B4-BE49-F238E27FC236}">
                <a16:creationId xmlns:a16="http://schemas.microsoft.com/office/drawing/2014/main" id="{B1A122C2-D9E5-4D78-AC6E-D7A9936722F3}"/>
              </a:ext>
            </a:extLst>
          </p:cNvPr>
          <p:cNvSpPr>
            <a:spLocks noGrp="1"/>
          </p:cNvSpPr>
          <p:nvPr>
            <p:ph orient="vert" sz="quarter" idx="10"/>
          </p:nvPr>
        </p:nvSpPr>
        <p:spPr>
          <a:xfrm>
            <a:off x="2707798" y="843179"/>
            <a:ext cx="7705725" cy="4687887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</p:spTree>
    <p:extLst>
      <p:ext uri="{BB962C8B-B14F-4D97-AF65-F5344CB8AC3E}">
        <p14:creationId xmlns:p14="http://schemas.microsoft.com/office/powerpoint/2010/main" val="336279411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1">
            <a:extLst>
              <a:ext uri="{FF2B5EF4-FFF2-40B4-BE49-F238E27FC236}">
                <a16:creationId xmlns:a16="http://schemas.microsoft.com/office/drawing/2014/main" id="{54713F11-4DDE-28D1-ED85-0D55041B4AF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fld id="{A50ECBEB-8597-4EA4-9D29-E1D7025CFAA0}" type="datetime1">
              <a:rPr lang="zh-CN" altLang="en-US" smtClean="0"/>
              <a:t>2024/8/13</a:t>
            </a:fld>
            <a:endParaRPr lang="zh-CN" altLang="en-US"/>
          </a:p>
        </p:txBody>
      </p:sp>
      <p:sp>
        <p:nvSpPr>
          <p:cNvPr id="4" name="页脚占位符 2">
            <a:extLst>
              <a:ext uri="{FF2B5EF4-FFF2-40B4-BE49-F238E27FC236}">
                <a16:creationId xmlns:a16="http://schemas.microsoft.com/office/drawing/2014/main" id="{70D335FB-67E2-5F02-CD40-80E40975C8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3">
            <a:extLst>
              <a:ext uri="{FF2B5EF4-FFF2-40B4-BE49-F238E27FC236}">
                <a16:creationId xmlns:a16="http://schemas.microsoft.com/office/drawing/2014/main" id="{CE296B96-7C01-B364-7F70-BB185D9696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086514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52EDE83-63CC-4B33-B715-3953EADE21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1514619F-25D0-4307-81CD-C24C74EF14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8B5987-9647-4253-899C-3B9819D6D8A0}" type="datetime1">
              <a:rPr lang="zh-CN" altLang="en-US" smtClean="0"/>
              <a:t>2024/8/13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C802B25F-898B-4C1A-94A9-699B8B55DF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AA842F0A-76EB-4E77-8AF6-5F91F22881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65B630-C7FF-41C0-9923-C5E5E29EED8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1262822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1">
            <a:extLst>
              <a:ext uri="{FF2B5EF4-FFF2-40B4-BE49-F238E27FC236}">
                <a16:creationId xmlns:a16="http://schemas.microsoft.com/office/drawing/2014/main" id="{CC24A366-641B-2199-EACA-FB726FD9834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fld id="{A50ECBEB-8597-4EA4-9D29-E1D7025CFAA0}" type="datetime1">
              <a:rPr lang="zh-CN" altLang="en-US" smtClean="0"/>
              <a:t>2024/8/13</a:t>
            </a:fld>
            <a:endParaRPr lang="zh-CN" altLang="en-US"/>
          </a:p>
        </p:txBody>
      </p:sp>
      <p:sp>
        <p:nvSpPr>
          <p:cNvPr id="4" name="页脚占位符 2">
            <a:extLst>
              <a:ext uri="{FF2B5EF4-FFF2-40B4-BE49-F238E27FC236}">
                <a16:creationId xmlns:a16="http://schemas.microsoft.com/office/drawing/2014/main" id="{A9B61F8A-F167-14DF-39ED-1A76586C90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3">
            <a:extLst>
              <a:ext uri="{FF2B5EF4-FFF2-40B4-BE49-F238E27FC236}">
                <a16:creationId xmlns:a16="http://schemas.microsoft.com/office/drawing/2014/main" id="{C2999CB0-0111-3FA7-BA0E-C9753C9EB5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086780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1">
            <a:extLst>
              <a:ext uri="{FF2B5EF4-FFF2-40B4-BE49-F238E27FC236}">
                <a16:creationId xmlns:a16="http://schemas.microsoft.com/office/drawing/2014/main" id="{4D36A0F3-9D89-424C-0CF4-5D1B396E4C0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fld id="{A50ECBEB-8597-4EA4-9D29-E1D7025CFAA0}" type="datetime1">
              <a:rPr lang="zh-CN" altLang="en-US" smtClean="0"/>
              <a:t>2024/8/13</a:t>
            </a:fld>
            <a:endParaRPr lang="zh-CN" altLang="en-US"/>
          </a:p>
        </p:txBody>
      </p:sp>
      <p:sp>
        <p:nvSpPr>
          <p:cNvPr id="4" name="页脚占位符 2">
            <a:extLst>
              <a:ext uri="{FF2B5EF4-FFF2-40B4-BE49-F238E27FC236}">
                <a16:creationId xmlns:a16="http://schemas.microsoft.com/office/drawing/2014/main" id="{FCBFF5C6-8D33-194D-7D3C-9CE107D39D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3">
            <a:extLst>
              <a:ext uri="{FF2B5EF4-FFF2-40B4-BE49-F238E27FC236}">
                <a16:creationId xmlns:a16="http://schemas.microsoft.com/office/drawing/2014/main" id="{7ECDEAD6-F2F5-D683-3102-6D056837CA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057720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1">
            <a:extLst>
              <a:ext uri="{FF2B5EF4-FFF2-40B4-BE49-F238E27FC236}">
                <a16:creationId xmlns:a16="http://schemas.microsoft.com/office/drawing/2014/main" id="{54BBCB9D-A5BC-17B9-1310-C57C8417BA1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fld id="{A50ECBEB-8597-4EA4-9D29-E1D7025CFAA0}" type="datetime1">
              <a:rPr lang="zh-CN" altLang="en-US" smtClean="0"/>
              <a:t>2024/8/13</a:t>
            </a:fld>
            <a:endParaRPr lang="zh-CN" altLang="en-US"/>
          </a:p>
        </p:txBody>
      </p:sp>
      <p:sp>
        <p:nvSpPr>
          <p:cNvPr id="4" name="页脚占位符 2">
            <a:extLst>
              <a:ext uri="{FF2B5EF4-FFF2-40B4-BE49-F238E27FC236}">
                <a16:creationId xmlns:a16="http://schemas.microsoft.com/office/drawing/2014/main" id="{F013068F-5B42-3EBC-C24A-61E420AF6E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3">
            <a:extLst>
              <a:ext uri="{FF2B5EF4-FFF2-40B4-BE49-F238E27FC236}">
                <a16:creationId xmlns:a16="http://schemas.microsoft.com/office/drawing/2014/main" id="{3D1AA926-2601-D445-AA77-B84E3055BE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038696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日期占位符 1">
            <a:extLst>
              <a:ext uri="{FF2B5EF4-FFF2-40B4-BE49-F238E27FC236}">
                <a16:creationId xmlns:a16="http://schemas.microsoft.com/office/drawing/2014/main" id="{5D3DAA8A-F39D-ACF7-E269-583C83AFFDC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90733" y="8546253"/>
            <a:ext cx="3657600" cy="365760"/>
          </a:xfrm>
        </p:spPr>
        <p:txBody>
          <a:bodyPr/>
          <a:lstStyle/>
          <a:p>
            <a:endParaRPr lang="en-US"/>
          </a:p>
        </p:txBody>
      </p:sp>
      <p:sp>
        <p:nvSpPr>
          <p:cNvPr id="7" name="页脚占位符 2">
            <a:extLst>
              <a:ext uri="{FF2B5EF4-FFF2-40B4-BE49-F238E27FC236}">
                <a16:creationId xmlns:a16="http://schemas.microsoft.com/office/drawing/2014/main" id="{BFDC5E9B-0F77-547C-4FD9-48C35A0D81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80532" y="8546253"/>
            <a:ext cx="4876800" cy="36576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8" name="灯片编号占位符 3">
            <a:extLst>
              <a:ext uri="{FF2B5EF4-FFF2-40B4-BE49-F238E27FC236}">
                <a16:creationId xmlns:a16="http://schemas.microsoft.com/office/drawing/2014/main" id="{DBEB87ED-1906-C500-96F8-131FE4DFAF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81733" y="8546253"/>
            <a:ext cx="4876800" cy="365760"/>
          </a:xfrm>
        </p:spPr>
        <p:txBody>
          <a:bodyPr/>
          <a:lstStyle/>
          <a:p>
            <a:fld id="{C8BB1146-E542-4D4E-B8E9-6919A11DDD4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379644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1">
            <a:extLst>
              <a:ext uri="{FF2B5EF4-FFF2-40B4-BE49-F238E27FC236}">
                <a16:creationId xmlns:a16="http://schemas.microsoft.com/office/drawing/2014/main" id="{0409B6B5-A123-5EDA-EED4-2D57560797D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fld id="{A50ECBEB-8597-4EA4-9D29-E1D7025CFAA0}" type="datetime1">
              <a:rPr lang="zh-CN" altLang="en-US" smtClean="0"/>
              <a:t>2024/8/13</a:t>
            </a:fld>
            <a:endParaRPr lang="zh-CN" altLang="en-US"/>
          </a:p>
        </p:txBody>
      </p:sp>
      <p:sp>
        <p:nvSpPr>
          <p:cNvPr id="4" name="页脚占位符 2">
            <a:extLst>
              <a:ext uri="{FF2B5EF4-FFF2-40B4-BE49-F238E27FC236}">
                <a16:creationId xmlns:a16="http://schemas.microsoft.com/office/drawing/2014/main" id="{4075F1EE-191D-44F7-410F-80D0C5B21B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3">
            <a:extLst>
              <a:ext uri="{FF2B5EF4-FFF2-40B4-BE49-F238E27FC236}">
                <a16:creationId xmlns:a16="http://schemas.microsoft.com/office/drawing/2014/main" id="{72D22B13-DED4-AC86-D155-124A2C069C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8133364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>
            <a:extLst>
              <a:ext uri="{FF2B5EF4-FFF2-40B4-BE49-F238E27FC236}">
                <a16:creationId xmlns:a16="http://schemas.microsoft.com/office/drawing/2014/main" id="{02C63F3B-8235-4CDF-6418-11742AE699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4" name="日期占位符 2">
            <a:extLst>
              <a:ext uri="{FF2B5EF4-FFF2-40B4-BE49-F238E27FC236}">
                <a16:creationId xmlns:a16="http://schemas.microsoft.com/office/drawing/2014/main" id="{6D5E1675-B5AA-F3AA-B689-060DF29DAB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401732" y="6235700"/>
            <a:ext cx="1388536" cy="206381"/>
          </a:xfrm>
          <a:prstGeom prst="rect">
            <a:avLst/>
          </a:prstGeom>
        </p:spPr>
        <p:txBody>
          <a:bodyPr/>
          <a:lstStyle/>
          <a:p>
            <a:fld id="{6489D9C7-5DC6-4263-87FF-7C99F6FB63C3}" type="datetime1">
              <a:rPr lang="zh-CN" altLang="en-US" smtClean="0"/>
              <a:pPr/>
              <a:t>2024/8/13</a:t>
            </a:fld>
            <a:endParaRPr lang="zh-CN" altLang="en-US"/>
          </a:p>
        </p:txBody>
      </p:sp>
      <p:sp>
        <p:nvSpPr>
          <p:cNvPr id="5" name="页脚占位符 3">
            <a:extLst>
              <a:ext uri="{FF2B5EF4-FFF2-40B4-BE49-F238E27FC236}">
                <a16:creationId xmlns:a16="http://schemas.microsoft.com/office/drawing/2014/main" id="{C58D7BE6-6E1B-F6B3-FAE5-4263092C9C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9924" y="6235700"/>
            <a:ext cx="4140201" cy="206381"/>
          </a:xfrm>
          <a:prstGeom prst="rect">
            <a:avLst/>
          </a:prstGeom>
        </p:spPr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6" name="灯片编号占位符 4">
            <a:extLst>
              <a:ext uri="{FF2B5EF4-FFF2-40B4-BE49-F238E27FC236}">
                <a16:creationId xmlns:a16="http://schemas.microsoft.com/office/drawing/2014/main" id="{5BA0FD73-3268-65BA-CCA8-69D3DD7D87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599" y="6235700"/>
            <a:ext cx="2909888" cy="206381"/>
          </a:xfrm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643736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>
            <a:extLst>
              <a:ext uri="{FF2B5EF4-FFF2-40B4-BE49-F238E27FC236}">
                <a16:creationId xmlns:a16="http://schemas.microsoft.com/office/drawing/2014/main" id="{364419AB-0CA3-A32C-BBC2-2335C9B65D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4" name="日期占位符 2">
            <a:extLst>
              <a:ext uri="{FF2B5EF4-FFF2-40B4-BE49-F238E27FC236}">
                <a16:creationId xmlns:a16="http://schemas.microsoft.com/office/drawing/2014/main" id="{305D5238-82CF-CE29-C87B-8887B079E37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401732" y="6235700"/>
            <a:ext cx="1388536" cy="206381"/>
          </a:xfrm>
          <a:prstGeom prst="rect">
            <a:avLst/>
          </a:prstGeom>
        </p:spPr>
        <p:txBody>
          <a:bodyPr/>
          <a:lstStyle/>
          <a:p>
            <a:fld id="{6489D9C7-5DC6-4263-87FF-7C99F6FB63C3}" type="datetime1">
              <a:rPr lang="zh-CN" altLang="en-US" smtClean="0"/>
              <a:pPr/>
              <a:t>2024/8/13</a:t>
            </a:fld>
            <a:endParaRPr lang="zh-CN" altLang="en-US"/>
          </a:p>
        </p:txBody>
      </p:sp>
      <p:sp>
        <p:nvSpPr>
          <p:cNvPr id="5" name="页脚占位符 3">
            <a:extLst>
              <a:ext uri="{FF2B5EF4-FFF2-40B4-BE49-F238E27FC236}">
                <a16:creationId xmlns:a16="http://schemas.microsoft.com/office/drawing/2014/main" id="{439BA4F7-0FB1-7D24-2BC4-865FEB04E5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9924" y="6235700"/>
            <a:ext cx="4140201" cy="206381"/>
          </a:xfrm>
          <a:prstGeom prst="rect">
            <a:avLst/>
          </a:prstGeom>
        </p:spPr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6" name="灯片编号占位符 4">
            <a:extLst>
              <a:ext uri="{FF2B5EF4-FFF2-40B4-BE49-F238E27FC236}">
                <a16:creationId xmlns:a16="http://schemas.microsoft.com/office/drawing/2014/main" id="{A3BA5C51-45BE-505F-C9C1-5189EDBA57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599" y="6235700"/>
            <a:ext cx="2909888" cy="206381"/>
          </a:xfrm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0085684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F4177F46-87B4-6A47-0A74-9CCCDA79E5A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fld id="{A50ECBEB-8597-4EA4-9D29-E1D7025CFAA0}" type="datetime1">
              <a:rPr lang="zh-CN" altLang="en-US" smtClean="0"/>
              <a:t>2024/8/13</a:t>
            </a:fld>
            <a:endParaRPr lang="zh-CN" altLang="en-US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FDE905AF-2D73-876C-EC44-AD55D73545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AC51133-35F1-BC64-0280-4EE1AB06E9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4178710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69D8E896-43EB-11DA-F695-27376923FA1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fld id="{A50ECBEB-8597-4EA4-9D29-E1D7025CFAA0}" type="datetime1">
              <a:rPr lang="zh-CN" altLang="en-US" smtClean="0"/>
              <a:t>2024/8/13</a:t>
            </a:fld>
            <a:endParaRPr lang="zh-CN" altLang="en-US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2F7143AA-3D01-F947-8BBF-EEAA005575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20CF5DC3-0707-9D86-6A01-BBF6CD53AD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6847494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B401DCAF-2F7E-B6B4-0D2E-14379F12216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fld id="{FD17C161-E0A8-4D01-9947-85FD8942E9C9}" type="datetime1">
              <a:rPr lang="zh-CN" altLang="en-US" smtClean="0"/>
              <a:t>2024/8/13</a:t>
            </a:fld>
            <a:endParaRPr lang="zh-CN" altLang="en-US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CE3E4BDA-464C-8964-F87D-AB8104C2D1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45182C54-D921-82E5-F359-302F172512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2618625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7ADBB5B4-91B5-C8F4-AEF7-C3A41F120C3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fld id="{FD17C161-E0A8-4D01-9947-85FD8942E9C9}" type="datetime1">
              <a:rPr lang="zh-CN" altLang="en-US" smtClean="0"/>
              <a:t>2024/8/13</a:t>
            </a:fld>
            <a:endParaRPr lang="zh-CN" altLang="en-US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05198013-6937-E3C8-54BC-BD7745592B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EF235633-2820-C530-6878-94209EA821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7606109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930D4D29-005D-4AEB-A9F6-BC7F4B79706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fld id="{A50ECBEB-8597-4EA4-9D29-E1D7025CFAA0}" type="datetime1">
              <a:rPr lang="zh-CN" altLang="en-US" smtClean="0"/>
              <a:t>2024/8/13</a:t>
            </a:fld>
            <a:endParaRPr lang="zh-CN" altLang="en-US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54BEEDC9-2B9F-8071-CC3C-7321873998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BB797233-AE1D-B77E-9CCA-C0D7E38D2F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0859528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220FBF58-1835-0F57-509C-89E3A765300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fld id="{A50ECBEB-8597-4EA4-9D29-E1D7025CFAA0}" type="datetime1">
              <a:rPr lang="zh-CN" altLang="en-US" smtClean="0"/>
              <a:t>2024/8/13</a:t>
            </a:fld>
            <a:endParaRPr lang="zh-CN" altLang="en-US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666D085A-1EB2-FE53-DCEC-F6087FA132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B44A4B8F-1D78-FE9F-70F3-1FDA499CE4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6821984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1A069F15-F96F-CC5F-77BA-59C70E61CD4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fld id="{A50ECBEB-8597-4EA4-9D29-E1D7025CFAA0}" type="datetime1">
              <a:rPr lang="zh-CN" altLang="en-US" smtClean="0"/>
              <a:t>2024/8/13</a:t>
            </a:fld>
            <a:endParaRPr lang="zh-CN" altLang="en-US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4C30E01D-50F4-9D5E-893A-314823934A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B5EBCFED-36DB-E25D-FEA6-C3DD55D077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365907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gend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72385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270" imgH="270" progId="TCLayout.ActiveDocument.1">
                  <p:embed/>
                </p:oleObj>
              </mc:Choice>
              <mc:Fallback>
                <p:oleObj name="think-cell 幻灯片" r:id="rId4" imgW="270" imgH="270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oterSimple" hidden="1"/>
          <p:cNvSpPr txBox="1"/>
          <p:nvPr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altLang="zh-CN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2105 TED Sample Slides WhiteV13_Gaoliao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140399"/>
            <a:ext cx="10934700" cy="72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genda </a:t>
            </a:r>
            <a:r>
              <a:rPr lang="en-US" altLang="zh-CN" dirty="0"/>
              <a:t>page</a:t>
            </a:r>
            <a:endParaRPr lang="en-US" dirty="0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70"/>
          <a:stretch/>
        </p:blipFill>
        <p:spPr>
          <a:xfrm>
            <a:off x="0" y="1260057"/>
            <a:ext cx="12192000" cy="48760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59266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1">
            <a:extLst>
              <a:ext uri="{FF2B5EF4-FFF2-40B4-BE49-F238E27FC236}">
                <a16:creationId xmlns:a16="http://schemas.microsoft.com/office/drawing/2014/main" id="{40A69B06-2059-A445-3AB1-0577BD44287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18050" y="6409690"/>
            <a:ext cx="2743200" cy="27432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页脚占位符 2">
            <a:extLst>
              <a:ext uri="{FF2B5EF4-FFF2-40B4-BE49-F238E27FC236}">
                <a16:creationId xmlns:a16="http://schemas.microsoft.com/office/drawing/2014/main" id="{46E4CF1C-D524-A3A1-9983-5B872430E9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0399" y="6409690"/>
            <a:ext cx="3657600" cy="27432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灯片编号占位符 3">
            <a:extLst>
              <a:ext uri="{FF2B5EF4-FFF2-40B4-BE49-F238E27FC236}">
                <a16:creationId xmlns:a16="http://schemas.microsoft.com/office/drawing/2014/main" id="{866B3DC3-F642-0FBA-4BC3-73B8C8C498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861300" y="6409690"/>
            <a:ext cx="3657600" cy="274320"/>
          </a:xfrm>
          <a:prstGeom prst="rect">
            <a:avLst/>
          </a:prstGeom>
        </p:spPr>
        <p:txBody>
          <a:bodyPr/>
          <a:lstStyle/>
          <a:p>
            <a:fld id="{C8BB1146-E542-4D4E-B8E9-6919A11DDD4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666270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1">
            <a:extLst>
              <a:ext uri="{FF2B5EF4-FFF2-40B4-BE49-F238E27FC236}">
                <a16:creationId xmlns:a16="http://schemas.microsoft.com/office/drawing/2014/main" id="{DA6F28E3-833A-FD9B-2D4F-C782DCCE48D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18050" y="6409690"/>
            <a:ext cx="2743200" cy="27432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页脚占位符 2">
            <a:extLst>
              <a:ext uri="{FF2B5EF4-FFF2-40B4-BE49-F238E27FC236}">
                <a16:creationId xmlns:a16="http://schemas.microsoft.com/office/drawing/2014/main" id="{BF047254-FAA6-E664-17D5-A4E380D6C1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0399" y="6409690"/>
            <a:ext cx="3657600" cy="27432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灯片编号占位符 3">
            <a:extLst>
              <a:ext uri="{FF2B5EF4-FFF2-40B4-BE49-F238E27FC236}">
                <a16:creationId xmlns:a16="http://schemas.microsoft.com/office/drawing/2014/main" id="{9E305BE9-F45D-ECDA-A8BF-D9715942C6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861300" y="6409690"/>
            <a:ext cx="3657600" cy="274320"/>
          </a:xfrm>
          <a:prstGeom prst="rect">
            <a:avLst/>
          </a:prstGeom>
        </p:spPr>
        <p:txBody>
          <a:bodyPr/>
          <a:lstStyle/>
          <a:p>
            <a:fld id="{C8BB1146-E542-4D4E-B8E9-6919A11DDD4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550683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1">
            <a:extLst>
              <a:ext uri="{FF2B5EF4-FFF2-40B4-BE49-F238E27FC236}">
                <a16:creationId xmlns:a16="http://schemas.microsoft.com/office/drawing/2014/main" id="{B0F057EA-1689-EB3A-A28D-73C5D8F35C7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18050" y="6409690"/>
            <a:ext cx="2743200" cy="27432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页脚占位符 2">
            <a:extLst>
              <a:ext uri="{FF2B5EF4-FFF2-40B4-BE49-F238E27FC236}">
                <a16:creationId xmlns:a16="http://schemas.microsoft.com/office/drawing/2014/main" id="{9E008106-75FE-D78B-79DE-99936698FA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0399" y="6409690"/>
            <a:ext cx="3657600" cy="27432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灯片编号占位符 3">
            <a:extLst>
              <a:ext uri="{FF2B5EF4-FFF2-40B4-BE49-F238E27FC236}">
                <a16:creationId xmlns:a16="http://schemas.microsoft.com/office/drawing/2014/main" id="{315FD1A6-1E53-A0C8-0A2E-8D071D9415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861300" y="6409690"/>
            <a:ext cx="3657600" cy="274320"/>
          </a:xfrm>
          <a:prstGeom prst="rect">
            <a:avLst/>
          </a:prstGeom>
        </p:spPr>
        <p:txBody>
          <a:bodyPr/>
          <a:lstStyle/>
          <a:p>
            <a:fld id="{C8BB1146-E542-4D4E-B8E9-6919A11DDD4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090959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1">
            <a:extLst>
              <a:ext uri="{FF2B5EF4-FFF2-40B4-BE49-F238E27FC236}">
                <a16:creationId xmlns:a16="http://schemas.microsoft.com/office/drawing/2014/main" id="{4738EF2F-3CB3-770B-AA1D-FEA4F5D6C2E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fld id="{B9109487-48C0-49BF-9A76-4EC48A3BB7C8}" type="datetime1">
              <a:rPr lang="zh-CN" altLang="en-US" smtClean="0"/>
              <a:t>2024/8/13</a:t>
            </a:fld>
            <a:endParaRPr lang="zh-CN" altLang="en-US"/>
          </a:p>
        </p:txBody>
      </p:sp>
      <p:sp>
        <p:nvSpPr>
          <p:cNvPr id="4" name="页脚占位符 2">
            <a:extLst>
              <a:ext uri="{FF2B5EF4-FFF2-40B4-BE49-F238E27FC236}">
                <a16:creationId xmlns:a16="http://schemas.microsoft.com/office/drawing/2014/main" id="{0E2CF7E2-6A0C-AB62-B384-9ECE2C882D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3">
            <a:extLst>
              <a:ext uri="{FF2B5EF4-FFF2-40B4-BE49-F238E27FC236}">
                <a16:creationId xmlns:a16="http://schemas.microsoft.com/office/drawing/2014/main" id="{DC39A61A-0449-18B3-C921-56AA89BFD4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4553351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>
            <a:extLst>
              <a:ext uri="{FF2B5EF4-FFF2-40B4-BE49-F238E27FC236}">
                <a16:creationId xmlns:a16="http://schemas.microsoft.com/office/drawing/2014/main" id="{469F2AA9-61D1-D16C-473C-76F1960567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0400" y="128587"/>
            <a:ext cx="10858500" cy="9001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4" name="日期占位符 2">
            <a:extLst>
              <a:ext uri="{FF2B5EF4-FFF2-40B4-BE49-F238E27FC236}">
                <a16:creationId xmlns:a16="http://schemas.microsoft.com/office/drawing/2014/main" id="{033F0B5A-F950-3574-FC1B-26627D16365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18050" y="6409690"/>
            <a:ext cx="2743200" cy="27432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页脚占位符 3">
            <a:extLst>
              <a:ext uri="{FF2B5EF4-FFF2-40B4-BE49-F238E27FC236}">
                <a16:creationId xmlns:a16="http://schemas.microsoft.com/office/drawing/2014/main" id="{54D29BCE-44DD-F87C-F968-2648927A2D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0399" y="6409690"/>
            <a:ext cx="3657600" cy="27432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灯片编号占位符 4">
            <a:extLst>
              <a:ext uri="{FF2B5EF4-FFF2-40B4-BE49-F238E27FC236}">
                <a16:creationId xmlns:a16="http://schemas.microsoft.com/office/drawing/2014/main" id="{12188F54-15C7-0E6C-753B-9C829DA288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861300" y="6409690"/>
            <a:ext cx="3657600" cy="274320"/>
          </a:xfrm>
          <a:prstGeom prst="rect">
            <a:avLst/>
          </a:prstGeom>
        </p:spPr>
        <p:txBody>
          <a:bodyPr/>
          <a:lstStyle/>
          <a:p>
            <a:fld id="{C8BB1146-E542-4D4E-B8E9-6919A11DDD4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84400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>
            <a:extLst>
              <a:ext uri="{FF2B5EF4-FFF2-40B4-BE49-F238E27FC236}">
                <a16:creationId xmlns:a16="http://schemas.microsoft.com/office/drawing/2014/main" id="{E609E357-229B-C4C8-C523-A0FB2B8EA5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0400" y="128587"/>
            <a:ext cx="10858500" cy="9001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4" name="日期占位符 2">
            <a:extLst>
              <a:ext uri="{FF2B5EF4-FFF2-40B4-BE49-F238E27FC236}">
                <a16:creationId xmlns:a16="http://schemas.microsoft.com/office/drawing/2014/main" id="{E942CF03-605F-23D1-A1E0-8DF474B5F82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18050" y="6409690"/>
            <a:ext cx="2743200" cy="27432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页脚占位符 3">
            <a:extLst>
              <a:ext uri="{FF2B5EF4-FFF2-40B4-BE49-F238E27FC236}">
                <a16:creationId xmlns:a16="http://schemas.microsoft.com/office/drawing/2014/main" id="{8F669A98-BB60-9B40-DDA3-D9FAD60175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0399" y="6409690"/>
            <a:ext cx="3657600" cy="27432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灯片编号占位符 4">
            <a:extLst>
              <a:ext uri="{FF2B5EF4-FFF2-40B4-BE49-F238E27FC236}">
                <a16:creationId xmlns:a16="http://schemas.microsoft.com/office/drawing/2014/main" id="{C062C4E8-046F-21B3-0CF9-D51ED0F50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861300" y="6409690"/>
            <a:ext cx="3657600" cy="274320"/>
          </a:xfrm>
          <a:prstGeom prst="rect">
            <a:avLst/>
          </a:prstGeom>
        </p:spPr>
        <p:txBody>
          <a:bodyPr/>
          <a:lstStyle/>
          <a:p>
            <a:fld id="{C8BB1146-E542-4D4E-B8E9-6919A11DDD4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021783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>
            <a:extLst>
              <a:ext uri="{FF2B5EF4-FFF2-40B4-BE49-F238E27FC236}">
                <a16:creationId xmlns:a16="http://schemas.microsoft.com/office/drawing/2014/main" id="{70885EAA-AB78-2ECD-1A31-3F5D9CD47F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0400" y="128587"/>
            <a:ext cx="10858500" cy="9001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4" name="日期占位符 2">
            <a:extLst>
              <a:ext uri="{FF2B5EF4-FFF2-40B4-BE49-F238E27FC236}">
                <a16:creationId xmlns:a16="http://schemas.microsoft.com/office/drawing/2014/main" id="{17174E5F-630F-5242-CF48-8EF5E63E420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18050" y="6409690"/>
            <a:ext cx="2743200" cy="27432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页脚占位符 3">
            <a:extLst>
              <a:ext uri="{FF2B5EF4-FFF2-40B4-BE49-F238E27FC236}">
                <a16:creationId xmlns:a16="http://schemas.microsoft.com/office/drawing/2014/main" id="{BD793C1F-F054-2614-BA6E-3BB01F01B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0399" y="6409690"/>
            <a:ext cx="3657600" cy="27432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灯片编号占位符 4">
            <a:extLst>
              <a:ext uri="{FF2B5EF4-FFF2-40B4-BE49-F238E27FC236}">
                <a16:creationId xmlns:a16="http://schemas.microsoft.com/office/drawing/2014/main" id="{73E1A17A-241A-5A3B-186C-C996FE3944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861300" y="6409690"/>
            <a:ext cx="3657600" cy="274320"/>
          </a:xfrm>
          <a:prstGeom prst="rect">
            <a:avLst/>
          </a:prstGeom>
        </p:spPr>
        <p:txBody>
          <a:bodyPr/>
          <a:lstStyle/>
          <a:p>
            <a:fld id="{C8BB1146-E542-4D4E-B8E9-6919A11DDD4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915096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图片占位符 3">
            <a:extLst>
              <a:ext uri="{FF2B5EF4-FFF2-40B4-BE49-F238E27FC236}">
                <a16:creationId xmlns:a16="http://schemas.microsoft.com/office/drawing/2014/main" id="{1C2782E9-200B-E848-83B9-DABD9B98B19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082839" y="654527"/>
            <a:ext cx="2160632" cy="1898542"/>
          </a:xfrm>
          <a:prstGeom prst="rect">
            <a:avLst/>
          </a:pr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kumimoji="1" lang="zh-CN" alt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kumimoji="1" lang="zh-CN" altLang="en-US"/>
              <a:t>拖拽插入图片</a:t>
            </a:r>
          </a:p>
        </p:txBody>
      </p:sp>
    </p:spTree>
    <p:extLst>
      <p:ext uri="{BB962C8B-B14F-4D97-AF65-F5344CB8AC3E}">
        <p14:creationId xmlns:p14="http://schemas.microsoft.com/office/powerpoint/2010/main" val="45372342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图片占位符 3">
            <a:extLst>
              <a:ext uri="{FF2B5EF4-FFF2-40B4-BE49-F238E27FC236}">
                <a16:creationId xmlns:a16="http://schemas.microsoft.com/office/drawing/2014/main" id="{1C2782E9-200B-E848-83B9-DABD9B98B19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082839" y="654527"/>
            <a:ext cx="2160632" cy="1898542"/>
          </a:xfrm>
          <a:prstGeom prst="rect">
            <a:avLst/>
          </a:pr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kumimoji="1" lang="zh-CN" alt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kumimoji="1" lang="zh-CN" altLang="en-US"/>
              <a:t>拖拽插入图片</a:t>
            </a:r>
          </a:p>
        </p:txBody>
      </p:sp>
    </p:spTree>
    <p:extLst>
      <p:ext uri="{BB962C8B-B14F-4D97-AF65-F5344CB8AC3E}">
        <p14:creationId xmlns:p14="http://schemas.microsoft.com/office/powerpoint/2010/main" val="243998359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封面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"/>
          <p:cNvSpPr>
            <a:spLocks/>
          </p:cNvSpPr>
          <p:nvPr userDrawn="1"/>
        </p:nvSpPr>
        <p:spPr bwMode="auto">
          <a:xfrm flipH="1">
            <a:off x="0" y="3073313"/>
            <a:ext cx="10920534" cy="2262324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YaHei"/>
              <a:ea typeface="Microsoft YaHei"/>
            </a:endParaRPr>
          </a:p>
        </p:txBody>
      </p:sp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对象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矩形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4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矩形 11"/>
          <p:cNvSpPr/>
          <p:nvPr userDrawn="1"/>
        </p:nvSpPr>
        <p:spPr>
          <a:xfrm>
            <a:off x="-1" y="5335637"/>
            <a:ext cx="12191999" cy="15223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cxnSp>
        <p:nvCxnSpPr>
          <p:cNvPr id="6" name="直接连接符 5"/>
          <p:cNvCxnSpPr/>
          <p:nvPr userDrawn="1"/>
        </p:nvCxnSpPr>
        <p:spPr>
          <a:xfrm>
            <a:off x="171507" y="1028700"/>
            <a:ext cx="11822373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87802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图片占位符 3">
            <a:extLst>
              <a:ext uri="{FF2B5EF4-FFF2-40B4-BE49-F238E27FC236}">
                <a16:creationId xmlns:a16="http://schemas.microsoft.com/office/drawing/2014/main" id="{1C2782E9-200B-E848-83B9-DABD9B98B19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082839" y="654527"/>
            <a:ext cx="2160632" cy="1898542"/>
          </a:xfrm>
          <a:prstGeom prst="rect">
            <a:avLst/>
          </a:pr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kumimoji="1" lang="zh-CN" alt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kumimoji="1" lang="zh-CN" altLang="en-US"/>
              <a:t>拖拽插入图片</a:t>
            </a:r>
          </a:p>
        </p:txBody>
      </p:sp>
    </p:spTree>
    <p:extLst>
      <p:ext uri="{BB962C8B-B14F-4D97-AF65-F5344CB8AC3E}">
        <p14:creationId xmlns:p14="http://schemas.microsoft.com/office/powerpoint/2010/main" val="352997045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对象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BCF4D">
              <a:alpha val="8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zh-CN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华文楷体" panose="02010600040101010101" pitchFamily="2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灯片编号占位符 5">
            <a:extLst>
              <a:ext uri="{FF2B5EF4-FFF2-40B4-BE49-F238E27FC236}">
                <a16:creationId xmlns:a16="http://schemas.microsoft.com/office/drawing/2014/main" id="{2C4AAB49-B02A-4DFD-A187-16F55D93430A}"/>
              </a:ext>
            </a:extLst>
          </p:cNvPr>
          <p:cNvSpPr txBox="1">
            <a:spLocks/>
          </p:cNvSpPr>
          <p:nvPr userDrawn="1"/>
        </p:nvSpPr>
        <p:spPr>
          <a:xfrm>
            <a:off x="8869679" y="6395878"/>
            <a:ext cx="2909888" cy="206381"/>
          </a:xfrm>
          <a:prstGeom prst="rect">
            <a:avLst/>
          </a:prstGeom>
        </p:spPr>
        <p:txBody>
          <a:bodyPr vert="horz" lIns="91440" tIns="0" rIns="91440" bIns="45720" rtlCol="0" anchor="b" anchorCtr="0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DD3DB80-B894-403A-B48E-6FDC1A72010E}" type="slidenum">
              <a:rPr lang="zh-CN" altLang="en-US" sz="1200" b="1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  <a:ea typeface="微软雅黑"/>
              </a:rPr>
              <a:pPr>
                <a:defRPr/>
              </a:pPr>
              <a:t>‹#›</a:t>
            </a:fld>
            <a:endParaRPr lang="zh-CN" altLang="en-US" sz="1200" b="1" dirty="0">
              <a:solidFill>
                <a:srgbClr val="000000">
                  <a:lumMod val="50000"/>
                  <a:lumOff val="50000"/>
                </a:srgbClr>
              </a:solidFill>
              <a:latin typeface="Arial"/>
              <a:ea typeface="微软雅黑"/>
            </a:endParaRPr>
          </a:p>
        </p:txBody>
      </p:sp>
      <p:cxnSp>
        <p:nvCxnSpPr>
          <p:cNvPr id="11" name="直接连接符 10"/>
          <p:cNvCxnSpPr/>
          <p:nvPr userDrawn="1"/>
        </p:nvCxnSpPr>
        <p:spPr>
          <a:xfrm>
            <a:off x="171507" y="1028700"/>
            <a:ext cx="11822373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1507" y="121920"/>
            <a:ext cx="11822373" cy="845820"/>
          </a:xfrm>
          <a:prstGeom prst="rect">
            <a:avLst/>
          </a:prstGeom>
        </p:spPr>
        <p:txBody>
          <a:bodyPr anchor="b"/>
          <a:lstStyle>
            <a:lvl1pPr>
              <a:defRPr/>
            </a:lvl1pPr>
          </a:lstStyle>
          <a:p>
            <a:r>
              <a:rPr lang="zh-CN" altLang="en-US" dirty="0"/>
              <a:t>标题</a:t>
            </a:r>
          </a:p>
        </p:txBody>
      </p:sp>
    </p:spTree>
    <p:extLst>
      <p:ext uri="{BB962C8B-B14F-4D97-AF65-F5344CB8AC3E}">
        <p14:creationId xmlns:p14="http://schemas.microsoft.com/office/powerpoint/2010/main" val="192320515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72d2fdfb8da93606a4b836a6cf30fcbf570dc6d9178c0b-ai3vDw.jpeg" descr="72d2fdfb8da93606a4b836a6cf30fcbf570dc6d9178c0b-ai3vDw.jpeg"/>
          <p:cNvPicPr>
            <a:picLocks noChangeAspect="1"/>
          </p:cNvPicPr>
          <p:nvPr userDrawn="1"/>
        </p:nvPicPr>
        <p:blipFill rotWithShape="1">
          <a:blip r:embed="rId2"/>
          <a:srcRect b="4492"/>
          <a:stretch/>
        </p:blipFill>
        <p:spPr>
          <a:xfrm>
            <a:off x="0" y="1"/>
            <a:ext cx="12231566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矩形"/>
          <p:cNvSpPr/>
          <p:nvPr userDrawn="1"/>
        </p:nvSpPr>
        <p:spPr>
          <a:xfrm>
            <a:off x="0" y="10581"/>
            <a:ext cx="12231566" cy="6847420"/>
          </a:xfrm>
          <a:prstGeom prst="rect">
            <a:avLst/>
          </a:prstGeom>
          <a:solidFill>
            <a:srgbClr val="000000">
              <a:alpha val="30174"/>
            </a:srgbClr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engXian"/>
              <a:ea typeface="DengXian"/>
              <a:sym typeface="DengXian"/>
            </a:endParaRPr>
          </a:p>
        </p:txBody>
      </p:sp>
    </p:spTree>
    <p:extLst>
      <p:ext uri="{BB962C8B-B14F-4D97-AF65-F5344CB8AC3E}">
        <p14:creationId xmlns:p14="http://schemas.microsoft.com/office/powerpoint/2010/main" val="32980442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altLang="zh-CN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【</a:t>
            </a:r>
            <a:r>
              <a:rPr lang="zh-CN" alt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材料汇总</a:t>
            </a:r>
            <a:r>
              <a:rPr lang="en-US" altLang="zh-CN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】201809CIO office sample sldies v5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1" y="140399"/>
            <a:ext cx="10934700" cy="72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lnSpc>
                <a:spcPct val="100000"/>
              </a:lnSpc>
              <a:defRPr b="1"/>
            </a:lvl1pPr>
          </a:lstStyle>
          <a:p>
            <a:r>
              <a:rPr lang="en-US" altLang="zh-CN" dirty="0"/>
              <a:t>Click to add title</a:t>
            </a:r>
            <a:endParaRPr lang="en-US" dirty="0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EABC3398-290F-4251-88E5-03B4F753E184}"/>
              </a:ext>
            </a:extLst>
          </p:cNvPr>
          <p:cNvSpPr/>
          <p:nvPr userDrawn="1"/>
        </p:nvSpPr>
        <p:spPr>
          <a:xfrm>
            <a:off x="203223" y="6461080"/>
            <a:ext cx="11051664" cy="2974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200" dirty="0">
                <a:solidFill>
                  <a:schemeClr val="accent5"/>
                </a:solidFill>
                <a:latin typeface="华文楷体"/>
                <a:ea typeface="+mj-ea"/>
                <a:cs typeface="+mj-cs"/>
                <a:sym typeface="Trebuchet MS" panose="020B0603020202020204" pitchFamily="34" charset="0"/>
              </a:rPr>
              <a:t>申明：本材料仅供集团内部学习交流使用，严禁出于商业目的使用，以避免不必要的纠纷。</a:t>
            </a:r>
            <a:r>
              <a:rPr lang="en-US" altLang="zh-CN" sz="1333" dirty="0">
                <a:solidFill>
                  <a:srgbClr val="FF0000"/>
                </a:solidFill>
                <a:latin typeface="华文楷体"/>
                <a:ea typeface="+mj-ea"/>
                <a:cs typeface="+mj-cs"/>
                <a:sym typeface="Trebuchet MS" panose="020B0603020202020204" pitchFamily="34" charset="0"/>
              </a:rPr>
              <a:t>		</a:t>
            </a:r>
            <a:endParaRPr lang="zh-CN" altLang="en-US" sz="1333" dirty="0">
              <a:solidFill>
                <a:schemeClr val="accent5"/>
              </a:solidFill>
              <a:latin typeface="华文楷体"/>
              <a:ea typeface="+mj-ea"/>
              <a:cs typeface="+mj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45418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-封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>
            <a:extLst>
              <a:ext uri="{FF2B5EF4-FFF2-40B4-BE49-F238E27FC236}">
                <a16:creationId xmlns:a16="http://schemas.microsoft.com/office/drawing/2014/main" id="{BFEEE009-3497-4B68-8D19-2701035D6C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42" b="42"/>
          <a:stretch/>
        </p:blipFill>
        <p:spPr>
          <a:xfrm>
            <a:off x="1016697" y="10123"/>
            <a:ext cx="11168799" cy="6844996"/>
          </a:xfrm>
          <a:prstGeom prst="rect">
            <a:avLst/>
          </a:prstGeom>
          <a:ln w="12700">
            <a:miter lim="400000"/>
            <a:headEnd/>
            <a:tailEnd/>
          </a:ln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525BB6AA-5A48-424C-B00D-51F2F4C5A7D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815" y="0"/>
            <a:ext cx="11146185" cy="6858000"/>
          </a:xfrm>
          <a:prstGeom prst="rect">
            <a:avLst/>
          </a:prstGeom>
        </p:spPr>
      </p:pic>
      <p:sp>
        <p:nvSpPr>
          <p:cNvPr id="8" name="矩形 7">
            <a:extLst>
              <a:ext uri="{FF2B5EF4-FFF2-40B4-BE49-F238E27FC236}">
                <a16:creationId xmlns:a16="http://schemas.microsoft.com/office/drawing/2014/main" id="{3D850A58-356A-433F-A879-38833956521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5000">
                <a:srgbClr val="FDF1ED">
                  <a:alpha val="97647"/>
                </a:srgbClr>
              </a:gs>
              <a:gs pos="27000">
                <a:srgbClr val="FEF8F6">
                  <a:alpha val="86000"/>
                </a:srgbClr>
              </a:gs>
              <a:gs pos="56000">
                <a:schemeClr val="bg1">
                  <a:alpha val="86000"/>
                </a:schemeClr>
              </a:gs>
              <a:gs pos="0">
                <a:srgbClr val="FDEAE3"/>
              </a:gs>
              <a:gs pos="100000">
                <a:schemeClr val="bg1">
                  <a:alpha val="64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0" name="任意多边形: 形状 29">
            <a:extLst>
              <a:ext uri="{FF2B5EF4-FFF2-40B4-BE49-F238E27FC236}">
                <a16:creationId xmlns:a16="http://schemas.microsoft.com/office/drawing/2014/main" id="{715A7028-7EC5-4AEF-A93F-6F39D0FC00D8}"/>
              </a:ext>
            </a:extLst>
          </p:cNvPr>
          <p:cNvSpPr/>
          <p:nvPr userDrawn="1"/>
        </p:nvSpPr>
        <p:spPr>
          <a:xfrm>
            <a:off x="6918699" y="3183037"/>
            <a:ext cx="3984653" cy="3682203"/>
          </a:xfrm>
          <a:custGeom>
            <a:avLst/>
            <a:gdLst>
              <a:gd name="connsiteX0" fmla="*/ 2696901 w 5266797"/>
              <a:gd name="connsiteY0" fmla="*/ 0 h 6875362"/>
              <a:gd name="connsiteX1" fmla="*/ 5266797 w 5266797"/>
              <a:gd name="connsiteY1" fmla="*/ 0 h 6875362"/>
              <a:gd name="connsiteX2" fmla="*/ 5266797 w 5266797"/>
              <a:gd name="connsiteY2" fmla="*/ 1408772 h 6875362"/>
              <a:gd name="connsiteX3" fmla="*/ 3126080 w 5266797"/>
              <a:gd name="connsiteY3" fmla="*/ 6866222 h 6875362"/>
              <a:gd name="connsiteX4" fmla="*/ 0 w 5266797"/>
              <a:gd name="connsiteY4" fmla="*/ 6875362 h 6875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66797" h="6875362">
                <a:moveTo>
                  <a:pt x="2696901" y="0"/>
                </a:moveTo>
                <a:lnTo>
                  <a:pt x="5266797" y="0"/>
                </a:lnTo>
                <a:lnTo>
                  <a:pt x="5266797" y="1408772"/>
                </a:lnTo>
                <a:lnTo>
                  <a:pt x="3126080" y="6866222"/>
                </a:lnTo>
                <a:lnTo>
                  <a:pt x="0" y="6875362"/>
                </a:lnTo>
                <a:close/>
              </a:path>
            </a:pathLst>
          </a:custGeom>
          <a:gradFill flip="none" rotWithShape="1">
            <a:gsLst>
              <a:gs pos="32000">
                <a:srgbClr val="FE832C"/>
              </a:gs>
              <a:gs pos="88000">
                <a:srgbClr val="FFCEAB"/>
              </a:gs>
              <a:gs pos="0">
                <a:srgbClr val="EA5504"/>
              </a:gs>
              <a:gs pos="100000">
                <a:srgbClr val="FBE9D5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D2BCA82F-ABAF-417F-9B6A-ACA0DAE7CF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6229392" y="1300480"/>
            <a:ext cx="5962607" cy="5557520"/>
          </a:xfrm>
          <a:prstGeom prst="rect">
            <a:avLst/>
          </a:prstGeom>
        </p:spPr>
      </p:pic>
      <p:sp>
        <p:nvSpPr>
          <p:cNvPr id="13" name="任意多边形: 形状 12">
            <a:extLst>
              <a:ext uri="{FF2B5EF4-FFF2-40B4-BE49-F238E27FC236}">
                <a16:creationId xmlns:a16="http://schemas.microsoft.com/office/drawing/2014/main" id="{118B6A77-C3AD-408F-BB2B-9EA91C5D3A38}"/>
              </a:ext>
            </a:extLst>
          </p:cNvPr>
          <p:cNvSpPr/>
          <p:nvPr userDrawn="1"/>
        </p:nvSpPr>
        <p:spPr>
          <a:xfrm>
            <a:off x="0" y="0"/>
            <a:ext cx="690654" cy="745871"/>
          </a:xfrm>
          <a:custGeom>
            <a:avLst/>
            <a:gdLst>
              <a:gd name="connsiteX0" fmla="*/ 590479 w 631437"/>
              <a:gd name="connsiteY0" fmla="*/ 600003 h 681919"/>
              <a:gd name="connsiteX1" fmla="*/ 631437 w 631437"/>
              <a:gd name="connsiteY1" fmla="*/ 640961 h 681919"/>
              <a:gd name="connsiteX2" fmla="*/ 590479 w 631437"/>
              <a:gd name="connsiteY2" fmla="*/ 681919 h 681919"/>
              <a:gd name="connsiteX3" fmla="*/ 549521 w 631437"/>
              <a:gd name="connsiteY3" fmla="*/ 640961 h 681919"/>
              <a:gd name="connsiteX4" fmla="*/ 590479 w 631437"/>
              <a:gd name="connsiteY4" fmla="*/ 600003 h 681919"/>
              <a:gd name="connsiteX5" fmla="*/ 448555 w 631437"/>
              <a:gd name="connsiteY5" fmla="*/ 600003 h 681919"/>
              <a:gd name="connsiteX6" fmla="*/ 489513 w 631437"/>
              <a:gd name="connsiteY6" fmla="*/ 640961 h 681919"/>
              <a:gd name="connsiteX7" fmla="*/ 448555 w 631437"/>
              <a:gd name="connsiteY7" fmla="*/ 681919 h 681919"/>
              <a:gd name="connsiteX8" fmla="*/ 407597 w 631437"/>
              <a:gd name="connsiteY8" fmla="*/ 640961 h 681919"/>
              <a:gd name="connsiteX9" fmla="*/ 448555 w 631437"/>
              <a:gd name="connsiteY9" fmla="*/ 600003 h 681919"/>
              <a:gd name="connsiteX10" fmla="*/ 306633 w 631437"/>
              <a:gd name="connsiteY10" fmla="*/ 600003 h 681919"/>
              <a:gd name="connsiteX11" fmla="*/ 347591 w 631437"/>
              <a:gd name="connsiteY11" fmla="*/ 640961 h 681919"/>
              <a:gd name="connsiteX12" fmla="*/ 306633 w 631437"/>
              <a:gd name="connsiteY12" fmla="*/ 681919 h 681919"/>
              <a:gd name="connsiteX13" fmla="*/ 265675 w 631437"/>
              <a:gd name="connsiteY13" fmla="*/ 640961 h 681919"/>
              <a:gd name="connsiteX14" fmla="*/ 306633 w 631437"/>
              <a:gd name="connsiteY14" fmla="*/ 600003 h 681919"/>
              <a:gd name="connsiteX15" fmla="*/ 164711 w 631437"/>
              <a:gd name="connsiteY15" fmla="*/ 600003 h 681919"/>
              <a:gd name="connsiteX16" fmla="*/ 205669 w 631437"/>
              <a:gd name="connsiteY16" fmla="*/ 640961 h 681919"/>
              <a:gd name="connsiteX17" fmla="*/ 164711 w 631437"/>
              <a:gd name="connsiteY17" fmla="*/ 681919 h 681919"/>
              <a:gd name="connsiteX18" fmla="*/ 123753 w 631437"/>
              <a:gd name="connsiteY18" fmla="*/ 640961 h 681919"/>
              <a:gd name="connsiteX19" fmla="*/ 164711 w 631437"/>
              <a:gd name="connsiteY19" fmla="*/ 600003 h 681919"/>
              <a:gd name="connsiteX20" fmla="*/ 22789 w 631437"/>
              <a:gd name="connsiteY20" fmla="*/ 600003 h 681919"/>
              <a:gd name="connsiteX21" fmla="*/ 63747 w 631437"/>
              <a:gd name="connsiteY21" fmla="*/ 640961 h 681919"/>
              <a:gd name="connsiteX22" fmla="*/ 22789 w 631437"/>
              <a:gd name="connsiteY22" fmla="*/ 681919 h 681919"/>
              <a:gd name="connsiteX23" fmla="*/ 0 w 631437"/>
              <a:gd name="connsiteY23" fmla="*/ 672479 h 681919"/>
              <a:gd name="connsiteX24" fmla="*/ 0 w 631437"/>
              <a:gd name="connsiteY24" fmla="*/ 609443 h 681919"/>
              <a:gd name="connsiteX25" fmla="*/ 590479 w 631437"/>
              <a:gd name="connsiteY25" fmla="*/ 441888 h 681919"/>
              <a:gd name="connsiteX26" fmla="*/ 631437 w 631437"/>
              <a:gd name="connsiteY26" fmla="*/ 482846 h 681919"/>
              <a:gd name="connsiteX27" fmla="*/ 590479 w 631437"/>
              <a:gd name="connsiteY27" fmla="*/ 523804 h 681919"/>
              <a:gd name="connsiteX28" fmla="*/ 549521 w 631437"/>
              <a:gd name="connsiteY28" fmla="*/ 482846 h 681919"/>
              <a:gd name="connsiteX29" fmla="*/ 590479 w 631437"/>
              <a:gd name="connsiteY29" fmla="*/ 441888 h 681919"/>
              <a:gd name="connsiteX30" fmla="*/ 448555 w 631437"/>
              <a:gd name="connsiteY30" fmla="*/ 441888 h 681919"/>
              <a:gd name="connsiteX31" fmla="*/ 489513 w 631437"/>
              <a:gd name="connsiteY31" fmla="*/ 482846 h 681919"/>
              <a:gd name="connsiteX32" fmla="*/ 448555 w 631437"/>
              <a:gd name="connsiteY32" fmla="*/ 523804 h 681919"/>
              <a:gd name="connsiteX33" fmla="*/ 407597 w 631437"/>
              <a:gd name="connsiteY33" fmla="*/ 482846 h 681919"/>
              <a:gd name="connsiteX34" fmla="*/ 448555 w 631437"/>
              <a:gd name="connsiteY34" fmla="*/ 441888 h 681919"/>
              <a:gd name="connsiteX35" fmla="*/ 306633 w 631437"/>
              <a:gd name="connsiteY35" fmla="*/ 441888 h 681919"/>
              <a:gd name="connsiteX36" fmla="*/ 347591 w 631437"/>
              <a:gd name="connsiteY36" fmla="*/ 482846 h 681919"/>
              <a:gd name="connsiteX37" fmla="*/ 306633 w 631437"/>
              <a:gd name="connsiteY37" fmla="*/ 523804 h 681919"/>
              <a:gd name="connsiteX38" fmla="*/ 265675 w 631437"/>
              <a:gd name="connsiteY38" fmla="*/ 482846 h 681919"/>
              <a:gd name="connsiteX39" fmla="*/ 306633 w 631437"/>
              <a:gd name="connsiteY39" fmla="*/ 441888 h 681919"/>
              <a:gd name="connsiteX40" fmla="*/ 164711 w 631437"/>
              <a:gd name="connsiteY40" fmla="*/ 441888 h 681919"/>
              <a:gd name="connsiteX41" fmla="*/ 205669 w 631437"/>
              <a:gd name="connsiteY41" fmla="*/ 482846 h 681919"/>
              <a:gd name="connsiteX42" fmla="*/ 164711 w 631437"/>
              <a:gd name="connsiteY42" fmla="*/ 523804 h 681919"/>
              <a:gd name="connsiteX43" fmla="*/ 123753 w 631437"/>
              <a:gd name="connsiteY43" fmla="*/ 482846 h 681919"/>
              <a:gd name="connsiteX44" fmla="*/ 164711 w 631437"/>
              <a:gd name="connsiteY44" fmla="*/ 441888 h 681919"/>
              <a:gd name="connsiteX45" fmla="*/ 22789 w 631437"/>
              <a:gd name="connsiteY45" fmla="*/ 441888 h 681919"/>
              <a:gd name="connsiteX46" fmla="*/ 63747 w 631437"/>
              <a:gd name="connsiteY46" fmla="*/ 482846 h 681919"/>
              <a:gd name="connsiteX47" fmla="*/ 22789 w 631437"/>
              <a:gd name="connsiteY47" fmla="*/ 523804 h 681919"/>
              <a:gd name="connsiteX48" fmla="*/ 0 w 631437"/>
              <a:gd name="connsiteY48" fmla="*/ 514364 h 681919"/>
              <a:gd name="connsiteX49" fmla="*/ 0 w 631437"/>
              <a:gd name="connsiteY49" fmla="*/ 451328 h 681919"/>
              <a:gd name="connsiteX50" fmla="*/ 590479 w 631437"/>
              <a:gd name="connsiteY50" fmla="*/ 283773 h 681919"/>
              <a:gd name="connsiteX51" fmla="*/ 631437 w 631437"/>
              <a:gd name="connsiteY51" fmla="*/ 324731 h 681919"/>
              <a:gd name="connsiteX52" fmla="*/ 590479 w 631437"/>
              <a:gd name="connsiteY52" fmla="*/ 365689 h 681919"/>
              <a:gd name="connsiteX53" fmla="*/ 549521 w 631437"/>
              <a:gd name="connsiteY53" fmla="*/ 324731 h 681919"/>
              <a:gd name="connsiteX54" fmla="*/ 590479 w 631437"/>
              <a:gd name="connsiteY54" fmla="*/ 283773 h 681919"/>
              <a:gd name="connsiteX55" fmla="*/ 448555 w 631437"/>
              <a:gd name="connsiteY55" fmla="*/ 283773 h 681919"/>
              <a:gd name="connsiteX56" fmla="*/ 489513 w 631437"/>
              <a:gd name="connsiteY56" fmla="*/ 324731 h 681919"/>
              <a:gd name="connsiteX57" fmla="*/ 448555 w 631437"/>
              <a:gd name="connsiteY57" fmla="*/ 365689 h 681919"/>
              <a:gd name="connsiteX58" fmla="*/ 407597 w 631437"/>
              <a:gd name="connsiteY58" fmla="*/ 324731 h 681919"/>
              <a:gd name="connsiteX59" fmla="*/ 448555 w 631437"/>
              <a:gd name="connsiteY59" fmla="*/ 283773 h 681919"/>
              <a:gd name="connsiteX60" fmla="*/ 306633 w 631437"/>
              <a:gd name="connsiteY60" fmla="*/ 283773 h 681919"/>
              <a:gd name="connsiteX61" fmla="*/ 347591 w 631437"/>
              <a:gd name="connsiteY61" fmla="*/ 324731 h 681919"/>
              <a:gd name="connsiteX62" fmla="*/ 306633 w 631437"/>
              <a:gd name="connsiteY62" fmla="*/ 365689 h 681919"/>
              <a:gd name="connsiteX63" fmla="*/ 265675 w 631437"/>
              <a:gd name="connsiteY63" fmla="*/ 324731 h 681919"/>
              <a:gd name="connsiteX64" fmla="*/ 306633 w 631437"/>
              <a:gd name="connsiteY64" fmla="*/ 283773 h 681919"/>
              <a:gd name="connsiteX65" fmla="*/ 164711 w 631437"/>
              <a:gd name="connsiteY65" fmla="*/ 283773 h 681919"/>
              <a:gd name="connsiteX66" fmla="*/ 205669 w 631437"/>
              <a:gd name="connsiteY66" fmla="*/ 324731 h 681919"/>
              <a:gd name="connsiteX67" fmla="*/ 164711 w 631437"/>
              <a:gd name="connsiteY67" fmla="*/ 365689 h 681919"/>
              <a:gd name="connsiteX68" fmla="*/ 123753 w 631437"/>
              <a:gd name="connsiteY68" fmla="*/ 324731 h 681919"/>
              <a:gd name="connsiteX69" fmla="*/ 164711 w 631437"/>
              <a:gd name="connsiteY69" fmla="*/ 283773 h 681919"/>
              <a:gd name="connsiteX70" fmla="*/ 22789 w 631437"/>
              <a:gd name="connsiteY70" fmla="*/ 283773 h 681919"/>
              <a:gd name="connsiteX71" fmla="*/ 63747 w 631437"/>
              <a:gd name="connsiteY71" fmla="*/ 324731 h 681919"/>
              <a:gd name="connsiteX72" fmla="*/ 22789 w 631437"/>
              <a:gd name="connsiteY72" fmla="*/ 365689 h 681919"/>
              <a:gd name="connsiteX73" fmla="*/ 0 w 631437"/>
              <a:gd name="connsiteY73" fmla="*/ 356249 h 681919"/>
              <a:gd name="connsiteX74" fmla="*/ 0 w 631437"/>
              <a:gd name="connsiteY74" fmla="*/ 293213 h 681919"/>
              <a:gd name="connsiteX75" fmla="*/ 448555 w 631437"/>
              <a:gd name="connsiteY75" fmla="*/ 125658 h 681919"/>
              <a:gd name="connsiteX76" fmla="*/ 489513 w 631437"/>
              <a:gd name="connsiteY76" fmla="*/ 166616 h 681919"/>
              <a:gd name="connsiteX77" fmla="*/ 448555 w 631437"/>
              <a:gd name="connsiteY77" fmla="*/ 207574 h 681919"/>
              <a:gd name="connsiteX78" fmla="*/ 407597 w 631437"/>
              <a:gd name="connsiteY78" fmla="*/ 166616 h 681919"/>
              <a:gd name="connsiteX79" fmla="*/ 448555 w 631437"/>
              <a:gd name="connsiteY79" fmla="*/ 125658 h 681919"/>
              <a:gd name="connsiteX80" fmla="*/ 306633 w 631437"/>
              <a:gd name="connsiteY80" fmla="*/ 125658 h 681919"/>
              <a:gd name="connsiteX81" fmla="*/ 347591 w 631437"/>
              <a:gd name="connsiteY81" fmla="*/ 166616 h 681919"/>
              <a:gd name="connsiteX82" fmla="*/ 306633 w 631437"/>
              <a:gd name="connsiteY82" fmla="*/ 207574 h 681919"/>
              <a:gd name="connsiteX83" fmla="*/ 265675 w 631437"/>
              <a:gd name="connsiteY83" fmla="*/ 166616 h 681919"/>
              <a:gd name="connsiteX84" fmla="*/ 306633 w 631437"/>
              <a:gd name="connsiteY84" fmla="*/ 125658 h 681919"/>
              <a:gd name="connsiteX85" fmla="*/ 164711 w 631437"/>
              <a:gd name="connsiteY85" fmla="*/ 125658 h 681919"/>
              <a:gd name="connsiteX86" fmla="*/ 205669 w 631437"/>
              <a:gd name="connsiteY86" fmla="*/ 166616 h 681919"/>
              <a:gd name="connsiteX87" fmla="*/ 164711 w 631437"/>
              <a:gd name="connsiteY87" fmla="*/ 207574 h 681919"/>
              <a:gd name="connsiteX88" fmla="*/ 123753 w 631437"/>
              <a:gd name="connsiteY88" fmla="*/ 166616 h 681919"/>
              <a:gd name="connsiteX89" fmla="*/ 164711 w 631437"/>
              <a:gd name="connsiteY89" fmla="*/ 125658 h 681919"/>
              <a:gd name="connsiteX90" fmla="*/ 22789 w 631437"/>
              <a:gd name="connsiteY90" fmla="*/ 125658 h 681919"/>
              <a:gd name="connsiteX91" fmla="*/ 63747 w 631437"/>
              <a:gd name="connsiteY91" fmla="*/ 166616 h 681919"/>
              <a:gd name="connsiteX92" fmla="*/ 22789 w 631437"/>
              <a:gd name="connsiteY92" fmla="*/ 207574 h 681919"/>
              <a:gd name="connsiteX93" fmla="*/ 0 w 631437"/>
              <a:gd name="connsiteY93" fmla="*/ 198134 h 681919"/>
              <a:gd name="connsiteX94" fmla="*/ 0 w 631437"/>
              <a:gd name="connsiteY94" fmla="*/ 135098 h 681919"/>
              <a:gd name="connsiteX95" fmla="*/ 590479 w 631437"/>
              <a:gd name="connsiteY95" fmla="*/ 125658 h 681919"/>
              <a:gd name="connsiteX96" fmla="*/ 631437 w 631437"/>
              <a:gd name="connsiteY96" fmla="*/ 166616 h 681919"/>
              <a:gd name="connsiteX97" fmla="*/ 590479 w 631437"/>
              <a:gd name="connsiteY97" fmla="*/ 207574 h 681919"/>
              <a:gd name="connsiteX98" fmla="*/ 549521 w 631437"/>
              <a:gd name="connsiteY98" fmla="*/ 166616 h 681919"/>
              <a:gd name="connsiteX99" fmla="*/ 590479 w 631437"/>
              <a:gd name="connsiteY99" fmla="*/ 125658 h 681919"/>
              <a:gd name="connsiteX100" fmla="*/ 553042 w 631437"/>
              <a:gd name="connsiteY100" fmla="*/ 0 h 681919"/>
              <a:gd name="connsiteX101" fmla="*/ 627916 w 631437"/>
              <a:gd name="connsiteY101" fmla="*/ 0 h 681919"/>
              <a:gd name="connsiteX102" fmla="*/ 631437 w 631437"/>
              <a:gd name="connsiteY102" fmla="*/ 8501 h 681919"/>
              <a:gd name="connsiteX103" fmla="*/ 590479 w 631437"/>
              <a:gd name="connsiteY103" fmla="*/ 49459 h 681919"/>
              <a:gd name="connsiteX104" fmla="*/ 549521 w 631437"/>
              <a:gd name="connsiteY104" fmla="*/ 8501 h 681919"/>
              <a:gd name="connsiteX105" fmla="*/ 411118 w 631437"/>
              <a:gd name="connsiteY105" fmla="*/ 0 h 681919"/>
              <a:gd name="connsiteX106" fmla="*/ 485992 w 631437"/>
              <a:gd name="connsiteY106" fmla="*/ 0 h 681919"/>
              <a:gd name="connsiteX107" fmla="*/ 489513 w 631437"/>
              <a:gd name="connsiteY107" fmla="*/ 8501 h 681919"/>
              <a:gd name="connsiteX108" fmla="*/ 448555 w 631437"/>
              <a:gd name="connsiteY108" fmla="*/ 49459 h 681919"/>
              <a:gd name="connsiteX109" fmla="*/ 407597 w 631437"/>
              <a:gd name="connsiteY109" fmla="*/ 8501 h 681919"/>
              <a:gd name="connsiteX110" fmla="*/ 269196 w 631437"/>
              <a:gd name="connsiteY110" fmla="*/ 0 h 681919"/>
              <a:gd name="connsiteX111" fmla="*/ 344070 w 631437"/>
              <a:gd name="connsiteY111" fmla="*/ 0 h 681919"/>
              <a:gd name="connsiteX112" fmla="*/ 347591 w 631437"/>
              <a:gd name="connsiteY112" fmla="*/ 8501 h 681919"/>
              <a:gd name="connsiteX113" fmla="*/ 306633 w 631437"/>
              <a:gd name="connsiteY113" fmla="*/ 49459 h 681919"/>
              <a:gd name="connsiteX114" fmla="*/ 265675 w 631437"/>
              <a:gd name="connsiteY114" fmla="*/ 8501 h 681919"/>
              <a:gd name="connsiteX115" fmla="*/ 127274 w 631437"/>
              <a:gd name="connsiteY115" fmla="*/ 0 h 681919"/>
              <a:gd name="connsiteX116" fmla="*/ 202148 w 631437"/>
              <a:gd name="connsiteY116" fmla="*/ 0 h 681919"/>
              <a:gd name="connsiteX117" fmla="*/ 205669 w 631437"/>
              <a:gd name="connsiteY117" fmla="*/ 8501 h 681919"/>
              <a:gd name="connsiteX118" fmla="*/ 164711 w 631437"/>
              <a:gd name="connsiteY118" fmla="*/ 49459 h 681919"/>
              <a:gd name="connsiteX119" fmla="*/ 123753 w 631437"/>
              <a:gd name="connsiteY119" fmla="*/ 8501 h 681919"/>
              <a:gd name="connsiteX120" fmla="*/ 0 w 631437"/>
              <a:gd name="connsiteY120" fmla="*/ 0 h 681919"/>
              <a:gd name="connsiteX121" fmla="*/ 60226 w 631437"/>
              <a:gd name="connsiteY121" fmla="*/ 0 h 681919"/>
              <a:gd name="connsiteX122" fmla="*/ 63747 w 631437"/>
              <a:gd name="connsiteY122" fmla="*/ 8501 h 681919"/>
              <a:gd name="connsiteX123" fmla="*/ 22789 w 631437"/>
              <a:gd name="connsiteY123" fmla="*/ 49459 h 681919"/>
              <a:gd name="connsiteX124" fmla="*/ 0 w 631437"/>
              <a:gd name="connsiteY124" fmla="*/ 40019 h 6819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631437" h="681919">
                <a:moveTo>
                  <a:pt x="590479" y="600003"/>
                </a:moveTo>
                <a:cubicBezTo>
                  <a:pt x="613099" y="600003"/>
                  <a:pt x="631437" y="618341"/>
                  <a:pt x="631437" y="640961"/>
                </a:cubicBezTo>
                <a:cubicBezTo>
                  <a:pt x="631437" y="663581"/>
                  <a:pt x="613099" y="681919"/>
                  <a:pt x="590479" y="681919"/>
                </a:cubicBezTo>
                <a:cubicBezTo>
                  <a:pt x="567859" y="681919"/>
                  <a:pt x="549521" y="663581"/>
                  <a:pt x="549521" y="640961"/>
                </a:cubicBezTo>
                <a:cubicBezTo>
                  <a:pt x="549521" y="618341"/>
                  <a:pt x="567859" y="600003"/>
                  <a:pt x="590479" y="600003"/>
                </a:cubicBezTo>
                <a:close/>
                <a:moveTo>
                  <a:pt x="448555" y="600003"/>
                </a:moveTo>
                <a:cubicBezTo>
                  <a:pt x="471175" y="600003"/>
                  <a:pt x="489513" y="618341"/>
                  <a:pt x="489513" y="640961"/>
                </a:cubicBezTo>
                <a:cubicBezTo>
                  <a:pt x="489513" y="663581"/>
                  <a:pt x="471175" y="681919"/>
                  <a:pt x="448555" y="681919"/>
                </a:cubicBezTo>
                <a:cubicBezTo>
                  <a:pt x="425935" y="681919"/>
                  <a:pt x="407597" y="663581"/>
                  <a:pt x="407597" y="640961"/>
                </a:cubicBezTo>
                <a:cubicBezTo>
                  <a:pt x="407597" y="618341"/>
                  <a:pt x="425935" y="600003"/>
                  <a:pt x="448555" y="600003"/>
                </a:cubicBezTo>
                <a:close/>
                <a:moveTo>
                  <a:pt x="306633" y="600003"/>
                </a:moveTo>
                <a:cubicBezTo>
                  <a:pt x="329253" y="600003"/>
                  <a:pt x="347591" y="618341"/>
                  <a:pt x="347591" y="640961"/>
                </a:cubicBezTo>
                <a:cubicBezTo>
                  <a:pt x="347591" y="663581"/>
                  <a:pt x="329253" y="681919"/>
                  <a:pt x="306633" y="681919"/>
                </a:cubicBezTo>
                <a:cubicBezTo>
                  <a:pt x="284013" y="681919"/>
                  <a:pt x="265675" y="663581"/>
                  <a:pt x="265675" y="640961"/>
                </a:cubicBezTo>
                <a:cubicBezTo>
                  <a:pt x="265675" y="618341"/>
                  <a:pt x="284013" y="600003"/>
                  <a:pt x="306633" y="600003"/>
                </a:cubicBezTo>
                <a:close/>
                <a:moveTo>
                  <a:pt x="164711" y="600003"/>
                </a:moveTo>
                <a:cubicBezTo>
                  <a:pt x="187331" y="600003"/>
                  <a:pt x="205669" y="618341"/>
                  <a:pt x="205669" y="640961"/>
                </a:cubicBezTo>
                <a:cubicBezTo>
                  <a:pt x="205669" y="663581"/>
                  <a:pt x="187331" y="681919"/>
                  <a:pt x="164711" y="681919"/>
                </a:cubicBezTo>
                <a:cubicBezTo>
                  <a:pt x="142091" y="681919"/>
                  <a:pt x="123753" y="663581"/>
                  <a:pt x="123753" y="640961"/>
                </a:cubicBezTo>
                <a:cubicBezTo>
                  <a:pt x="123753" y="618341"/>
                  <a:pt x="142091" y="600003"/>
                  <a:pt x="164711" y="600003"/>
                </a:cubicBezTo>
                <a:close/>
                <a:moveTo>
                  <a:pt x="22789" y="600003"/>
                </a:moveTo>
                <a:cubicBezTo>
                  <a:pt x="45409" y="600003"/>
                  <a:pt x="63747" y="618341"/>
                  <a:pt x="63747" y="640961"/>
                </a:cubicBezTo>
                <a:cubicBezTo>
                  <a:pt x="63747" y="663581"/>
                  <a:pt x="45409" y="681919"/>
                  <a:pt x="22789" y="681919"/>
                </a:cubicBezTo>
                <a:lnTo>
                  <a:pt x="0" y="672479"/>
                </a:lnTo>
                <a:lnTo>
                  <a:pt x="0" y="609443"/>
                </a:lnTo>
                <a:close/>
                <a:moveTo>
                  <a:pt x="590479" y="441888"/>
                </a:moveTo>
                <a:cubicBezTo>
                  <a:pt x="613099" y="441888"/>
                  <a:pt x="631437" y="460226"/>
                  <a:pt x="631437" y="482846"/>
                </a:cubicBezTo>
                <a:cubicBezTo>
                  <a:pt x="631437" y="505466"/>
                  <a:pt x="613099" y="523804"/>
                  <a:pt x="590479" y="523804"/>
                </a:cubicBezTo>
                <a:cubicBezTo>
                  <a:pt x="567859" y="523804"/>
                  <a:pt x="549521" y="505466"/>
                  <a:pt x="549521" y="482846"/>
                </a:cubicBezTo>
                <a:cubicBezTo>
                  <a:pt x="549521" y="460226"/>
                  <a:pt x="567859" y="441888"/>
                  <a:pt x="590479" y="441888"/>
                </a:cubicBezTo>
                <a:close/>
                <a:moveTo>
                  <a:pt x="448555" y="441888"/>
                </a:moveTo>
                <a:cubicBezTo>
                  <a:pt x="471175" y="441888"/>
                  <a:pt x="489513" y="460226"/>
                  <a:pt x="489513" y="482846"/>
                </a:cubicBezTo>
                <a:cubicBezTo>
                  <a:pt x="489513" y="505466"/>
                  <a:pt x="471175" y="523804"/>
                  <a:pt x="448555" y="523804"/>
                </a:cubicBezTo>
                <a:cubicBezTo>
                  <a:pt x="425935" y="523804"/>
                  <a:pt x="407597" y="505466"/>
                  <a:pt x="407597" y="482846"/>
                </a:cubicBezTo>
                <a:cubicBezTo>
                  <a:pt x="407597" y="460226"/>
                  <a:pt x="425935" y="441888"/>
                  <a:pt x="448555" y="441888"/>
                </a:cubicBezTo>
                <a:close/>
                <a:moveTo>
                  <a:pt x="306633" y="441888"/>
                </a:moveTo>
                <a:cubicBezTo>
                  <a:pt x="329253" y="441888"/>
                  <a:pt x="347591" y="460226"/>
                  <a:pt x="347591" y="482846"/>
                </a:cubicBezTo>
                <a:cubicBezTo>
                  <a:pt x="347591" y="505466"/>
                  <a:pt x="329253" y="523804"/>
                  <a:pt x="306633" y="523804"/>
                </a:cubicBezTo>
                <a:cubicBezTo>
                  <a:pt x="284013" y="523804"/>
                  <a:pt x="265675" y="505466"/>
                  <a:pt x="265675" y="482846"/>
                </a:cubicBezTo>
                <a:cubicBezTo>
                  <a:pt x="265675" y="460226"/>
                  <a:pt x="284013" y="441888"/>
                  <a:pt x="306633" y="441888"/>
                </a:cubicBezTo>
                <a:close/>
                <a:moveTo>
                  <a:pt x="164711" y="441888"/>
                </a:moveTo>
                <a:cubicBezTo>
                  <a:pt x="187331" y="441888"/>
                  <a:pt x="205669" y="460226"/>
                  <a:pt x="205669" y="482846"/>
                </a:cubicBezTo>
                <a:cubicBezTo>
                  <a:pt x="205669" y="505466"/>
                  <a:pt x="187331" y="523804"/>
                  <a:pt x="164711" y="523804"/>
                </a:cubicBezTo>
                <a:cubicBezTo>
                  <a:pt x="142091" y="523804"/>
                  <a:pt x="123753" y="505466"/>
                  <a:pt x="123753" y="482846"/>
                </a:cubicBezTo>
                <a:cubicBezTo>
                  <a:pt x="123753" y="460226"/>
                  <a:pt x="142091" y="441888"/>
                  <a:pt x="164711" y="441888"/>
                </a:cubicBezTo>
                <a:close/>
                <a:moveTo>
                  <a:pt x="22789" y="441888"/>
                </a:moveTo>
                <a:cubicBezTo>
                  <a:pt x="45409" y="441888"/>
                  <a:pt x="63747" y="460226"/>
                  <a:pt x="63747" y="482846"/>
                </a:cubicBezTo>
                <a:cubicBezTo>
                  <a:pt x="63747" y="505466"/>
                  <a:pt x="45409" y="523804"/>
                  <a:pt x="22789" y="523804"/>
                </a:cubicBezTo>
                <a:lnTo>
                  <a:pt x="0" y="514364"/>
                </a:lnTo>
                <a:lnTo>
                  <a:pt x="0" y="451328"/>
                </a:lnTo>
                <a:close/>
                <a:moveTo>
                  <a:pt x="590479" y="283773"/>
                </a:moveTo>
                <a:cubicBezTo>
                  <a:pt x="613099" y="283773"/>
                  <a:pt x="631437" y="302111"/>
                  <a:pt x="631437" y="324731"/>
                </a:cubicBezTo>
                <a:cubicBezTo>
                  <a:pt x="631437" y="347351"/>
                  <a:pt x="613099" y="365689"/>
                  <a:pt x="590479" y="365689"/>
                </a:cubicBezTo>
                <a:cubicBezTo>
                  <a:pt x="567859" y="365689"/>
                  <a:pt x="549521" y="347351"/>
                  <a:pt x="549521" y="324731"/>
                </a:cubicBezTo>
                <a:cubicBezTo>
                  <a:pt x="549521" y="302111"/>
                  <a:pt x="567859" y="283773"/>
                  <a:pt x="590479" y="283773"/>
                </a:cubicBezTo>
                <a:close/>
                <a:moveTo>
                  <a:pt x="448555" y="283773"/>
                </a:moveTo>
                <a:cubicBezTo>
                  <a:pt x="471175" y="283773"/>
                  <a:pt x="489513" y="302111"/>
                  <a:pt x="489513" y="324731"/>
                </a:cubicBezTo>
                <a:cubicBezTo>
                  <a:pt x="489513" y="347351"/>
                  <a:pt x="471175" y="365689"/>
                  <a:pt x="448555" y="365689"/>
                </a:cubicBezTo>
                <a:cubicBezTo>
                  <a:pt x="425935" y="365689"/>
                  <a:pt x="407597" y="347351"/>
                  <a:pt x="407597" y="324731"/>
                </a:cubicBezTo>
                <a:cubicBezTo>
                  <a:pt x="407597" y="302111"/>
                  <a:pt x="425935" y="283773"/>
                  <a:pt x="448555" y="283773"/>
                </a:cubicBezTo>
                <a:close/>
                <a:moveTo>
                  <a:pt x="306633" y="283773"/>
                </a:moveTo>
                <a:cubicBezTo>
                  <a:pt x="329253" y="283773"/>
                  <a:pt x="347591" y="302111"/>
                  <a:pt x="347591" y="324731"/>
                </a:cubicBezTo>
                <a:cubicBezTo>
                  <a:pt x="347591" y="347351"/>
                  <a:pt x="329253" y="365689"/>
                  <a:pt x="306633" y="365689"/>
                </a:cubicBezTo>
                <a:cubicBezTo>
                  <a:pt x="284013" y="365689"/>
                  <a:pt x="265675" y="347351"/>
                  <a:pt x="265675" y="324731"/>
                </a:cubicBezTo>
                <a:cubicBezTo>
                  <a:pt x="265675" y="302111"/>
                  <a:pt x="284013" y="283773"/>
                  <a:pt x="306633" y="283773"/>
                </a:cubicBezTo>
                <a:close/>
                <a:moveTo>
                  <a:pt x="164711" y="283773"/>
                </a:moveTo>
                <a:cubicBezTo>
                  <a:pt x="187331" y="283773"/>
                  <a:pt x="205669" y="302111"/>
                  <a:pt x="205669" y="324731"/>
                </a:cubicBezTo>
                <a:cubicBezTo>
                  <a:pt x="205669" y="347351"/>
                  <a:pt x="187331" y="365689"/>
                  <a:pt x="164711" y="365689"/>
                </a:cubicBezTo>
                <a:cubicBezTo>
                  <a:pt x="142091" y="365689"/>
                  <a:pt x="123753" y="347351"/>
                  <a:pt x="123753" y="324731"/>
                </a:cubicBezTo>
                <a:cubicBezTo>
                  <a:pt x="123753" y="302111"/>
                  <a:pt x="142091" y="283773"/>
                  <a:pt x="164711" y="283773"/>
                </a:cubicBezTo>
                <a:close/>
                <a:moveTo>
                  <a:pt x="22789" y="283773"/>
                </a:moveTo>
                <a:cubicBezTo>
                  <a:pt x="45409" y="283773"/>
                  <a:pt x="63747" y="302111"/>
                  <a:pt x="63747" y="324731"/>
                </a:cubicBezTo>
                <a:cubicBezTo>
                  <a:pt x="63747" y="347351"/>
                  <a:pt x="45409" y="365689"/>
                  <a:pt x="22789" y="365689"/>
                </a:cubicBezTo>
                <a:lnTo>
                  <a:pt x="0" y="356249"/>
                </a:lnTo>
                <a:lnTo>
                  <a:pt x="0" y="293213"/>
                </a:lnTo>
                <a:close/>
                <a:moveTo>
                  <a:pt x="448555" y="125658"/>
                </a:moveTo>
                <a:cubicBezTo>
                  <a:pt x="471175" y="125658"/>
                  <a:pt x="489513" y="143996"/>
                  <a:pt x="489513" y="166616"/>
                </a:cubicBezTo>
                <a:cubicBezTo>
                  <a:pt x="489513" y="189236"/>
                  <a:pt x="471175" y="207574"/>
                  <a:pt x="448555" y="207574"/>
                </a:cubicBezTo>
                <a:cubicBezTo>
                  <a:pt x="425935" y="207574"/>
                  <a:pt x="407597" y="189236"/>
                  <a:pt x="407597" y="166616"/>
                </a:cubicBezTo>
                <a:cubicBezTo>
                  <a:pt x="407597" y="143996"/>
                  <a:pt x="425935" y="125658"/>
                  <a:pt x="448555" y="125658"/>
                </a:cubicBezTo>
                <a:close/>
                <a:moveTo>
                  <a:pt x="306633" y="125658"/>
                </a:moveTo>
                <a:cubicBezTo>
                  <a:pt x="329253" y="125658"/>
                  <a:pt x="347591" y="143996"/>
                  <a:pt x="347591" y="166616"/>
                </a:cubicBezTo>
                <a:cubicBezTo>
                  <a:pt x="347591" y="189236"/>
                  <a:pt x="329253" y="207574"/>
                  <a:pt x="306633" y="207574"/>
                </a:cubicBezTo>
                <a:cubicBezTo>
                  <a:pt x="284013" y="207574"/>
                  <a:pt x="265675" y="189236"/>
                  <a:pt x="265675" y="166616"/>
                </a:cubicBezTo>
                <a:cubicBezTo>
                  <a:pt x="265675" y="143996"/>
                  <a:pt x="284013" y="125658"/>
                  <a:pt x="306633" y="125658"/>
                </a:cubicBezTo>
                <a:close/>
                <a:moveTo>
                  <a:pt x="164711" y="125658"/>
                </a:moveTo>
                <a:cubicBezTo>
                  <a:pt x="187331" y="125658"/>
                  <a:pt x="205669" y="143996"/>
                  <a:pt x="205669" y="166616"/>
                </a:cubicBezTo>
                <a:cubicBezTo>
                  <a:pt x="205669" y="189236"/>
                  <a:pt x="187331" y="207574"/>
                  <a:pt x="164711" y="207574"/>
                </a:cubicBezTo>
                <a:cubicBezTo>
                  <a:pt x="142091" y="207574"/>
                  <a:pt x="123753" y="189236"/>
                  <a:pt x="123753" y="166616"/>
                </a:cubicBezTo>
                <a:cubicBezTo>
                  <a:pt x="123753" y="143996"/>
                  <a:pt x="142091" y="125658"/>
                  <a:pt x="164711" y="125658"/>
                </a:cubicBezTo>
                <a:close/>
                <a:moveTo>
                  <a:pt x="22789" y="125658"/>
                </a:moveTo>
                <a:cubicBezTo>
                  <a:pt x="45409" y="125658"/>
                  <a:pt x="63747" y="143996"/>
                  <a:pt x="63747" y="166616"/>
                </a:cubicBezTo>
                <a:cubicBezTo>
                  <a:pt x="63747" y="189236"/>
                  <a:pt x="45409" y="207574"/>
                  <a:pt x="22789" y="207574"/>
                </a:cubicBezTo>
                <a:lnTo>
                  <a:pt x="0" y="198134"/>
                </a:lnTo>
                <a:lnTo>
                  <a:pt x="0" y="135098"/>
                </a:lnTo>
                <a:close/>
                <a:moveTo>
                  <a:pt x="590479" y="125658"/>
                </a:moveTo>
                <a:cubicBezTo>
                  <a:pt x="613099" y="125658"/>
                  <a:pt x="631437" y="143996"/>
                  <a:pt x="631437" y="166616"/>
                </a:cubicBezTo>
                <a:cubicBezTo>
                  <a:pt x="631437" y="189236"/>
                  <a:pt x="613099" y="207574"/>
                  <a:pt x="590479" y="207574"/>
                </a:cubicBezTo>
                <a:cubicBezTo>
                  <a:pt x="567859" y="207574"/>
                  <a:pt x="549521" y="189236"/>
                  <a:pt x="549521" y="166616"/>
                </a:cubicBezTo>
                <a:cubicBezTo>
                  <a:pt x="549521" y="143996"/>
                  <a:pt x="567859" y="125658"/>
                  <a:pt x="590479" y="125658"/>
                </a:cubicBezTo>
                <a:close/>
                <a:moveTo>
                  <a:pt x="553042" y="0"/>
                </a:moveTo>
                <a:lnTo>
                  <a:pt x="627916" y="0"/>
                </a:lnTo>
                <a:lnTo>
                  <a:pt x="631437" y="8501"/>
                </a:lnTo>
                <a:cubicBezTo>
                  <a:pt x="631437" y="31121"/>
                  <a:pt x="613099" y="49459"/>
                  <a:pt x="590479" y="49459"/>
                </a:cubicBezTo>
                <a:cubicBezTo>
                  <a:pt x="567859" y="49459"/>
                  <a:pt x="549521" y="31121"/>
                  <a:pt x="549521" y="8501"/>
                </a:cubicBezTo>
                <a:close/>
                <a:moveTo>
                  <a:pt x="411118" y="0"/>
                </a:moveTo>
                <a:lnTo>
                  <a:pt x="485992" y="0"/>
                </a:lnTo>
                <a:lnTo>
                  <a:pt x="489513" y="8501"/>
                </a:lnTo>
                <a:cubicBezTo>
                  <a:pt x="489513" y="31121"/>
                  <a:pt x="471175" y="49459"/>
                  <a:pt x="448555" y="49459"/>
                </a:cubicBezTo>
                <a:cubicBezTo>
                  <a:pt x="425935" y="49459"/>
                  <a:pt x="407597" y="31121"/>
                  <a:pt x="407597" y="8501"/>
                </a:cubicBezTo>
                <a:close/>
                <a:moveTo>
                  <a:pt x="269196" y="0"/>
                </a:moveTo>
                <a:lnTo>
                  <a:pt x="344070" y="0"/>
                </a:lnTo>
                <a:lnTo>
                  <a:pt x="347591" y="8501"/>
                </a:lnTo>
                <a:cubicBezTo>
                  <a:pt x="347591" y="31121"/>
                  <a:pt x="329253" y="49459"/>
                  <a:pt x="306633" y="49459"/>
                </a:cubicBezTo>
                <a:cubicBezTo>
                  <a:pt x="284013" y="49459"/>
                  <a:pt x="265675" y="31121"/>
                  <a:pt x="265675" y="8501"/>
                </a:cubicBezTo>
                <a:close/>
                <a:moveTo>
                  <a:pt x="127274" y="0"/>
                </a:moveTo>
                <a:lnTo>
                  <a:pt x="202148" y="0"/>
                </a:lnTo>
                <a:lnTo>
                  <a:pt x="205669" y="8501"/>
                </a:lnTo>
                <a:cubicBezTo>
                  <a:pt x="205669" y="31121"/>
                  <a:pt x="187331" y="49459"/>
                  <a:pt x="164711" y="49459"/>
                </a:cubicBezTo>
                <a:cubicBezTo>
                  <a:pt x="142091" y="49459"/>
                  <a:pt x="123753" y="31121"/>
                  <a:pt x="123753" y="8501"/>
                </a:cubicBezTo>
                <a:close/>
                <a:moveTo>
                  <a:pt x="0" y="0"/>
                </a:moveTo>
                <a:lnTo>
                  <a:pt x="60226" y="0"/>
                </a:lnTo>
                <a:lnTo>
                  <a:pt x="63747" y="8501"/>
                </a:lnTo>
                <a:cubicBezTo>
                  <a:pt x="63747" y="31121"/>
                  <a:pt x="45409" y="49459"/>
                  <a:pt x="22789" y="49459"/>
                </a:cubicBezTo>
                <a:lnTo>
                  <a:pt x="0" y="40019"/>
                </a:lnTo>
                <a:close/>
              </a:path>
            </a:pathLst>
          </a:custGeom>
          <a:gradFill flip="none" rotWithShape="1">
            <a:gsLst>
              <a:gs pos="6000">
                <a:srgbClr val="FE832C"/>
              </a:gs>
              <a:gs pos="61000">
                <a:srgbClr val="FFCEAB"/>
              </a:gs>
              <a:gs pos="0">
                <a:srgbClr val="EA5504"/>
              </a:gs>
              <a:gs pos="100000">
                <a:srgbClr val="FBE9D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4" name="组合 13">
            <a:extLst>
              <a:ext uri="{FF2B5EF4-FFF2-40B4-BE49-F238E27FC236}">
                <a16:creationId xmlns:a16="http://schemas.microsoft.com/office/drawing/2014/main" id="{946535DC-6234-4198-A484-742881CAAFB2}"/>
              </a:ext>
            </a:extLst>
          </p:cNvPr>
          <p:cNvGrpSpPr/>
          <p:nvPr userDrawn="1"/>
        </p:nvGrpSpPr>
        <p:grpSpPr>
          <a:xfrm>
            <a:off x="741424" y="571834"/>
            <a:ext cx="2812005" cy="468667"/>
            <a:chOff x="660400" y="492126"/>
            <a:chExt cx="3257550" cy="54292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9103FE1A-A86B-4804-BFAA-8100275542A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0400" y="492126"/>
              <a:ext cx="3257550" cy="285750"/>
            </a:xfrm>
            <a:custGeom>
              <a:avLst/>
              <a:gdLst>
                <a:gd name="T0" fmla="*/ 1282 w 1998"/>
                <a:gd name="T1" fmla="*/ 16 h 174"/>
                <a:gd name="T2" fmla="*/ 1247 w 1998"/>
                <a:gd name="T3" fmla="*/ 166 h 174"/>
                <a:gd name="T4" fmla="*/ 1376 w 1998"/>
                <a:gd name="T5" fmla="*/ 167 h 174"/>
                <a:gd name="T6" fmla="*/ 1409 w 1998"/>
                <a:gd name="T7" fmla="*/ 17 h 174"/>
                <a:gd name="T8" fmla="*/ 1184 w 1998"/>
                <a:gd name="T9" fmla="*/ 166 h 174"/>
                <a:gd name="T10" fmla="*/ 1214 w 1998"/>
                <a:gd name="T11" fmla="*/ 13 h 174"/>
                <a:gd name="T12" fmla="*/ 1122 w 1998"/>
                <a:gd name="T13" fmla="*/ 41 h 174"/>
                <a:gd name="T14" fmla="*/ 1007 w 1998"/>
                <a:gd name="T15" fmla="*/ 17 h 174"/>
                <a:gd name="T16" fmla="*/ 1042 w 1998"/>
                <a:gd name="T17" fmla="*/ 122 h 174"/>
                <a:gd name="T18" fmla="*/ 1994 w 1998"/>
                <a:gd name="T19" fmla="*/ 13 h 174"/>
                <a:gd name="T20" fmla="*/ 1863 w 1998"/>
                <a:gd name="T21" fmla="*/ 13 h 174"/>
                <a:gd name="T22" fmla="*/ 1840 w 1998"/>
                <a:gd name="T23" fmla="*/ 170 h 174"/>
                <a:gd name="T24" fmla="*/ 1971 w 1998"/>
                <a:gd name="T25" fmla="*/ 170 h 174"/>
                <a:gd name="T26" fmla="*/ 1994 w 1998"/>
                <a:gd name="T27" fmla="*/ 13 h 174"/>
                <a:gd name="T28" fmla="*/ 1488 w 1998"/>
                <a:gd name="T29" fmla="*/ 172 h 174"/>
                <a:gd name="T30" fmla="*/ 1513 w 1998"/>
                <a:gd name="T31" fmla="*/ 104 h 174"/>
                <a:gd name="T32" fmla="*/ 1471 w 1998"/>
                <a:gd name="T33" fmla="*/ 142 h 174"/>
                <a:gd name="T34" fmla="*/ 1562 w 1998"/>
                <a:gd name="T35" fmla="*/ 44 h 174"/>
                <a:gd name="T36" fmla="*/ 1596 w 1998"/>
                <a:gd name="T37" fmla="*/ 58 h 174"/>
                <a:gd name="T38" fmla="*/ 767 w 1998"/>
                <a:gd name="T39" fmla="*/ 112 h 174"/>
                <a:gd name="T40" fmla="*/ 894 w 1998"/>
                <a:gd name="T41" fmla="*/ 65 h 174"/>
                <a:gd name="T42" fmla="*/ 832 w 1998"/>
                <a:gd name="T43" fmla="*/ 51 h 174"/>
                <a:gd name="T44" fmla="*/ 731 w 1998"/>
                <a:gd name="T45" fmla="*/ 48 h 174"/>
                <a:gd name="T46" fmla="*/ 692 w 1998"/>
                <a:gd name="T47" fmla="*/ 85 h 174"/>
                <a:gd name="T48" fmla="*/ 767 w 1998"/>
                <a:gd name="T49" fmla="*/ 138 h 174"/>
                <a:gd name="T50" fmla="*/ 700 w 1998"/>
                <a:gd name="T51" fmla="*/ 170 h 174"/>
                <a:gd name="T52" fmla="*/ 859 w 1998"/>
                <a:gd name="T53" fmla="*/ 170 h 174"/>
                <a:gd name="T54" fmla="*/ 859 w 1998"/>
                <a:gd name="T55" fmla="*/ 146 h 174"/>
                <a:gd name="T56" fmla="*/ 894 w 1998"/>
                <a:gd name="T57" fmla="*/ 89 h 174"/>
                <a:gd name="T58" fmla="*/ 1740 w 1998"/>
                <a:gd name="T59" fmla="*/ 13 h 174"/>
                <a:gd name="T60" fmla="*/ 1663 w 1998"/>
                <a:gd name="T61" fmla="*/ 170 h 174"/>
                <a:gd name="T62" fmla="*/ 1816 w 1998"/>
                <a:gd name="T63" fmla="*/ 170 h 174"/>
                <a:gd name="T64" fmla="*/ 597 w 1998"/>
                <a:gd name="T65" fmla="*/ 98 h 174"/>
                <a:gd name="T66" fmla="*/ 654 w 1998"/>
                <a:gd name="T67" fmla="*/ 46 h 174"/>
                <a:gd name="T68" fmla="*/ 416 w 1998"/>
                <a:gd name="T69" fmla="*/ 28 h 174"/>
                <a:gd name="T70" fmla="*/ 239 w 1998"/>
                <a:gd name="T71" fmla="*/ 148 h 174"/>
                <a:gd name="T72" fmla="*/ 423 w 1998"/>
                <a:gd name="T73" fmla="*/ 6 h 174"/>
                <a:gd name="T74" fmla="*/ 872 w 1998"/>
                <a:gd name="T75" fmla="*/ 34 h 174"/>
                <a:gd name="T76" fmla="*/ 897 w 1998"/>
                <a:gd name="T77" fmla="*/ 32 h 174"/>
                <a:gd name="T78" fmla="*/ 782 w 1998"/>
                <a:gd name="T79" fmla="*/ 0 h 174"/>
                <a:gd name="T80" fmla="*/ 693 w 1998"/>
                <a:gd name="T81" fmla="*/ 45 h 174"/>
                <a:gd name="T82" fmla="*/ 179 w 1998"/>
                <a:gd name="T83" fmla="*/ 49 h 174"/>
                <a:gd name="T84" fmla="*/ 88 w 1998"/>
                <a:gd name="T85" fmla="*/ 49 h 174"/>
                <a:gd name="T86" fmla="*/ 118 w 1998"/>
                <a:gd name="T87" fmla="*/ 1 h 174"/>
                <a:gd name="T88" fmla="*/ 0 w 1998"/>
                <a:gd name="T89" fmla="*/ 46 h 174"/>
                <a:gd name="T90" fmla="*/ 91 w 1998"/>
                <a:gd name="T91" fmla="*/ 174 h 174"/>
                <a:gd name="T92" fmla="*/ 210 w 1998"/>
                <a:gd name="T93" fmla="*/ 118 h 174"/>
                <a:gd name="T94" fmla="*/ 379 w 1998"/>
                <a:gd name="T95" fmla="*/ 112 h 174"/>
                <a:gd name="T96" fmla="*/ 357 w 1998"/>
                <a:gd name="T97" fmla="*/ 75 h 174"/>
                <a:gd name="T98" fmla="*/ 284 w 1998"/>
                <a:gd name="T99" fmla="*/ 61 h 174"/>
                <a:gd name="T100" fmla="*/ 328 w 1998"/>
                <a:gd name="T101" fmla="*/ 93 h 174"/>
                <a:gd name="T102" fmla="*/ 401 w 1998"/>
                <a:gd name="T103" fmla="*/ 104 h 174"/>
                <a:gd name="T104" fmla="*/ 512 w 1998"/>
                <a:gd name="T105" fmla="*/ 46 h 174"/>
                <a:gd name="T106" fmla="*/ 669 w 1998"/>
                <a:gd name="T107" fmla="*/ 115 h 174"/>
                <a:gd name="T108" fmla="*/ 666 w 1998"/>
                <a:gd name="T109" fmla="*/ 14 h 174"/>
                <a:gd name="T110" fmla="*/ 479 w 1998"/>
                <a:gd name="T111" fmla="*/ 33 h 174"/>
                <a:gd name="T112" fmla="*/ 469 w 1998"/>
                <a:gd name="T113" fmla="*/ 135 h 174"/>
                <a:gd name="T114" fmla="*/ 583 w 1998"/>
                <a:gd name="T115" fmla="*/ 174 h 174"/>
                <a:gd name="T116" fmla="*/ 673 w 1998"/>
                <a:gd name="T117" fmla="*/ 119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98" h="174">
                  <a:moveTo>
                    <a:pt x="1405" y="13"/>
                  </a:moveTo>
                  <a:cubicBezTo>
                    <a:pt x="1382" y="13"/>
                    <a:pt x="1382" y="13"/>
                    <a:pt x="1382" y="13"/>
                  </a:cubicBezTo>
                  <a:cubicBezTo>
                    <a:pt x="1379" y="13"/>
                    <a:pt x="1378" y="15"/>
                    <a:pt x="1378" y="17"/>
                  </a:cubicBezTo>
                  <a:cubicBezTo>
                    <a:pt x="1378" y="125"/>
                    <a:pt x="1378" y="125"/>
                    <a:pt x="1378" y="125"/>
                  </a:cubicBezTo>
                  <a:cubicBezTo>
                    <a:pt x="1365" y="111"/>
                    <a:pt x="1284" y="18"/>
                    <a:pt x="1282" y="16"/>
                  </a:cubicBezTo>
                  <a:cubicBezTo>
                    <a:pt x="1279" y="13"/>
                    <a:pt x="1276" y="13"/>
                    <a:pt x="1275" y="13"/>
                  </a:cubicBezTo>
                  <a:cubicBezTo>
                    <a:pt x="1275" y="13"/>
                    <a:pt x="1275" y="13"/>
                    <a:pt x="1275" y="13"/>
                  </a:cubicBezTo>
                  <a:cubicBezTo>
                    <a:pt x="1251" y="13"/>
                    <a:pt x="1251" y="13"/>
                    <a:pt x="1251" y="13"/>
                  </a:cubicBezTo>
                  <a:cubicBezTo>
                    <a:pt x="1249" y="13"/>
                    <a:pt x="1247" y="15"/>
                    <a:pt x="1247" y="17"/>
                  </a:cubicBezTo>
                  <a:cubicBezTo>
                    <a:pt x="1247" y="166"/>
                    <a:pt x="1247" y="166"/>
                    <a:pt x="1247" y="166"/>
                  </a:cubicBezTo>
                  <a:cubicBezTo>
                    <a:pt x="1247" y="168"/>
                    <a:pt x="1249" y="170"/>
                    <a:pt x="1251" y="170"/>
                  </a:cubicBezTo>
                  <a:cubicBezTo>
                    <a:pt x="1275" y="170"/>
                    <a:pt x="1275" y="170"/>
                    <a:pt x="1275" y="170"/>
                  </a:cubicBezTo>
                  <a:cubicBezTo>
                    <a:pt x="1277" y="170"/>
                    <a:pt x="1279" y="168"/>
                    <a:pt x="1279" y="166"/>
                  </a:cubicBezTo>
                  <a:cubicBezTo>
                    <a:pt x="1279" y="57"/>
                    <a:pt x="1279" y="57"/>
                    <a:pt x="1279" y="57"/>
                  </a:cubicBezTo>
                  <a:cubicBezTo>
                    <a:pt x="1287" y="67"/>
                    <a:pt x="1373" y="165"/>
                    <a:pt x="1376" y="167"/>
                  </a:cubicBezTo>
                  <a:cubicBezTo>
                    <a:pt x="1378" y="169"/>
                    <a:pt x="1381" y="170"/>
                    <a:pt x="1383" y="170"/>
                  </a:cubicBezTo>
                  <a:cubicBezTo>
                    <a:pt x="1383" y="170"/>
                    <a:pt x="1383" y="170"/>
                    <a:pt x="1383" y="170"/>
                  </a:cubicBezTo>
                  <a:cubicBezTo>
                    <a:pt x="1405" y="170"/>
                    <a:pt x="1405" y="170"/>
                    <a:pt x="1405" y="170"/>
                  </a:cubicBezTo>
                  <a:cubicBezTo>
                    <a:pt x="1407" y="170"/>
                    <a:pt x="1409" y="168"/>
                    <a:pt x="1409" y="166"/>
                  </a:cubicBezTo>
                  <a:cubicBezTo>
                    <a:pt x="1409" y="17"/>
                    <a:pt x="1409" y="17"/>
                    <a:pt x="1409" y="17"/>
                  </a:cubicBezTo>
                  <a:cubicBezTo>
                    <a:pt x="1409" y="15"/>
                    <a:pt x="1407" y="13"/>
                    <a:pt x="1405" y="13"/>
                  </a:cubicBezTo>
                  <a:moveTo>
                    <a:pt x="1214" y="13"/>
                  </a:moveTo>
                  <a:cubicBezTo>
                    <a:pt x="1188" y="13"/>
                    <a:pt x="1188" y="13"/>
                    <a:pt x="1188" y="13"/>
                  </a:cubicBezTo>
                  <a:cubicBezTo>
                    <a:pt x="1186" y="13"/>
                    <a:pt x="1184" y="15"/>
                    <a:pt x="1184" y="17"/>
                  </a:cubicBezTo>
                  <a:cubicBezTo>
                    <a:pt x="1184" y="166"/>
                    <a:pt x="1184" y="166"/>
                    <a:pt x="1184" y="166"/>
                  </a:cubicBezTo>
                  <a:cubicBezTo>
                    <a:pt x="1184" y="168"/>
                    <a:pt x="1186" y="170"/>
                    <a:pt x="1188" y="170"/>
                  </a:cubicBezTo>
                  <a:cubicBezTo>
                    <a:pt x="1214" y="170"/>
                    <a:pt x="1214" y="170"/>
                    <a:pt x="1214" y="170"/>
                  </a:cubicBezTo>
                  <a:cubicBezTo>
                    <a:pt x="1216" y="170"/>
                    <a:pt x="1218" y="168"/>
                    <a:pt x="1218" y="166"/>
                  </a:cubicBezTo>
                  <a:cubicBezTo>
                    <a:pt x="1218" y="17"/>
                    <a:pt x="1218" y="17"/>
                    <a:pt x="1218" y="17"/>
                  </a:cubicBezTo>
                  <a:cubicBezTo>
                    <a:pt x="1218" y="15"/>
                    <a:pt x="1216" y="13"/>
                    <a:pt x="1214" y="13"/>
                  </a:cubicBezTo>
                  <a:moveTo>
                    <a:pt x="1125" y="91"/>
                  </a:moveTo>
                  <a:cubicBezTo>
                    <a:pt x="1125" y="93"/>
                    <a:pt x="1124" y="94"/>
                    <a:pt x="1122" y="94"/>
                  </a:cubicBezTo>
                  <a:cubicBezTo>
                    <a:pt x="1042" y="94"/>
                    <a:pt x="1042" y="94"/>
                    <a:pt x="1042" y="94"/>
                  </a:cubicBezTo>
                  <a:cubicBezTo>
                    <a:pt x="1042" y="41"/>
                    <a:pt x="1042" y="41"/>
                    <a:pt x="1042" y="41"/>
                  </a:cubicBezTo>
                  <a:cubicBezTo>
                    <a:pt x="1122" y="41"/>
                    <a:pt x="1122" y="41"/>
                    <a:pt x="1122" y="41"/>
                  </a:cubicBezTo>
                  <a:cubicBezTo>
                    <a:pt x="1124" y="41"/>
                    <a:pt x="1125" y="42"/>
                    <a:pt x="1125" y="44"/>
                  </a:cubicBezTo>
                  <a:lnTo>
                    <a:pt x="1125" y="91"/>
                  </a:lnTo>
                  <a:close/>
                  <a:moveTo>
                    <a:pt x="1108" y="13"/>
                  </a:moveTo>
                  <a:cubicBezTo>
                    <a:pt x="1011" y="13"/>
                    <a:pt x="1011" y="13"/>
                    <a:pt x="1011" y="13"/>
                  </a:cubicBezTo>
                  <a:cubicBezTo>
                    <a:pt x="1009" y="13"/>
                    <a:pt x="1007" y="15"/>
                    <a:pt x="1007" y="17"/>
                  </a:cubicBezTo>
                  <a:cubicBezTo>
                    <a:pt x="1007" y="166"/>
                    <a:pt x="1007" y="166"/>
                    <a:pt x="1007" y="166"/>
                  </a:cubicBezTo>
                  <a:cubicBezTo>
                    <a:pt x="1007" y="168"/>
                    <a:pt x="1009" y="170"/>
                    <a:pt x="1011" y="170"/>
                  </a:cubicBezTo>
                  <a:cubicBezTo>
                    <a:pt x="1038" y="170"/>
                    <a:pt x="1038" y="170"/>
                    <a:pt x="1038" y="170"/>
                  </a:cubicBezTo>
                  <a:cubicBezTo>
                    <a:pt x="1040" y="170"/>
                    <a:pt x="1042" y="168"/>
                    <a:pt x="1042" y="166"/>
                  </a:cubicBezTo>
                  <a:cubicBezTo>
                    <a:pt x="1042" y="122"/>
                    <a:pt x="1042" y="122"/>
                    <a:pt x="1042" y="122"/>
                  </a:cubicBezTo>
                  <a:cubicBezTo>
                    <a:pt x="1108" y="122"/>
                    <a:pt x="1108" y="122"/>
                    <a:pt x="1108" y="122"/>
                  </a:cubicBezTo>
                  <a:cubicBezTo>
                    <a:pt x="1137" y="122"/>
                    <a:pt x="1161" y="104"/>
                    <a:pt x="1161" y="78"/>
                  </a:cubicBezTo>
                  <a:cubicBezTo>
                    <a:pt x="1161" y="61"/>
                    <a:pt x="1161" y="61"/>
                    <a:pt x="1161" y="61"/>
                  </a:cubicBezTo>
                  <a:cubicBezTo>
                    <a:pt x="1161" y="34"/>
                    <a:pt x="1137" y="13"/>
                    <a:pt x="1108" y="13"/>
                  </a:cubicBezTo>
                  <a:moveTo>
                    <a:pt x="1994" y="13"/>
                  </a:moveTo>
                  <a:cubicBezTo>
                    <a:pt x="1970" y="13"/>
                    <a:pt x="1970" y="13"/>
                    <a:pt x="1970" y="13"/>
                  </a:cubicBezTo>
                  <a:cubicBezTo>
                    <a:pt x="1968" y="13"/>
                    <a:pt x="1967" y="15"/>
                    <a:pt x="1967" y="17"/>
                  </a:cubicBezTo>
                  <a:cubicBezTo>
                    <a:pt x="1967" y="125"/>
                    <a:pt x="1967" y="125"/>
                    <a:pt x="1967" y="125"/>
                  </a:cubicBezTo>
                  <a:cubicBezTo>
                    <a:pt x="1954" y="111"/>
                    <a:pt x="1872" y="18"/>
                    <a:pt x="1870" y="16"/>
                  </a:cubicBezTo>
                  <a:cubicBezTo>
                    <a:pt x="1868" y="13"/>
                    <a:pt x="1865" y="13"/>
                    <a:pt x="1863" y="13"/>
                  </a:cubicBezTo>
                  <a:cubicBezTo>
                    <a:pt x="1863" y="13"/>
                    <a:pt x="1863" y="13"/>
                    <a:pt x="1863" y="13"/>
                  </a:cubicBezTo>
                  <a:cubicBezTo>
                    <a:pt x="1840" y="13"/>
                    <a:pt x="1840" y="13"/>
                    <a:pt x="1840" y="13"/>
                  </a:cubicBezTo>
                  <a:cubicBezTo>
                    <a:pt x="1838" y="13"/>
                    <a:pt x="1836" y="15"/>
                    <a:pt x="1836" y="17"/>
                  </a:cubicBezTo>
                  <a:cubicBezTo>
                    <a:pt x="1836" y="166"/>
                    <a:pt x="1836" y="166"/>
                    <a:pt x="1836" y="166"/>
                  </a:cubicBezTo>
                  <a:cubicBezTo>
                    <a:pt x="1836" y="168"/>
                    <a:pt x="1838" y="170"/>
                    <a:pt x="1840" y="170"/>
                  </a:cubicBezTo>
                  <a:cubicBezTo>
                    <a:pt x="1864" y="170"/>
                    <a:pt x="1864" y="170"/>
                    <a:pt x="1864" y="170"/>
                  </a:cubicBezTo>
                  <a:cubicBezTo>
                    <a:pt x="1866" y="170"/>
                    <a:pt x="1867" y="168"/>
                    <a:pt x="1867" y="166"/>
                  </a:cubicBezTo>
                  <a:cubicBezTo>
                    <a:pt x="1867" y="57"/>
                    <a:pt x="1867" y="57"/>
                    <a:pt x="1867" y="57"/>
                  </a:cubicBezTo>
                  <a:cubicBezTo>
                    <a:pt x="1876" y="67"/>
                    <a:pt x="1962" y="165"/>
                    <a:pt x="1964" y="167"/>
                  </a:cubicBezTo>
                  <a:cubicBezTo>
                    <a:pt x="1967" y="169"/>
                    <a:pt x="1969" y="170"/>
                    <a:pt x="1971" y="170"/>
                  </a:cubicBezTo>
                  <a:cubicBezTo>
                    <a:pt x="1971" y="170"/>
                    <a:pt x="1971" y="170"/>
                    <a:pt x="1971" y="170"/>
                  </a:cubicBezTo>
                  <a:cubicBezTo>
                    <a:pt x="1994" y="170"/>
                    <a:pt x="1994" y="170"/>
                    <a:pt x="1994" y="170"/>
                  </a:cubicBezTo>
                  <a:cubicBezTo>
                    <a:pt x="1996" y="170"/>
                    <a:pt x="1998" y="168"/>
                    <a:pt x="1998" y="166"/>
                  </a:cubicBezTo>
                  <a:cubicBezTo>
                    <a:pt x="1998" y="17"/>
                    <a:pt x="1998" y="17"/>
                    <a:pt x="1998" y="17"/>
                  </a:cubicBezTo>
                  <a:cubicBezTo>
                    <a:pt x="1998" y="15"/>
                    <a:pt x="1996" y="13"/>
                    <a:pt x="1994" y="13"/>
                  </a:cubicBezTo>
                  <a:moveTo>
                    <a:pt x="1542" y="11"/>
                  </a:moveTo>
                  <a:cubicBezTo>
                    <a:pt x="1488" y="11"/>
                    <a:pt x="1488" y="11"/>
                    <a:pt x="1488" y="11"/>
                  </a:cubicBezTo>
                  <a:cubicBezTo>
                    <a:pt x="1458" y="11"/>
                    <a:pt x="1434" y="32"/>
                    <a:pt x="1434" y="58"/>
                  </a:cubicBezTo>
                  <a:cubicBezTo>
                    <a:pt x="1434" y="124"/>
                    <a:pt x="1434" y="124"/>
                    <a:pt x="1434" y="124"/>
                  </a:cubicBezTo>
                  <a:cubicBezTo>
                    <a:pt x="1434" y="150"/>
                    <a:pt x="1458" y="172"/>
                    <a:pt x="1488" y="172"/>
                  </a:cubicBezTo>
                  <a:cubicBezTo>
                    <a:pt x="1542" y="172"/>
                    <a:pt x="1542" y="172"/>
                    <a:pt x="1542" y="172"/>
                  </a:cubicBezTo>
                  <a:cubicBezTo>
                    <a:pt x="1572" y="172"/>
                    <a:pt x="1596" y="150"/>
                    <a:pt x="1596" y="124"/>
                  </a:cubicBezTo>
                  <a:cubicBezTo>
                    <a:pt x="1596" y="82"/>
                    <a:pt x="1596" y="82"/>
                    <a:pt x="1596" y="82"/>
                  </a:cubicBezTo>
                  <a:cubicBezTo>
                    <a:pt x="1513" y="82"/>
                    <a:pt x="1513" y="82"/>
                    <a:pt x="1513" y="82"/>
                  </a:cubicBezTo>
                  <a:cubicBezTo>
                    <a:pt x="1513" y="104"/>
                    <a:pt x="1513" y="104"/>
                    <a:pt x="1513" y="104"/>
                  </a:cubicBezTo>
                  <a:cubicBezTo>
                    <a:pt x="1513" y="106"/>
                    <a:pt x="1515" y="108"/>
                    <a:pt x="1517" y="108"/>
                  </a:cubicBezTo>
                  <a:cubicBezTo>
                    <a:pt x="1562" y="108"/>
                    <a:pt x="1562" y="108"/>
                    <a:pt x="1562" y="108"/>
                  </a:cubicBezTo>
                  <a:cubicBezTo>
                    <a:pt x="1562" y="138"/>
                    <a:pt x="1562" y="138"/>
                    <a:pt x="1562" y="138"/>
                  </a:cubicBezTo>
                  <a:cubicBezTo>
                    <a:pt x="1562" y="140"/>
                    <a:pt x="1560" y="142"/>
                    <a:pt x="1558" y="142"/>
                  </a:cubicBezTo>
                  <a:cubicBezTo>
                    <a:pt x="1471" y="142"/>
                    <a:pt x="1471" y="142"/>
                    <a:pt x="1471" y="142"/>
                  </a:cubicBezTo>
                  <a:cubicBezTo>
                    <a:pt x="1469" y="142"/>
                    <a:pt x="1468" y="140"/>
                    <a:pt x="1468" y="138"/>
                  </a:cubicBezTo>
                  <a:cubicBezTo>
                    <a:pt x="1468" y="44"/>
                    <a:pt x="1468" y="44"/>
                    <a:pt x="1468" y="44"/>
                  </a:cubicBezTo>
                  <a:cubicBezTo>
                    <a:pt x="1468" y="42"/>
                    <a:pt x="1469" y="41"/>
                    <a:pt x="1471" y="41"/>
                  </a:cubicBezTo>
                  <a:cubicBezTo>
                    <a:pt x="1558" y="41"/>
                    <a:pt x="1558" y="41"/>
                    <a:pt x="1558" y="41"/>
                  </a:cubicBezTo>
                  <a:cubicBezTo>
                    <a:pt x="1560" y="41"/>
                    <a:pt x="1562" y="42"/>
                    <a:pt x="1562" y="44"/>
                  </a:cubicBezTo>
                  <a:cubicBezTo>
                    <a:pt x="1562" y="62"/>
                    <a:pt x="1562" y="62"/>
                    <a:pt x="1562" y="62"/>
                  </a:cubicBezTo>
                  <a:cubicBezTo>
                    <a:pt x="1562" y="64"/>
                    <a:pt x="1564" y="66"/>
                    <a:pt x="1566" y="66"/>
                  </a:cubicBezTo>
                  <a:cubicBezTo>
                    <a:pt x="1592" y="66"/>
                    <a:pt x="1592" y="66"/>
                    <a:pt x="1592" y="66"/>
                  </a:cubicBezTo>
                  <a:cubicBezTo>
                    <a:pt x="1594" y="66"/>
                    <a:pt x="1596" y="64"/>
                    <a:pt x="1596" y="62"/>
                  </a:cubicBezTo>
                  <a:cubicBezTo>
                    <a:pt x="1596" y="58"/>
                    <a:pt x="1596" y="58"/>
                    <a:pt x="1596" y="58"/>
                  </a:cubicBezTo>
                  <a:cubicBezTo>
                    <a:pt x="1596" y="32"/>
                    <a:pt x="1572" y="11"/>
                    <a:pt x="1542" y="11"/>
                  </a:cubicBezTo>
                  <a:moveTo>
                    <a:pt x="832" y="96"/>
                  </a:moveTo>
                  <a:cubicBezTo>
                    <a:pt x="832" y="103"/>
                    <a:pt x="831" y="108"/>
                    <a:pt x="823" y="112"/>
                  </a:cubicBezTo>
                  <a:cubicBezTo>
                    <a:pt x="816" y="115"/>
                    <a:pt x="805" y="121"/>
                    <a:pt x="795" y="125"/>
                  </a:cubicBezTo>
                  <a:cubicBezTo>
                    <a:pt x="785" y="121"/>
                    <a:pt x="774" y="115"/>
                    <a:pt x="767" y="112"/>
                  </a:cubicBezTo>
                  <a:cubicBezTo>
                    <a:pt x="758" y="108"/>
                    <a:pt x="757" y="103"/>
                    <a:pt x="757" y="96"/>
                  </a:cubicBezTo>
                  <a:cubicBezTo>
                    <a:pt x="757" y="89"/>
                    <a:pt x="757" y="89"/>
                    <a:pt x="757" y="89"/>
                  </a:cubicBezTo>
                  <a:cubicBezTo>
                    <a:pt x="832" y="89"/>
                    <a:pt x="832" y="89"/>
                    <a:pt x="832" y="89"/>
                  </a:cubicBezTo>
                  <a:lnTo>
                    <a:pt x="832" y="96"/>
                  </a:lnTo>
                  <a:close/>
                  <a:moveTo>
                    <a:pt x="894" y="65"/>
                  </a:moveTo>
                  <a:cubicBezTo>
                    <a:pt x="862" y="65"/>
                    <a:pt x="862" y="65"/>
                    <a:pt x="862" y="65"/>
                  </a:cubicBezTo>
                  <a:cubicBezTo>
                    <a:pt x="862" y="51"/>
                    <a:pt x="862" y="51"/>
                    <a:pt x="862" y="51"/>
                  </a:cubicBezTo>
                  <a:cubicBezTo>
                    <a:pt x="862" y="49"/>
                    <a:pt x="860" y="48"/>
                    <a:pt x="858" y="48"/>
                  </a:cubicBezTo>
                  <a:cubicBezTo>
                    <a:pt x="836" y="48"/>
                    <a:pt x="836" y="48"/>
                    <a:pt x="836" y="48"/>
                  </a:cubicBezTo>
                  <a:cubicBezTo>
                    <a:pt x="834" y="48"/>
                    <a:pt x="832" y="49"/>
                    <a:pt x="832" y="51"/>
                  </a:cubicBezTo>
                  <a:cubicBezTo>
                    <a:pt x="832" y="65"/>
                    <a:pt x="832" y="65"/>
                    <a:pt x="832" y="65"/>
                  </a:cubicBezTo>
                  <a:cubicBezTo>
                    <a:pt x="757" y="65"/>
                    <a:pt x="757" y="65"/>
                    <a:pt x="757" y="65"/>
                  </a:cubicBezTo>
                  <a:cubicBezTo>
                    <a:pt x="757" y="51"/>
                    <a:pt x="757" y="51"/>
                    <a:pt x="757" y="51"/>
                  </a:cubicBezTo>
                  <a:cubicBezTo>
                    <a:pt x="757" y="49"/>
                    <a:pt x="755" y="48"/>
                    <a:pt x="753" y="48"/>
                  </a:cubicBezTo>
                  <a:cubicBezTo>
                    <a:pt x="731" y="48"/>
                    <a:pt x="731" y="48"/>
                    <a:pt x="731" y="48"/>
                  </a:cubicBezTo>
                  <a:cubicBezTo>
                    <a:pt x="729" y="48"/>
                    <a:pt x="728" y="49"/>
                    <a:pt x="728" y="51"/>
                  </a:cubicBezTo>
                  <a:cubicBezTo>
                    <a:pt x="728" y="65"/>
                    <a:pt x="728" y="65"/>
                    <a:pt x="728" y="65"/>
                  </a:cubicBezTo>
                  <a:cubicBezTo>
                    <a:pt x="695" y="65"/>
                    <a:pt x="695" y="65"/>
                    <a:pt x="695" y="65"/>
                  </a:cubicBezTo>
                  <a:cubicBezTo>
                    <a:pt x="693" y="65"/>
                    <a:pt x="692" y="67"/>
                    <a:pt x="692" y="69"/>
                  </a:cubicBezTo>
                  <a:cubicBezTo>
                    <a:pt x="692" y="85"/>
                    <a:pt x="692" y="85"/>
                    <a:pt x="692" y="85"/>
                  </a:cubicBezTo>
                  <a:cubicBezTo>
                    <a:pt x="692" y="87"/>
                    <a:pt x="693" y="89"/>
                    <a:pt x="695" y="89"/>
                  </a:cubicBezTo>
                  <a:cubicBezTo>
                    <a:pt x="727" y="89"/>
                    <a:pt x="727" y="89"/>
                    <a:pt x="727" y="89"/>
                  </a:cubicBezTo>
                  <a:cubicBezTo>
                    <a:pt x="727" y="99"/>
                    <a:pt x="727" y="99"/>
                    <a:pt x="727" y="99"/>
                  </a:cubicBezTo>
                  <a:cubicBezTo>
                    <a:pt x="727" y="111"/>
                    <a:pt x="733" y="122"/>
                    <a:pt x="747" y="129"/>
                  </a:cubicBezTo>
                  <a:cubicBezTo>
                    <a:pt x="753" y="132"/>
                    <a:pt x="760" y="135"/>
                    <a:pt x="767" y="138"/>
                  </a:cubicBezTo>
                  <a:cubicBezTo>
                    <a:pt x="754" y="143"/>
                    <a:pt x="743" y="146"/>
                    <a:pt x="731" y="146"/>
                  </a:cubicBezTo>
                  <a:cubicBezTo>
                    <a:pt x="700" y="146"/>
                    <a:pt x="700" y="146"/>
                    <a:pt x="700" y="146"/>
                  </a:cubicBezTo>
                  <a:cubicBezTo>
                    <a:pt x="698" y="146"/>
                    <a:pt x="696" y="148"/>
                    <a:pt x="696" y="150"/>
                  </a:cubicBezTo>
                  <a:cubicBezTo>
                    <a:pt x="696" y="166"/>
                    <a:pt x="696" y="166"/>
                    <a:pt x="696" y="166"/>
                  </a:cubicBezTo>
                  <a:cubicBezTo>
                    <a:pt x="696" y="168"/>
                    <a:pt x="698" y="170"/>
                    <a:pt x="700" y="170"/>
                  </a:cubicBezTo>
                  <a:cubicBezTo>
                    <a:pt x="730" y="170"/>
                    <a:pt x="730" y="170"/>
                    <a:pt x="730" y="170"/>
                  </a:cubicBezTo>
                  <a:cubicBezTo>
                    <a:pt x="742" y="170"/>
                    <a:pt x="757" y="167"/>
                    <a:pt x="769" y="162"/>
                  </a:cubicBezTo>
                  <a:cubicBezTo>
                    <a:pt x="774" y="161"/>
                    <a:pt x="784" y="156"/>
                    <a:pt x="795" y="151"/>
                  </a:cubicBezTo>
                  <a:cubicBezTo>
                    <a:pt x="806" y="156"/>
                    <a:pt x="815" y="161"/>
                    <a:pt x="820" y="162"/>
                  </a:cubicBezTo>
                  <a:cubicBezTo>
                    <a:pt x="833" y="167"/>
                    <a:pt x="847" y="170"/>
                    <a:pt x="859" y="170"/>
                  </a:cubicBezTo>
                  <a:cubicBezTo>
                    <a:pt x="889" y="170"/>
                    <a:pt x="889" y="170"/>
                    <a:pt x="889" y="170"/>
                  </a:cubicBezTo>
                  <a:cubicBezTo>
                    <a:pt x="891" y="170"/>
                    <a:pt x="893" y="168"/>
                    <a:pt x="893" y="166"/>
                  </a:cubicBezTo>
                  <a:cubicBezTo>
                    <a:pt x="893" y="150"/>
                    <a:pt x="893" y="150"/>
                    <a:pt x="893" y="150"/>
                  </a:cubicBezTo>
                  <a:cubicBezTo>
                    <a:pt x="893" y="148"/>
                    <a:pt x="891" y="146"/>
                    <a:pt x="889" y="146"/>
                  </a:cubicBezTo>
                  <a:cubicBezTo>
                    <a:pt x="859" y="146"/>
                    <a:pt x="859" y="146"/>
                    <a:pt x="859" y="146"/>
                  </a:cubicBezTo>
                  <a:cubicBezTo>
                    <a:pt x="847" y="146"/>
                    <a:pt x="835" y="143"/>
                    <a:pt x="823" y="138"/>
                  </a:cubicBezTo>
                  <a:cubicBezTo>
                    <a:pt x="830" y="135"/>
                    <a:pt x="837" y="132"/>
                    <a:pt x="842" y="129"/>
                  </a:cubicBezTo>
                  <a:cubicBezTo>
                    <a:pt x="857" y="122"/>
                    <a:pt x="862" y="111"/>
                    <a:pt x="862" y="99"/>
                  </a:cubicBezTo>
                  <a:cubicBezTo>
                    <a:pt x="862" y="89"/>
                    <a:pt x="862" y="89"/>
                    <a:pt x="862" y="89"/>
                  </a:cubicBezTo>
                  <a:cubicBezTo>
                    <a:pt x="894" y="89"/>
                    <a:pt x="894" y="89"/>
                    <a:pt x="894" y="89"/>
                  </a:cubicBezTo>
                  <a:cubicBezTo>
                    <a:pt x="896" y="89"/>
                    <a:pt x="898" y="87"/>
                    <a:pt x="898" y="85"/>
                  </a:cubicBezTo>
                  <a:cubicBezTo>
                    <a:pt x="898" y="69"/>
                    <a:pt x="898" y="69"/>
                    <a:pt x="898" y="69"/>
                  </a:cubicBezTo>
                  <a:cubicBezTo>
                    <a:pt x="898" y="67"/>
                    <a:pt x="896" y="65"/>
                    <a:pt x="894" y="65"/>
                  </a:cubicBezTo>
                  <a:moveTo>
                    <a:pt x="1747" y="17"/>
                  </a:moveTo>
                  <a:cubicBezTo>
                    <a:pt x="1745" y="14"/>
                    <a:pt x="1743" y="13"/>
                    <a:pt x="1740" y="13"/>
                  </a:cubicBezTo>
                  <a:cubicBezTo>
                    <a:pt x="1716" y="13"/>
                    <a:pt x="1716" y="13"/>
                    <a:pt x="1716" y="13"/>
                  </a:cubicBezTo>
                  <a:cubicBezTo>
                    <a:pt x="1713" y="13"/>
                    <a:pt x="1711" y="14"/>
                    <a:pt x="1710" y="17"/>
                  </a:cubicBezTo>
                  <a:cubicBezTo>
                    <a:pt x="1636" y="162"/>
                    <a:pt x="1636" y="162"/>
                    <a:pt x="1636" y="162"/>
                  </a:cubicBezTo>
                  <a:cubicBezTo>
                    <a:pt x="1634" y="167"/>
                    <a:pt x="1636" y="170"/>
                    <a:pt x="1640" y="170"/>
                  </a:cubicBezTo>
                  <a:cubicBezTo>
                    <a:pt x="1663" y="170"/>
                    <a:pt x="1663" y="170"/>
                    <a:pt x="1663" y="170"/>
                  </a:cubicBezTo>
                  <a:cubicBezTo>
                    <a:pt x="1667" y="170"/>
                    <a:pt x="1668" y="169"/>
                    <a:pt x="1670" y="165"/>
                  </a:cubicBezTo>
                  <a:cubicBezTo>
                    <a:pt x="1728" y="49"/>
                    <a:pt x="1728" y="49"/>
                    <a:pt x="1728" y="49"/>
                  </a:cubicBezTo>
                  <a:cubicBezTo>
                    <a:pt x="1786" y="165"/>
                    <a:pt x="1786" y="165"/>
                    <a:pt x="1786" y="165"/>
                  </a:cubicBezTo>
                  <a:cubicBezTo>
                    <a:pt x="1788" y="169"/>
                    <a:pt x="1789" y="170"/>
                    <a:pt x="1793" y="170"/>
                  </a:cubicBezTo>
                  <a:cubicBezTo>
                    <a:pt x="1816" y="170"/>
                    <a:pt x="1816" y="170"/>
                    <a:pt x="1816" y="170"/>
                  </a:cubicBezTo>
                  <a:cubicBezTo>
                    <a:pt x="1820" y="170"/>
                    <a:pt x="1823" y="167"/>
                    <a:pt x="1820" y="162"/>
                  </a:cubicBezTo>
                  <a:lnTo>
                    <a:pt x="1747" y="17"/>
                  </a:lnTo>
                  <a:close/>
                  <a:moveTo>
                    <a:pt x="629" y="46"/>
                  </a:moveTo>
                  <a:cubicBezTo>
                    <a:pt x="626" y="46"/>
                    <a:pt x="623" y="48"/>
                    <a:pt x="622" y="49"/>
                  </a:cubicBezTo>
                  <a:cubicBezTo>
                    <a:pt x="597" y="98"/>
                    <a:pt x="597" y="98"/>
                    <a:pt x="597" y="98"/>
                  </a:cubicBezTo>
                  <a:cubicBezTo>
                    <a:pt x="596" y="100"/>
                    <a:pt x="597" y="102"/>
                    <a:pt x="599" y="102"/>
                  </a:cubicBezTo>
                  <a:cubicBezTo>
                    <a:pt x="625" y="102"/>
                    <a:pt x="625" y="102"/>
                    <a:pt x="625" y="102"/>
                  </a:cubicBezTo>
                  <a:cubicBezTo>
                    <a:pt x="628" y="102"/>
                    <a:pt x="630" y="100"/>
                    <a:pt x="631" y="98"/>
                  </a:cubicBezTo>
                  <a:cubicBezTo>
                    <a:pt x="656" y="49"/>
                    <a:pt x="656" y="49"/>
                    <a:pt x="656" y="49"/>
                  </a:cubicBezTo>
                  <a:cubicBezTo>
                    <a:pt x="657" y="48"/>
                    <a:pt x="656" y="46"/>
                    <a:pt x="654" y="46"/>
                  </a:cubicBezTo>
                  <a:lnTo>
                    <a:pt x="629" y="46"/>
                  </a:lnTo>
                  <a:close/>
                  <a:moveTo>
                    <a:pt x="416" y="146"/>
                  </a:moveTo>
                  <a:cubicBezTo>
                    <a:pt x="269" y="146"/>
                    <a:pt x="269" y="146"/>
                    <a:pt x="269" y="146"/>
                  </a:cubicBezTo>
                  <a:cubicBezTo>
                    <a:pt x="269" y="28"/>
                    <a:pt x="269" y="28"/>
                    <a:pt x="269" y="28"/>
                  </a:cubicBezTo>
                  <a:cubicBezTo>
                    <a:pt x="416" y="28"/>
                    <a:pt x="416" y="28"/>
                    <a:pt x="416" y="28"/>
                  </a:cubicBezTo>
                  <a:lnTo>
                    <a:pt x="416" y="146"/>
                  </a:lnTo>
                  <a:close/>
                  <a:moveTo>
                    <a:pt x="423" y="6"/>
                  </a:moveTo>
                  <a:cubicBezTo>
                    <a:pt x="261" y="6"/>
                    <a:pt x="261" y="6"/>
                    <a:pt x="261" y="6"/>
                  </a:cubicBezTo>
                  <a:cubicBezTo>
                    <a:pt x="249" y="6"/>
                    <a:pt x="239" y="16"/>
                    <a:pt x="239" y="28"/>
                  </a:cubicBezTo>
                  <a:cubicBezTo>
                    <a:pt x="239" y="148"/>
                    <a:pt x="239" y="148"/>
                    <a:pt x="239" y="148"/>
                  </a:cubicBezTo>
                  <a:cubicBezTo>
                    <a:pt x="239" y="160"/>
                    <a:pt x="249" y="169"/>
                    <a:pt x="261" y="169"/>
                  </a:cubicBezTo>
                  <a:cubicBezTo>
                    <a:pt x="423" y="169"/>
                    <a:pt x="423" y="169"/>
                    <a:pt x="423" y="169"/>
                  </a:cubicBezTo>
                  <a:cubicBezTo>
                    <a:pt x="435" y="169"/>
                    <a:pt x="445" y="160"/>
                    <a:pt x="445" y="148"/>
                  </a:cubicBezTo>
                  <a:cubicBezTo>
                    <a:pt x="445" y="28"/>
                    <a:pt x="445" y="28"/>
                    <a:pt x="445" y="28"/>
                  </a:cubicBezTo>
                  <a:cubicBezTo>
                    <a:pt x="445" y="16"/>
                    <a:pt x="435" y="6"/>
                    <a:pt x="423" y="6"/>
                  </a:cubicBezTo>
                  <a:moveTo>
                    <a:pt x="697" y="49"/>
                  </a:moveTo>
                  <a:cubicBezTo>
                    <a:pt x="714" y="49"/>
                    <a:pt x="714" y="49"/>
                    <a:pt x="714" y="49"/>
                  </a:cubicBezTo>
                  <a:cubicBezTo>
                    <a:pt x="716" y="49"/>
                    <a:pt x="718" y="47"/>
                    <a:pt x="718" y="45"/>
                  </a:cubicBezTo>
                  <a:cubicBezTo>
                    <a:pt x="718" y="34"/>
                    <a:pt x="718" y="34"/>
                    <a:pt x="718" y="34"/>
                  </a:cubicBezTo>
                  <a:cubicBezTo>
                    <a:pt x="872" y="34"/>
                    <a:pt x="872" y="34"/>
                    <a:pt x="872" y="34"/>
                  </a:cubicBezTo>
                  <a:cubicBezTo>
                    <a:pt x="872" y="45"/>
                    <a:pt x="872" y="45"/>
                    <a:pt x="872" y="45"/>
                  </a:cubicBezTo>
                  <a:cubicBezTo>
                    <a:pt x="872" y="47"/>
                    <a:pt x="873" y="49"/>
                    <a:pt x="875" y="49"/>
                  </a:cubicBezTo>
                  <a:cubicBezTo>
                    <a:pt x="893" y="49"/>
                    <a:pt x="893" y="49"/>
                    <a:pt x="893" y="49"/>
                  </a:cubicBezTo>
                  <a:cubicBezTo>
                    <a:pt x="895" y="49"/>
                    <a:pt x="897" y="47"/>
                    <a:pt x="897" y="45"/>
                  </a:cubicBezTo>
                  <a:cubicBezTo>
                    <a:pt x="897" y="32"/>
                    <a:pt x="897" y="32"/>
                    <a:pt x="897" y="32"/>
                  </a:cubicBezTo>
                  <a:cubicBezTo>
                    <a:pt x="897" y="22"/>
                    <a:pt x="888" y="13"/>
                    <a:pt x="877" y="13"/>
                  </a:cubicBezTo>
                  <a:cubicBezTo>
                    <a:pt x="811" y="13"/>
                    <a:pt x="811" y="13"/>
                    <a:pt x="811" y="13"/>
                  </a:cubicBezTo>
                  <a:cubicBezTo>
                    <a:pt x="811" y="4"/>
                    <a:pt x="811" y="4"/>
                    <a:pt x="811" y="4"/>
                  </a:cubicBezTo>
                  <a:cubicBezTo>
                    <a:pt x="811" y="2"/>
                    <a:pt x="809" y="0"/>
                    <a:pt x="807" y="0"/>
                  </a:cubicBezTo>
                  <a:cubicBezTo>
                    <a:pt x="782" y="0"/>
                    <a:pt x="782" y="0"/>
                    <a:pt x="782" y="0"/>
                  </a:cubicBezTo>
                  <a:cubicBezTo>
                    <a:pt x="780" y="0"/>
                    <a:pt x="778" y="2"/>
                    <a:pt x="778" y="4"/>
                  </a:cubicBezTo>
                  <a:cubicBezTo>
                    <a:pt x="778" y="13"/>
                    <a:pt x="778" y="13"/>
                    <a:pt x="778" y="13"/>
                  </a:cubicBezTo>
                  <a:cubicBezTo>
                    <a:pt x="712" y="13"/>
                    <a:pt x="712" y="13"/>
                    <a:pt x="712" y="13"/>
                  </a:cubicBezTo>
                  <a:cubicBezTo>
                    <a:pt x="702" y="13"/>
                    <a:pt x="693" y="22"/>
                    <a:pt x="693" y="32"/>
                  </a:cubicBezTo>
                  <a:cubicBezTo>
                    <a:pt x="693" y="45"/>
                    <a:pt x="693" y="45"/>
                    <a:pt x="693" y="45"/>
                  </a:cubicBezTo>
                  <a:cubicBezTo>
                    <a:pt x="693" y="47"/>
                    <a:pt x="695" y="49"/>
                    <a:pt x="697" y="49"/>
                  </a:cubicBezTo>
                  <a:moveTo>
                    <a:pt x="179" y="115"/>
                  </a:moveTo>
                  <a:cubicBezTo>
                    <a:pt x="122" y="115"/>
                    <a:pt x="122" y="115"/>
                    <a:pt x="122" y="115"/>
                  </a:cubicBezTo>
                  <a:cubicBezTo>
                    <a:pt x="122" y="49"/>
                    <a:pt x="122" y="49"/>
                    <a:pt x="122" y="49"/>
                  </a:cubicBezTo>
                  <a:cubicBezTo>
                    <a:pt x="179" y="49"/>
                    <a:pt x="179" y="49"/>
                    <a:pt x="179" y="49"/>
                  </a:cubicBezTo>
                  <a:lnTo>
                    <a:pt x="179" y="115"/>
                  </a:lnTo>
                  <a:close/>
                  <a:moveTo>
                    <a:pt x="88" y="115"/>
                  </a:moveTo>
                  <a:cubicBezTo>
                    <a:pt x="31" y="115"/>
                    <a:pt x="31" y="115"/>
                    <a:pt x="31" y="115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88" y="49"/>
                    <a:pt x="88" y="49"/>
                    <a:pt x="88" y="49"/>
                  </a:cubicBezTo>
                  <a:lnTo>
                    <a:pt x="88" y="115"/>
                  </a:lnTo>
                  <a:close/>
                  <a:moveTo>
                    <a:pt x="188" y="2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22" y="5"/>
                    <a:pt x="122" y="5"/>
                    <a:pt x="122" y="5"/>
                  </a:cubicBezTo>
                  <a:cubicBezTo>
                    <a:pt x="122" y="3"/>
                    <a:pt x="120" y="1"/>
                    <a:pt x="118" y="1"/>
                  </a:cubicBezTo>
                  <a:cubicBezTo>
                    <a:pt x="91" y="1"/>
                    <a:pt x="91" y="1"/>
                    <a:pt x="91" y="1"/>
                  </a:cubicBezTo>
                  <a:cubicBezTo>
                    <a:pt x="89" y="1"/>
                    <a:pt x="88" y="3"/>
                    <a:pt x="88" y="5"/>
                  </a:cubicBezTo>
                  <a:cubicBezTo>
                    <a:pt x="88" y="24"/>
                    <a:pt x="88" y="24"/>
                    <a:pt x="88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10" y="24"/>
                    <a:pt x="0" y="34"/>
                    <a:pt x="0" y="46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130"/>
                    <a:pt x="10" y="140"/>
                    <a:pt x="22" y="140"/>
                  </a:cubicBezTo>
                  <a:cubicBezTo>
                    <a:pt x="88" y="140"/>
                    <a:pt x="88" y="140"/>
                    <a:pt x="88" y="140"/>
                  </a:cubicBezTo>
                  <a:cubicBezTo>
                    <a:pt x="88" y="171"/>
                    <a:pt x="88" y="171"/>
                    <a:pt x="88" y="171"/>
                  </a:cubicBezTo>
                  <a:cubicBezTo>
                    <a:pt x="88" y="173"/>
                    <a:pt x="89" y="174"/>
                    <a:pt x="91" y="174"/>
                  </a:cubicBezTo>
                  <a:cubicBezTo>
                    <a:pt x="118" y="174"/>
                    <a:pt x="118" y="174"/>
                    <a:pt x="118" y="174"/>
                  </a:cubicBezTo>
                  <a:cubicBezTo>
                    <a:pt x="120" y="174"/>
                    <a:pt x="122" y="173"/>
                    <a:pt x="122" y="171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88" y="140"/>
                    <a:pt x="188" y="140"/>
                    <a:pt x="188" y="140"/>
                  </a:cubicBezTo>
                  <a:cubicBezTo>
                    <a:pt x="200" y="140"/>
                    <a:pt x="210" y="130"/>
                    <a:pt x="210" y="118"/>
                  </a:cubicBezTo>
                  <a:cubicBezTo>
                    <a:pt x="210" y="46"/>
                    <a:pt x="210" y="46"/>
                    <a:pt x="210" y="46"/>
                  </a:cubicBezTo>
                  <a:cubicBezTo>
                    <a:pt x="210" y="34"/>
                    <a:pt x="200" y="24"/>
                    <a:pt x="188" y="24"/>
                  </a:cubicBezTo>
                  <a:moveTo>
                    <a:pt x="401" y="104"/>
                  </a:moveTo>
                  <a:cubicBezTo>
                    <a:pt x="379" y="104"/>
                    <a:pt x="379" y="104"/>
                    <a:pt x="379" y="104"/>
                  </a:cubicBezTo>
                  <a:cubicBezTo>
                    <a:pt x="379" y="112"/>
                    <a:pt x="379" y="112"/>
                    <a:pt x="379" y="112"/>
                  </a:cubicBezTo>
                  <a:cubicBezTo>
                    <a:pt x="357" y="112"/>
                    <a:pt x="357" y="112"/>
                    <a:pt x="357" y="112"/>
                  </a:cubicBezTo>
                  <a:cubicBezTo>
                    <a:pt x="357" y="93"/>
                    <a:pt x="357" y="93"/>
                    <a:pt x="357" y="93"/>
                  </a:cubicBezTo>
                  <a:cubicBezTo>
                    <a:pt x="395" y="93"/>
                    <a:pt x="395" y="93"/>
                    <a:pt x="395" y="93"/>
                  </a:cubicBezTo>
                  <a:cubicBezTo>
                    <a:pt x="395" y="75"/>
                    <a:pt x="395" y="75"/>
                    <a:pt x="395" y="75"/>
                  </a:cubicBezTo>
                  <a:cubicBezTo>
                    <a:pt x="357" y="75"/>
                    <a:pt x="357" y="75"/>
                    <a:pt x="357" y="75"/>
                  </a:cubicBezTo>
                  <a:cubicBezTo>
                    <a:pt x="357" y="61"/>
                    <a:pt x="357" y="61"/>
                    <a:pt x="357" y="61"/>
                  </a:cubicBezTo>
                  <a:cubicBezTo>
                    <a:pt x="401" y="61"/>
                    <a:pt x="401" y="61"/>
                    <a:pt x="401" y="61"/>
                  </a:cubicBezTo>
                  <a:cubicBezTo>
                    <a:pt x="401" y="41"/>
                    <a:pt x="401" y="41"/>
                    <a:pt x="401" y="41"/>
                  </a:cubicBezTo>
                  <a:cubicBezTo>
                    <a:pt x="284" y="41"/>
                    <a:pt x="284" y="41"/>
                    <a:pt x="284" y="41"/>
                  </a:cubicBezTo>
                  <a:cubicBezTo>
                    <a:pt x="284" y="61"/>
                    <a:pt x="284" y="61"/>
                    <a:pt x="284" y="61"/>
                  </a:cubicBezTo>
                  <a:cubicBezTo>
                    <a:pt x="328" y="61"/>
                    <a:pt x="328" y="61"/>
                    <a:pt x="328" y="61"/>
                  </a:cubicBezTo>
                  <a:cubicBezTo>
                    <a:pt x="328" y="75"/>
                    <a:pt x="328" y="75"/>
                    <a:pt x="328" y="75"/>
                  </a:cubicBezTo>
                  <a:cubicBezTo>
                    <a:pt x="290" y="75"/>
                    <a:pt x="290" y="75"/>
                    <a:pt x="290" y="75"/>
                  </a:cubicBezTo>
                  <a:cubicBezTo>
                    <a:pt x="290" y="93"/>
                    <a:pt x="290" y="93"/>
                    <a:pt x="290" y="93"/>
                  </a:cubicBezTo>
                  <a:cubicBezTo>
                    <a:pt x="328" y="93"/>
                    <a:pt x="328" y="93"/>
                    <a:pt x="328" y="93"/>
                  </a:cubicBezTo>
                  <a:cubicBezTo>
                    <a:pt x="328" y="112"/>
                    <a:pt x="328" y="112"/>
                    <a:pt x="328" y="112"/>
                  </a:cubicBezTo>
                  <a:cubicBezTo>
                    <a:pt x="284" y="112"/>
                    <a:pt x="284" y="112"/>
                    <a:pt x="284" y="112"/>
                  </a:cubicBezTo>
                  <a:cubicBezTo>
                    <a:pt x="284" y="132"/>
                    <a:pt x="284" y="132"/>
                    <a:pt x="284" y="132"/>
                  </a:cubicBezTo>
                  <a:cubicBezTo>
                    <a:pt x="401" y="132"/>
                    <a:pt x="401" y="132"/>
                    <a:pt x="401" y="132"/>
                  </a:cubicBezTo>
                  <a:lnTo>
                    <a:pt x="401" y="104"/>
                  </a:lnTo>
                  <a:close/>
                  <a:moveTo>
                    <a:pt x="516" y="102"/>
                  </a:moveTo>
                  <a:cubicBezTo>
                    <a:pt x="542" y="102"/>
                    <a:pt x="542" y="102"/>
                    <a:pt x="542" y="102"/>
                  </a:cubicBezTo>
                  <a:cubicBezTo>
                    <a:pt x="544" y="102"/>
                    <a:pt x="545" y="100"/>
                    <a:pt x="544" y="98"/>
                  </a:cubicBezTo>
                  <a:cubicBezTo>
                    <a:pt x="519" y="49"/>
                    <a:pt x="519" y="49"/>
                    <a:pt x="519" y="49"/>
                  </a:cubicBezTo>
                  <a:cubicBezTo>
                    <a:pt x="518" y="48"/>
                    <a:pt x="515" y="46"/>
                    <a:pt x="512" y="46"/>
                  </a:cubicBezTo>
                  <a:cubicBezTo>
                    <a:pt x="487" y="46"/>
                    <a:pt x="487" y="46"/>
                    <a:pt x="487" y="46"/>
                  </a:cubicBezTo>
                  <a:cubicBezTo>
                    <a:pt x="485" y="46"/>
                    <a:pt x="484" y="48"/>
                    <a:pt x="485" y="49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511" y="100"/>
                    <a:pt x="513" y="102"/>
                    <a:pt x="516" y="102"/>
                  </a:cubicBezTo>
                  <a:moveTo>
                    <a:pt x="669" y="115"/>
                  </a:moveTo>
                  <a:cubicBezTo>
                    <a:pt x="587" y="115"/>
                    <a:pt x="587" y="115"/>
                    <a:pt x="587" y="115"/>
                  </a:cubicBezTo>
                  <a:cubicBezTo>
                    <a:pt x="587" y="33"/>
                    <a:pt x="587" y="33"/>
                    <a:pt x="587" y="33"/>
                  </a:cubicBezTo>
                  <a:cubicBezTo>
                    <a:pt x="662" y="33"/>
                    <a:pt x="662" y="33"/>
                    <a:pt x="662" y="33"/>
                  </a:cubicBezTo>
                  <a:cubicBezTo>
                    <a:pt x="664" y="33"/>
                    <a:pt x="666" y="31"/>
                    <a:pt x="666" y="29"/>
                  </a:cubicBezTo>
                  <a:cubicBezTo>
                    <a:pt x="666" y="14"/>
                    <a:pt x="666" y="14"/>
                    <a:pt x="666" y="14"/>
                  </a:cubicBezTo>
                  <a:cubicBezTo>
                    <a:pt x="666" y="11"/>
                    <a:pt x="664" y="10"/>
                    <a:pt x="662" y="10"/>
                  </a:cubicBezTo>
                  <a:cubicBezTo>
                    <a:pt x="479" y="10"/>
                    <a:pt x="479" y="10"/>
                    <a:pt x="479" y="10"/>
                  </a:cubicBezTo>
                  <a:cubicBezTo>
                    <a:pt x="477" y="10"/>
                    <a:pt x="475" y="11"/>
                    <a:pt x="475" y="14"/>
                  </a:cubicBezTo>
                  <a:cubicBezTo>
                    <a:pt x="475" y="29"/>
                    <a:pt x="475" y="29"/>
                    <a:pt x="475" y="29"/>
                  </a:cubicBezTo>
                  <a:cubicBezTo>
                    <a:pt x="475" y="31"/>
                    <a:pt x="477" y="33"/>
                    <a:pt x="479" y="33"/>
                  </a:cubicBezTo>
                  <a:cubicBezTo>
                    <a:pt x="554" y="33"/>
                    <a:pt x="554" y="33"/>
                    <a:pt x="554" y="33"/>
                  </a:cubicBezTo>
                  <a:cubicBezTo>
                    <a:pt x="554" y="115"/>
                    <a:pt x="554" y="115"/>
                    <a:pt x="554" y="115"/>
                  </a:cubicBezTo>
                  <a:cubicBezTo>
                    <a:pt x="472" y="115"/>
                    <a:pt x="472" y="115"/>
                    <a:pt x="472" y="115"/>
                  </a:cubicBezTo>
                  <a:cubicBezTo>
                    <a:pt x="470" y="115"/>
                    <a:pt x="469" y="117"/>
                    <a:pt x="469" y="119"/>
                  </a:cubicBezTo>
                  <a:cubicBezTo>
                    <a:pt x="469" y="135"/>
                    <a:pt x="469" y="135"/>
                    <a:pt x="469" y="135"/>
                  </a:cubicBezTo>
                  <a:cubicBezTo>
                    <a:pt x="469" y="137"/>
                    <a:pt x="470" y="139"/>
                    <a:pt x="472" y="139"/>
                  </a:cubicBezTo>
                  <a:cubicBezTo>
                    <a:pt x="554" y="139"/>
                    <a:pt x="554" y="139"/>
                    <a:pt x="554" y="139"/>
                  </a:cubicBezTo>
                  <a:cubicBezTo>
                    <a:pt x="554" y="171"/>
                    <a:pt x="554" y="171"/>
                    <a:pt x="554" y="171"/>
                  </a:cubicBezTo>
                  <a:cubicBezTo>
                    <a:pt x="554" y="173"/>
                    <a:pt x="556" y="174"/>
                    <a:pt x="558" y="174"/>
                  </a:cubicBezTo>
                  <a:cubicBezTo>
                    <a:pt x="583" y="174"/>
                    <a:pt x="583" y="174"/>
                    <a:pt x="583" y="174"/>
                  </a:cubicBezTo>
                  <a:cubicBezTo>
                    <a:pt x="585" y="174"/>
                    <a:pt x="587" y="173"/>
                    <a:pt x="587" y="171"/>
                  </a:cubicBezTo>
                  <a:cubicBezTo>
                    <a:pt x="587" y="139"/>
                    <a:pt x="587" y="139"/>
                    <a:pt x="587" y="139"/>
                  </a:cubicBezTo>
                  <a:cubicBezTo>
                    <a:pt x="669" y="139"/>
                    <a:pt x="669" y="139"/>
                    <a:pt x="669" y="139"/>
                  </a:cubicBezTo>
                  <a:cubicBezTo>
                    <a:pt x="671" y="139"/>
                    <a:pt x="673" y="137"/>
                    <a:pt x="673" y="135"/>
                  </a:cubicBezTo>
                  <a:cubicBezTo>
                    <a:pt x="673" y="119"/>
                    <a:pt x="673" y="119"/>
                    <a:pt x="673" y="119"/>
                  </a:cubicBezTo>
                  <a:cubicBezTo>
                    <a:pt x="673" y="117"/>
                    <a:pt x="671" y="115"/>
                    <a:pt x="669" y="115"/>
                  </a:cubicBezTo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4F3F4A1C-1634-4B72-B7DD-329104072BE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8525" y="693738"/>
              <a:ext cx="77788" cy="76200"/>
            </a:xfrm>
            <a:custGeom>
              <a:avLst/>
              <a:gdLst>
                <a:gd name="T0" fmla="*/ 44 w 48"/>
                <a:gd name="T1" fmla="*/ 0 h 46"/>
                <a:gd name="T2" fmla="*/ 4 w 48"/>
                <a:gd name="T3" fmla="*/ 0 h 46"/>
                <a:gd name="T4" fmla="*/ 0 w 48"/>
                <a:gd name="T5" fmla="*/ 3 h 46"/>
                <a:gd name="T6" fmla="*/ 0 w 48"/>
                <a:gd name="T7" fmla="*/ 43 h 46"/>
                <a:gd name="T8" fmla="*/ 4 w 48"/>
                <a:gd name="T9" fmla="*/ 46 h 46"/>
                <a:gd name="T10" fmla="*/ 44 w 48"/>
                <a:gd name="T11" fmla="*/ 46 h 46"/>
                <a:gd name="T12" fmla="*/ 48 w 48"/>
                <a:gd name="T13" fmla="*/ 43 h 46"/>
                <a:gd name="T14" fmla="*/ 48 w 48"/>
                <a:gd name="T15" fmla="*/ 3 h 46"/>
                <a:gd name="T16" fmla="*/ 44 w 48"/>
                <a:gd name="T17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46">
                  <a:moveTo>
                    <a:pt x="4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5"/>
                    <a:pt x="2" y="46"/>
                    <a:pt x="4" y="46"/>
                  </a:cubicBezTo>
                  <a:cubicBezTo>
                    <a:pt x="44" y="46"/>
                    <a:pt x="44" y="46"/>
                    <a:pt x="44" y="46"/>
                  </a:cubicBezTo>
                  <a:cubicBezTo>
                    <a:pt x="46" y="46"/>
                    <a:pt x="48" y="45"/>
                    <a:pt x="48" y="43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1"/>
                    <a:pt x="46" y="0"/>
                    <a:pt x="44" y="0"/>
                  </a:cubicBezTo>
                </a:path>
              </a:pathLst>
            </a:custGeom>
            <a:solidFill>
              <a:srgbClr val="005E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7" name="Oval 7">
              <a:extLst>
                <a:ext uri="{FF2B5EF4-FFF2-40B4-BE49-F238E27FC236}">
                  <a16:creationId xmlns:a16="http://schemas.microsoft.com/office/drawing/2014/main" id="{E67C76DE-CC76-49FD-B756-EF02671D33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85888" y="952500"/>
              <a:ext cx="17463" cy="20637"/>
            </a:xfrm>
            <a:prstGeom prst="ellipse">
              <a:avLst/>
            </a:pr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459DF09B-5642-4A1F-A8B9-10F3721142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1713" y="893763"/>
              <a:ext cx="142875" cy="133350"/>
            </a:xfrm>
            <a:custGeom>
              <a:avLst/>
              <a:gdLst>
                <a:gd name="T0" fmla="*/ 43 w 88"/>
                <a:gd name="T1" fmla="*/ 0 h 81"/>
                <a:gd name="T2" fmla="*/ 51 w 88"/>
                <a:gd name="T3" fmla="*/ 4 h 81"/>
                <a:gd name="T4" fmla="*/ 84 w 88"/>
                <a:gd name="T5" fmla="*/ 22 h 81"/>
                <a:gd name="T6" fmla="*/ 87 w 88"/>
                <a:gd name="T7" fmla="*/ 28 h 81"/>
                <a:gd name="T8" fmla="*/ 82 w 88"/>
                <a:gd name="T9" fmla="*/ 29 h 81"/>
                <a:gd name="T10" fmla="*/ 49 w 88"/>
                <a:gd name="T11" fmla="*/ 12 h 81"/>
                <a:gd name="T12" fmla="*/ 43 w 88"/>
                <a:gd name="T13" fmla="*/ 8 h 81"/>
                <a:gd name="T14" fmla="*/ 38 w 88"/>
                <a:gd name="T15" fmla="*/ 11 h 81"/>
                <a:gd name="T16" fmla="*/ 6 w 88"/>
                <a:gd name="T17" fmla="*/ 30 h 81"/>
                <a:gd name="T18" fmla="*/ 1 w 88"/>
                <a:gd name="T19" fmla="*/ 28 h 81"/>
                <a:gd name="T20" fmla="*/ 3 w 88"/>
                <a:gd name="T21" fmla="*/ 23 h 81"/>
                <a:gd name="T22" fmla="*/ 35 w 88"/>
                <a:gd name="T23" fmla="*/ 5 h 81"/>
                <a:gd name="T24" fmla="*/ 43 w 88"/>
                <a:gd name="T25" fmla="*/ 0 h 81"/>
                <a:gd name="T26" fmla="*/ 21 w 88"/>
                <a:gd name="T27" fmla="*/ 25 h 81"/>
                <a:gd name="T28" fmla="*/ 68 w 88"/>
                <a:gd name="T29" fmla="*/ 25 h 81"/>
                <a:gd name="T30" fmla="*/ 71 w 88"/>
                <a:gd name="T31" fmla="*/ 28 h 81"/>
                <a:gd name="T32" fmla="*/ 68 w 88"/>
                <a:gd name="T33" fmla="*/ 31 h 81"/>
                <a:gd name="T34" fmla="*/ 48 w 88"/>
                <a:gd name="T35" fmla="*/ 31 h 81"/>
                <a:gd name="T36" fmla="*/ 48 w 88"/>
                <a:gd name="T37" fmla="*/ 42 h 81"/>
                <a:gd name="T38" fmla="*/ 80 w 88"/>
                <a:gd name="T39" fmla="*/ 42 h 81"/>
                <a:gd name="T40" fmla="*/ 83 w 88"/>
                <a:gd name="T41" fmla="*/ 46 h 81"/>
                <a:gd name="T42" fmla="*/ 80 w 88"/>
                <a:gd name="T43" fmla="*/ 49 h 81"/>
                <a:gd name="T44" fmla="*/ 48 w 88"/>
                <a:gd name="T45" fmla="*/ 49 h 81"/>
                <a:gd name="T46" fmla="*/ 48 w 88"/>
                <a:gd name="T47" fmla="*/ 74 h 81"/>
                <a:gd name="T48" fmla="*/ 61 w 88"/>
                <a:gd name="T49" fmla="*/ 74 h 81"/>
                <a:gd name="T50" fmla="*/ 60 w 88"/>
                <a:gd name="T51" fmla="*/ 70 h 81"/>
                <a:gd name="T52" fmla="*/ 70 w 88"/>
                <a:gd name="T53" fmla="*/ 53 h 81"/>
                <a:gd name="T54" fmla="*/ 75 w 88"/>
                <a:gd name="T55" fmla="*/ 51 h 81"/>
                <a:gd name="T56" fmla="*/ 76 w 88"/>
                <a:gd name="T57" fmla="*/ 56 h 81"/>
                <a:gd name="T58" fmla="*/ 66 w 88"/>
                <a:gd name="T59" fmla="*/ 73 h 81"/>
                <a:gd name="T60" fmla="*/ 64 w 88"/>
                <a:gd name="T61" fmla="*/ 74 h 81"/>
                <a:gd name="T62" fmla="*/ 84 w 88"/>
                <a:gd name="T63" fmla="*/ 74 h 81"/>
                <a:gd name="T64" fmla="*/ 87 w 88"/>
                <a:gd name="T65" fmla="*/ 77 h 81"/>
                <a:gd name="T66" fmla="*/ 84 w 88"/>
                <a:gd name="T67" fmla="*/ 81 h 81"/>
                <a:gd name="T68" fmla="*/ 6 w 88"/>
                <a:gd name="T69" fmla="*/ 81 h 81"/>
                <a:gd name="T70" fmla="*/ 2 w 88"/>
                <a:gd name="T71" fmla="*/ 77 h 81"/>
                <a:gd name="T72" fmla="*/ 6 w 88"/>
                <a:gd name="T73" fmla="*/ 74 h 81"/>
                <a:gd name="T74" fmla="*/ 40 w 88"/>
                <a:gd name="T75" fmla="*/ 74 h 81"/>
                <a:gd name="T76" fmla="*/ 40 w 88"/>
                <a:gd name="T77" fmla="*/ 49 h 81"/>
                <a:gd name="T78" fmla="*/ 9 w 88"/>
                <a:gd name="T79" fmla="*/ 49 h 81"/>
                <a:gd name="T80" fmla="*/ 6 w 88"/>
                <a:gd name="T81" fmla="*/ 46 h 81"/>
                <a:gd name="T82" fmla="*/ 9 w 88"/>
                <a:gd name="T83" fmla="*/ 42 h 81"/>
                <a:gd name="T84" fmla="*/ 40 w 88"/>
                <a:gd name="T85" fmla="*/ 42 h 81"/>
                <a:gd name="T86" fmla="*/ 40 w 88"/>
                <a:gd name="T87" fmla="*/ 31 h 81"/>
                <a:gd name="T88" fmla="*/ 21 w 88"/>
                <a:gd name="T89" fmla="*/ 31 h 81"/>
                <a:gd name="T90" fmla="*/ 18 w 88"/>
                <a:gd name="T91" fmla="*/ 28 h 81"/>
                <a:gd name="T92" fmla="*/ 21 w 88"/>
                <a:gd name="T93" fmla="*/ 25 h 81"/>
                <a:gd name="T94" fmla="*/ 20 w 88"/>
                <a:gd name="T95" fmla="*/ 54 h 81"/>
                <a:gd name="T96" fmla="*/ 27 w 88"/>
                <a:gd name="T97" fmla="*/ 67 h 81"/>
                <a:gd name="T98" fmla="*/ 26 w 88"/>
                <a:gd name="T99" fmla="*/ 72 h 81"/>
                <a:gd name="T100" fmla="*/ 21 w 88"/>
                <a:gd name="T101" fmla="*/ 71 h 81"/>
                <a:gd name="T102" fmla="*/ 14 w 88"/>
                <a:gd name="T103" fmla="*/ 57 h 81"/>
                <a:gd name="T104" fmla="*/ 14 w 88"/>
                <a:gd name="T105" fmla="*/ 53 h 81"/>
                <a:gd name="T106" fmla="*/ 20 w 88"/>
                <a:gd name="T107" fmla="*/ 54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8" h="81">
                  <a:moveTo>
                    <a:pt x="43" y="0"/>
                  </a:moveTo>
                  <a:cubicBezTo>
                    <a:pt x="44" y="0"/>
                    <a:pt x="47" y="1"/>
                    <a:pt x="51" y="4"/>
                  </a:cubicBezTo>
                  <a:cubicBezTo>
                    <a:pt x="61" y="12"/>
                    <a:pt x="72" y="18"/>
                    <a:pt x="84" y="22"/>
                  </a:cubicBezTo>
                  <a:cubicBezTo>
                    <a:pt x="87" y="23"/>
                    <a:pt x="88" y="25"/>
                    <a:pt x="87" y="28"/>
                  </a:cubicBezTo>
                  <a:cubicBezTo>
                    <a:pt x="86" y="30"/>
                    <a:pt x="85" y="30"/>
                    <a:pt x="82" y="29"/>
                  </a:cubicBezTo>
                  <a:cubicBezTo>
                    <a:pt x="70" y="25"/>
                    <a:pt x="59" y="19"/>
                    <a:pt x="49" y="12"/>
                  </a:cubicBezTo>
                  <a:cubicBezTo>
                    <a:pt x="46" y="10"/>
                    <a:pt x="44" y="8"/>
                    <a:pt x="43" y="8"/>
                  </a:cubicBezTo>
                  <a:cubicBezTo>
                    <a:pt x="43" y="8"/>
                    <a:pt x="41" y="9"/>
                    <a:pt x="38" y="11"/>
                  </a:cubicBezTo>
                  <a:cubicBezTo>
                    <a:pt x="28" y="19"/>
                    <a:pt x="18" y="25"/>
                    <a:pt x="6" y="30"/>
                  </a:cubicBezTo>
                  <a:cubicBezTo>
                    <a:pt x="4" y="31"/>
                    <a:pt x="2" y="30"/>
                    <a:pt x="1" y="28"/>
                  </a:cubicBezTo>
                  <a:cubicBezTo>
                    <a:pt x="0" y="26"/>
                    <a:pt x="1" y="24"/>
                    <a:pt x="3" y="23"/>
                  </a:cubicBezTo>
                  <a:cubicBezTo>
                    <a:pt x="15" y="19"/>
                    <a:pt x="26" y="13"/>
                    <a:pt x="35" y="5"/>
                  </a:cubicBezTo>
                  <a:cubicBezTo>
                    <a:pt x="39" y="2"/>
                    <a:pt x="42" y="0"/>
                    <a:pt x="43" y="0"/>
                  </a:cubicBezTo>
                  <a:close/>
                  <a:moveTo>
                    <a:pt x="21" y="25"/>
                  </a:moveTo>
                  <a:cubicBezTo>
                    <a:pt x="68" y="25"/>
                    <a:pt x="68" y="25"/>
                    <a:pt x="68" y="25"/>
                  </a:cubicBezTo>
                  <a:cubicBezTo>
                    <a:pt x="70" y="25"/>
                    <a:pt x="71" y="26"/>
                    <a:pt x="71" y="28"/>
                  </a:cubicBezTo>
                  <a:cubicBezTo>
                    <a:pt x="71" y="30"/>
                    <a:pt x="70" y="31"/>
                    <a:pt x="6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80" y="42"/>
                    <a:pt x="80" y="42"/>
                    <a:pt x="80" y="42"/>
                  </a:cubicBezTo>
                  <a:cubicBezTo>
                    <a:pt x="82" y="42"/>
                    <a:pt x="83" y="43"/>
                    <a:pt x="83" y="46"/>
                  </a:cubicBezTo>
                  <a:cubicBezTo>
                    <a:pt x="83" y="48"/>
                    <a:pt x="82" y="49"/>
                    <a:pt x="80" y="49"/>
                  </a:cubicBezTo>
                  <a:cubicBezTo>
                    <a:pt x="48" y="49"/>
                    <a:pt x="48" y="49"/>
                    <a:pt x="48" y="49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59" y="73"/>
                    <a:pt x="59" y="72"/>
                    <a:pt x="60" y="70"/>
                  </a:cubicBezTo>
                  <a:cubicBezTo>
                    <a:pt x="64" y="64"/>
                    <a:pt x="67" y="59"/>
                    <a:pt x="70" y="53"/>
                  </a:cubicBezTo>
                  <a:cubicBezTo>
                    <a:pt x="71" y="51"/>
                    <a:pt x="73" y="50"/>
                    <a:pt x="75" y="51"/>
                  </a:cubicBezTo>
                  <a:cubicBezTo>
                    <a:pt x="76" y="52"/>
                    <a:pt x="77" y="54"/>
                    <a:pt x="76" y="56"/>
                  </a:cubicBezTo>
                  <a:cubicBezTo>
                    <a:pt x="72" y="65"/>
                    <a:pt x="69" y="70"/>
                    <a:pt x="66" y="73"/>
                  </a:cubicBezTo>
                  <a:cubicBezTo>
                    <a:pt x="65" y="74"/>
                    <a:pt x="65" y="74"/>
                    <a:pt x="64" y="74"/>
                  </a:cubicBezTo>
                  <a:cubicBezTo>
                    <a:pt x="84" y="74"/>
                    <a:pt x="84" y="74"/>
                    <a:pt x="84" y="74"/>
                  </a:cubicBezTo>
                  <a:cubicBezTo>
                    <a:pt x="86" y="74"/>
                    <a:pt x="87" y="75"/>
                    <a:pt x="87" y="77"/>
                  </a:cubicBezTo>
                  <a:cubicBezTo>
                    <a:pt x="87" y="79"/>
                    <a:pt x="86" y="81"/>
                    <a:pt x="84" y="81"/>
                  </a:cubicBezTo>
                  <a:cubicBezTo>
                    <a:pt x="6" y="81"/>
                    <a:pt x="6" y="81"/>
                    <a:pt x="6" y="81"/>
                  </a:cubicBezTo>
                  <a:cubicBezTo>
                    <a:pt x="3" y="81"/>
                    <a:pt x="2" y="79"/>
                    <a:pt x="2" y="77"/>
                  </a:cubicBezTo>
                  <a:cubicBezTo>
                    <a:pt x="2" y="75"/>
                    <a:pt x="3" y="74"/>
                    <a:pt x="6" y="74"/>
                  </a:cubicBezTo>
                  <a:cubicBezTo>
                    <a:pt x="40" y="74"/>
                    <a:pt x="40" y="74"/>
                    <a:pt x="40" y="74"/>
                  </a:cubicBezTo>
                  <a:cubicBezTo>
                    <a:pt x="40" y="49"/>
                    <a:pt x="40" y="49"/>
                    <a:pt x="40" y="49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7" y="49"/>
                    <a:pt x="6" y="48"/>
                    <a:pt x="6" y="46"/>
                  </a:cubicBezTo>
                  <a:cubicBezTo>
                    <a:pt x="6" y="43"/>
                    <a:pt x="7" y="42"/>
                    <a:pt x="9" y="42"/>
                  </a:cubicBezTo>
                  <a:cubicBezTo>
                    <a:pt x="40" y="42"/>
                    <a:pt x="40" y="42"/>
                    <a:pt x="40" y="42"/>
                  </a:cubicBezTo>
                  <a:cubicBezTo>
                    <a:pt x="40" y="31"/>
                    <a:pt x="40" y="31"/>
                    <a:pt x="40" y="31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19" y="31"/>
                    <a:pt x="18" y="30"/>
                    <a:pt x="18" y="28"/>
                  </a:cubicBezTo>
                  <a:cubicBezTo>
                    <a:pt x="18" y="26"/>
                    <a:pt x="19" y="25"/>
                    <a:pt x="21" y="25"/>
                  </a:cubicBezTo>
                  <a:close/>
                  <a:moveTo>
                    <a:pt x="20" y="54"/>
                  </a:moveTo>
                  <a:cubicBezTo>
                    <a:pt x="23" y="58"/>
                    <a:pt x="25" y="63"/>
                    <a:pt x="27" y="67"/>
                  </a:cubicBezTo>
                  <a:cubicBezTo>
                    <a:pt x="28" y="69"/>
                    <a:pt x="28" y="71"/>
                    <a:pt x="26" y="72"/>
                  </a:cubicBezTo>
                  <a:cubicBezTo>
                    <a:pt x="24" y="73"/>
                    <a:pt x="23" y="73"/>
                    <a:pt x="21" y="71"/>
                  </a:cubicBezTo>
                  <a:cubicBezTo>
                    <a:pt x="19" y="67"/>
                    <a:pt x="17" y="62"/>
                    <a:pt x="14" y="57"/>
                  </a:cubicBezTo>
                  <a:cubicBezTo>
                    <a:pt x="12" y="55"/>
                    <a:pt x="13" y="54"/>
                    <a:pt x="14" y="53"/>
                  </a:cubicBezTo>
                  <a:cubicBezTo>
                    <a:pt x="16" y="52"/>
                    <a:pt x="18" y="52"/>
                    <a:pt x="20" y="54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49D45AAA-2D22-4BDC-BECF-BE096787AF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68400" y="895350"/>
              <a:ext cx="136525" cy="139700"/>
            </a:xfrm>
            <a:custGeom>
              <a:avLst/>
              <a:gdLst>
                <a:gd name="T0" fmla="*/ 39 w 83"/>
                <a:gd name="T1" fmla="*/ 1 h 85"/>
                <a:gd name="T2" fmla="*/ 39 w 83"/>
                <a:gd name="T3" fmla="*/ 7 h 85"/>
                <a:gd name="T4" fmla="*/ 0 w 83"/>
                <a:gd name="T5" fmla="*/ 4 h 85"/>
                <a:gd name="T6" fmla="*/ 6 w 83"/>
                <a:gd name="T7" fmla="*/ 35 h 85"/>
                <a:gd name="T8" fmla="*/ 42 w 83"/>
                <a:gd name="T9" fmla="*/ 41 h 85"/>
                <a:gd name="T10" fmla="*/ 28 w 83"/>
                <a:gd name="T11" fmla="*/ 80 h 85"/>
                <a:gd name="T12" fmla="*/ 30 w 83"/>
                <a:gd name="T13" fmla="*/ 74 h 85"/>
                <a:gd name="T14" fmla="*/ 36 w 83"/>
                <a:gd name="T15" fmla="*/ 42 h 85"/>
                <a:gd name="T16" fmla="*/ 8 w 83"/>
                <a:gd name="T17" fmla="*/ 40 h 85"/>
                <a:gd name="T18" fmla="*/ 6 w 83"/>
                <a:gd name="T19" fmla="*/ 79 h 85"/>
                <a:gd name="T20" fmla="*/ 0 w 83"/>
                <a:gd name="T21" fmla="*/ 79 h 85"/>
                <a:gd name="T22" fmla="*/ 6 w 83"/>
                <a:gd name="T23" fmla="*/ 35 h 85"/>
                <a:gd name="T24" fmla="*/ 32 w 83"/>
                <a:gd name="T25" fmla="*/ 11 h 85"/>
                <a:gd name="T26" fmla="*/ 37 w 83"/>
                <a:gd name="T27" fmla="*/ 23 h 85"/>
                <a:gd name="T28" fmla="*/ 9 w 83"/>
                <a:gd name="T29" fmla="*/ 29 h 85"/>
                <a:gd name="T30" fmla="*/ 4 w 83"/>
                <a:gd name="T31" fmla="*/ 17 h 85"/>
                <a:gd name="T32" fmla="*/ 10 w 83"/>
                <a:gd name="T33" fmla="*/ 56 h 85"/>
                <a:gd name="T34" fmla="*/ 23 w 83"/>
                <a:gd name="T35" fmla="*/ 53 h 85"/>
                <a:gd name="T36" fmla="*/ 31 w 83"/>
                <a:gd name="T37" fmla="*/ 41 h 85"/>
                <a:gd name="T38" fmla="*/ 31 w 83"/>
                <a:gd name="T39" fmla="*/ 48 h 85"/>
                <a:gd name="T40" fmla="*/ 32 w 83"/>
                <a:gd name="T41" fmla="*/ 56 h 85"/>
                <a:gd name="T42" fmla="*/ 32 w 83"/>
                <a:gd name="T43" fmla="*/ 61 h 85"/>
                <a:gd name="T44" fmla="*/ 24 w 83"/>
                <a:gd name="T45" fmla="*/ 76 h 85"/>
                <a:gd name="T46" fmla="*/ 18 w 83"/>
                <a:gd name="T47" fmla="*/ 76 h 85"/>
                <a:gd name="T48" fmla="*/ 10 w 83"/>
                <a:gd name="T49" fmla="*/ 61 h 85"/>
                <a:gd name="T50" fmla="*/ 10 w 83"/>
                <a:gd name="T51" fmla="*/ 56 h 85"/>
                <a:gd name="T52" fmla="*/ 17 w 83"/>
                <a:gd name="T53" fmla="*/ 46 h 85"/>
                <a:gd name="T54" fmla="*/ 17 w 83"/>
                <a:gd name="T55" fmla="*/ 55 h 85"/>
                <a:gd name="T56" fmla="*/ 11 w 83"/>
                <a:gd name="T57" fmla="*/ 50 h 85"/>
                <a:gd name="T58" fmla="*/ 11 w 83"/>
                <a:gd name="T59" fmla="*/ 42 h 85"/>
                <a:gd name="T60" fmla="*/ 30 w 83"/>
                <a:gd name="T61" fmla="*/ 17 h 85"/>
                <a:gd name="T62" fmla="*/ 10 w 83"/>
                <a:gd name="T63" fmla="*/ 19 h 85"/>
                <a:gd name="T64" fmla="*/ 12 w 83"/>
                <a:gd name="T65" fmla="*/ 23 h 85"/>
                <a:gd name="T66" fmla="*/ 31 w 83"/>
                <a:gd name="T67" fmla="*/ 21 h 85"/>
                <a:gd name="T68" fmla="*/ 30 w 83"/>
                <a:gd name="T69" fmla="*/ 17 h 85"/>
                <a:gd name="T70" fmla="*/ 66 w 83"/>
                <a:gd name="T71" fmla="*/ 11 h 85"/>
                <a:gd name="T72" fmla="*/ 79 w 83"/>
                <a:gd name="T73" fmla="*/ 16 h 85"/>
                <a:gd name="T74" fmla="*/ 75 w 83"/>
                <a:gd name="T75" fmla="*/ 54 h 85"/>
                <a:gd name="T76" fmla="*/ 66 w 83"/>
                <a:gd name="T77" fmla="*/ 73 h 85"/>
                <a:gd name="T78" fmla="*/ 71 w 83"/>
                <a:gd name="T79" fmla="*/ 63 h 85"/>
                <a:gd name="T80" fmla="*/ 77 w 83"/>
                <a:gd name="T81" fmla="*/ 61 h 85"/>
                <a:gd name="T82" fmla="*/ 81 w 83"/>
                <a:gd name="T83" fmla="*/ 84 h 85"/>
                <a:gd name="T84" fmla="*/ 75 w 83"/>
                <a:gd name="T85" fmla="*/ 77 h 85"/>
                <a:gd name="T86" fmla="*/ 44 w 83"/>
                <a:gd name="T87" fmla="*/ 78 h 85"/>
                <a:gd name="T88" fmla="*/ 59 w 83"/>
                <a:gd name="T89" fmla="*/ 73 h 85"/>
                <a:gd name="T90" fmla="*/ 52 w 83"/>
                <a:gd name="T91" fmla="*/ 54 h 85"/>
                <a:gd name="T92" fmla="*/ 46 w 83"/>
                <a:gd name="T93" fmla="*/ 16 h 85"/>
                <a:gd name="T94" fmla="*/ 59 w 83"/>
                <a:gd name="T95" fmla="*/ 11 h 85"/>
                <a:gd name="T96" fmla="*/ 62 w 83"/>
                <a:gd name="T97" fmla="*/ 0 h 85"/>
                <a:gd name="T98" fmla="*/ 55 w 83"/>
                <a:gd name="T99" fmla="*/ 17 h 85"/>
                <a:gd name="T100" fmla="*/ 52 w 83"/>
                <a:gd name="T101" fmla="*/ 46 h 85"/>
                <a:gd name="T102" fmla="*/ 59 w 83"/>
                <a:gd name="T103" fmla="*/ 47 h 85"/>
                <a:gd name="T104" fmla="*/ 55 w 83"/>
                <a:gd name="T105" fmla="*/ 17 h 85"/>
                <a:gd name="T106" fmla="*/ 66 w 83"/>
                <a:gd name="T107" fmla="*/ 17 h 85"/>
                <a:gd name="T108" fmla="*/ 71 w 83"/>
                <a:gd name="T109" fmla="*/ 47 h 85"/>
                <a:gd name="T110" fmla="*/ 73 w 83"/>
                <a:gd name="T111" fmla="*/ 2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3" h="85">
                  <a:moveTo>
                    <a:pt x="4" y="1"/>
                  </a:moveTo>
                  <a:cubicBezTo>
                    <a:pt x="39" y="1"/>
                    <a:pt x="39" y="1"/>
                    <a:pt x="39" y="1"/>
                  </a:cubicBezTo>
                  <a:cubicBezTo>
                    <a:pt x="41" y="1"/>
                    <a:pt x="42" y="2"/>
                    <a:pt x="42" y="4"/>
                  </a:cubicBezTo>
                  <a:cubicBezTo>
                    <a:pt x="42" y="6"/>
                    <a:pt x="41" y="7"/>
                    <a:pt x="39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1" y="7"/>
                    <a:pt x="0" y="6"/>
                    <a:pt x="0" y="4"/>
                  </a:cubicBezTo>
                  <a:cubicBezTo>
                    <a:pt x="0" y="2"/>
                    <a:pt x="1" y="1"/>
                    <a:pt x="4" y="1"/>
                  </a:cubicBezTo>
                  <a:close/>
                  <a:moveTo>
                    <a:pt x="6" y="35"/>
                  </a:moveTo>
                  <a:cubicBezTo>
                    <a:pt x="35" y="35"/>
                    <a:pt x="35" y="35"/>
                    <a:pt x="35" y="35"/>
                  </a:cubicBezTo>
                  <a:cubicBezTo>
                    <a:pt x="40" y="35"/>
                    <a:pt x="43" y="37"/>
                    <a:pt x="42" y="41"/>
                  </a:cubicBezTo>
                  <a:cubicBezTo>
                    <a:pt x="42" y="74"/>
                    <a:pt x="42" y="74"/>
                    <a:pt x="42" y="74"/>
                  </a:cubicBezTo>
                  <a:cubicBezTo>
                    <a:pt x="42" y="81"/>
                    <a:pt x="37" y="82"/>
                    <a:pt x="28" y="80"/>
                  </a:cubicBezTo>
                  <a:cubicBezTo>
                    <a:pt x="26" y="79"/>
                    <a:pt x="26" y="78"/>
                    <a:pt x="26" y="76"/>
                  </a:cubicBezTo>
                  <a:cubicBezTo>
                    <a:pt x="27" y="74"/>
                    <a:pt x="28" y="74"/>
                    <a:pt x="30" y="74"/>
                  </a:cubicBezTo>
                  <a:cubicBezTo>
                    <a:pt x="34" y="76"/>
                    <a:pt x="36" y="76"/>
                    <a:pt x="36" y="73"/>
                  </a:cubicBezTo>
                  <a:cubicBezTo>
                    <a:pt x="36" y="42"/>
                    <a:pt x="36" y="42"/>
                    <a:pt x="36" y="42"/>
                  </a:cubicBezTo>
                  <a:cubicBezTo>
                    <a:pt x="36" y="41"/>
                    <a:pt x="36" y="40"/>
                    <a:pt x="35" y="40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6" y="40"/>
                    <a:pt x="5" y="41"/>
                    <a:pt x="6" y="43"/>
                  </a:cubicBezTo>
                  <a:cubicBezTo>
                    <a:pt x="6" y="79"/>
                    <a:pt x="6" y="79"/>
                    <a:pt x="6" y="79"/>
                  </a:cubicBezTo>
                  <a:cubicBezTo>
                    <a:pt x="5" y="81"/>
                    <a:pt x="4" y="82"/>
                    <a:pt x="3" y="82"/>
                  </a:cubicBezTo>
                  <a:cubicBezTo>
                    <a:pt x="1" y="82"/>
                    <a:pt x="0" y="81"/>
                    <a:pt x="0" y="79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37"/>
                    <a:pt x="2" y="35"/>
                    <a:pt x="6" y="35"/>
                  </a:cubicBezTo>
                  <a:close/>
                  <a:moveTo>
                    <a:pt x="9" y="11"/>
                  </a:moveTo>
                  <a:cubicBezTo>
                    <a:pt x="32" y="11"/>
                    <a:pt x="32" y="11"/>
                    <a:pt x="32" y="11"/>
                  </a:cubicBezTo>
                  <a:cubicBezTo>
                    <a:pt x="36" y="11"/>
                    <a:pt x="38" y="13"/>
                    <a:pt x="37" y="17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8" y="28"/>
                    <a:pt x="36" y="30"/>
                    <a:pt x="32" y="29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5" y="29"/>
                    <a:pt x="4" y="27"/>
                    <a:pt x="4" y="23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3" y="13"/>
                    <a:pt x="5" y="11"/>
                    <a:pt x="9" y="11"/>
                  </a:cubicBezTo>
                  <a:close/>
                  <a:moveTo>
                    <a:pt x="10" y="56"/>
                  </a:moveTo>
                  <a:cubicBezTo>
                    <a:pt x="22" y="56"/>
                    <a:pt x="22" y="56"/>
                    <a:pt x="22" y="56"/>
                  </a:cubicBezTo>
                  <a:cubicBezTo>
                    <a:pt x="22" y="55"/>
                    <a:pt x="22" y="54"/>
                    <a:pt x="23" y="53"/>
                  </a:cubicBezTo>
                  <a:cubicBezTo>
                    <a:pt x="24" y="50"/>
                    <a:pt x="26" y="46"/>
                    <a:pt x="27" y="43"/>
                  </a:cubicBezTo>
                  <a:cubicBezTo>
                    <a:pt x="28" y="41"/>
                    <a:pt x="29" y="41"/>
                    <a:pt x="31" y="41"/>
                  </a:cubicBezTo>
                  <a:cubicBezTo>
                    <a:pt x="33" y="42"/>
                    <a:pt x="33" y="44"/>
                    <a:pt x="33" y="46"/>
                  </a:cubicBezTo>
                  <a:cubicBezTo>
                    <a:pt x="32" y="47"/>
                    <a:pt x="32" y="47"/>
                    <a:pt x="31" y="48"/>
                  </a:cubicBezTo>
                  <a:cubicBezTo>
                    <a:pt x="30" y="52"/>
                    <a:pt x="29" y="54"/>
                    <a:pt x="28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3" y="56"/>
                    <a:pt x="34" y="57"/>
                    <a:pt x="34" y="59"/>
                  </a:cubicBezTo>
                  <a:cubicBezTo>
                    <a:pt x="34" y="61"/>
                    <a:pt x="33" y="61"/>
                    <a:pt x="32" y="61"/>
                  </a:cubicBezTo>
                  <a:cubicBezTo>
                    <a:pt x="24" y="61"/>
                    <a:pt x="24" y="61"/>
                    <a:pt x="24" y="61"/>
                  </a:cubicBezTo>
                  <a:cubicBezTo>
                    <a:pt x="24" y="76"/>
                    <a:pt x="24" y="76"/>
                    <a:pt x="24" y="76"/>
                  </a:cubicBezTo>
                  <a:cubicBezTo>
                    <a:pt x="23" y="77"/>
                    <a:pt x="22" y="78"/>
                    <a:pt x="20" y="78"/>
                  </a:cubicBezTo>
                  <a:cubicBezTo>
                    <a:pt x="19" y="78"/>
                    <a:pt x="18" y="77"/>
                    <a:pt x="18" y="76"/>
                  </a:cubicBezTo>
                  <a:cubicBezTo>
                    <a:pt x="18" y="61"/>
                    <a:pt x="18" y="61"/>
                    <a:pt x="18" y="61"/>
                  </a:cubicBezTo>
                  <a:cubicBezTo>
                    <a:pt x="10" y="61"/>
                    <a:pt x="10" y="61"/>
                    <a:pt x="10" y="61"/>
                  </a:cubicBezTo>
                  <a:cubicBezTo>
                    <a:pt x="8" y="61"/>
                    <a:pt x="7" y="61"/>
                    <a:pt x="7" y="59"/>
                  </a:cubicBezTo>
                  <a:cubicBezTo>
                    <a:pt x="7" y="57"/>
                    <a:pt x="8" y="56"/>
                    <a:pt x="10" y="56"/>
                  </a:cubicBezTo>
                  <a:close/>
                  <a:moveTo>
                    <a:pt x="15" y="43"/>
                  </a:moveTo>
                  <a:cubicBezTo>
                    <a:pt x="15" y="44"/>
                    <a:pt x="16" y="45"/>
                    <a:pt x="17" y="46"/>
                  </a:cubicBezTo>
                  <a:cubicBezTo>
                    <a:pt x="17" y="48"/>
                    <a:pt x="18" y="49"/>
                    <a:pt x="19" y="51"/>
                  </a:cubicBezTo>
                  <a:cubicBezTo>
                    <a:pt x="19" y="53"/>
                    <a:pt x="19" y="54"/>
                    <a:pt x="17" y="55"/>
                  </a:cubicBezTo>
                  <a:cubicBezTo>
                    <a:pt x="15" y="56"/>
                    <a:pt x="13" y="55"/>
                    <a:pt x="13" y="53"/>
                  </a:cubicBezTo>
                  <a:cubicBezTo>
                    <a:pt x="12" y="52"/>
                    <a:pt x="12" y="51"/>
                    <a:pt x="11" y="50"/>
                  </a:cubicBezTo>
                  <a:cubicBezTo>
                    <a:pt x="11" y="48"/>
                    <a:pt x="10" y="47"/>
                    <a:pt x="10" y="46"/>
                  </a:cubicBezTo>
                  <a:cubicBezTo>
                    <a:pt x="9" y="44"/>
                    <a:pt x="9" y="43"/>
                    <a:pt x="11" y="42"/>
                  </a:cubicBezTo>
                  <a:cubicBezTo>
                    <a:pt x="13" y="41"/>
                    <a:pt x="14" y="41"/>
                    <a:pt x="15" y="43"/>
                  </a:cubicBezTo>
                  <a:close/>
                  <a:moveTo>
                    <a:pt x="30" y="17"/>
                  </a:moveTo>
                  <a:cubicBezTo>
                    <a:pt x="11" y="17"/>
                    <a:pt x="11" y="17"/>
                    <a:pt x="11" y="17"/>
                  </a:cubicBezTo>
                  <a:cubicBezTo>
                    <a:pt x="10" y="17"/>
                    <a:pt x="9" y="18"/>
                    <a:pt x="10" y="19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10" y="23"/>
                    <a:pt x="10" y="23"/>
                    <a:pt x="12" y="23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31" y="23"/>
                    <a:pt x="31" y="23"/>
                    <a:pt x="31" y="21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1" y="18"/>
                    <a:pt x="31" y="17"/>
                    <a:pt x="30" y="17"/>
                  </a:cubicBezTo>
                  <a:close/>
                  <a:moveTo>
                    <a:pt x="66" y="3"/>
                  </a:moveTo>
                  <a:cubicBezTo>
                    <a:pt x="66" y="11"/>
                    <a:pt x="66" y="11"/>
                    <a:pt x="66" y="11"/>
                  </a:cubicBezTo>
                  <a:cubicBezTo>
                    <a:pt x="74" y="11"/>
                    <a:pt x="74" y="11"/>
                    <a:pt x="74" y="11"/>
                  </a:cubicBezTo>
                  <a:cubicBezTo>
                    <a:pt x="78" y="11"/>
                    <a:pt x="79" y="12"/>
                    <a:pt x="79" y="16"/>
                  </a:cubicBezTo>
                  <a:cubicBezTo>
                    <a:pt x="79" y="48"/>
                    <a:pt x="79" y="48"/>
                    <a:pt x="79" y="48"/>
                  </a:cubicBezTo>
                  <a:cubicBezTo>
                    <a:pt x="79" y="52"/>
                    <a:pt x="78" y="54"/>
                    <a:pt x="75" y="54"/>
                  </a:cubicBezTo>
                  <a:cubicBezTo>
                    <a:pt x="66" y="54"/>
                    <a:pt x="66" y="54"/>
                    <a:pt x="66" y="54"/>
                  </a:cubicBezTo>
                  <a:cubicBezTo>
                    <a:pt x="66" y="73"/>
                    <a:pt x="66" y="73"/>
                    <a:pt x="66" y="73"/>
                  </a:cubicBezTo>
                  <a:cubicBezTo>
                    <a:pt x="74" y="72"/>
                    <a:pt x="74" y="72"/>
                    <a:pt x="74" y="72"/>
                  </a:cubicBezTo>
                  <a:cubicBezTo>
                    <a:pt x="72" y="67"/>
                    <a:pt x="71" y="64"/>
                    <a:pt x="71" y="63"/>
                  </a:cubicBezTo>
                  <a:cubicBezTo>
                    <a:pt x="70" y="61"/>
                    <a:pt x="71" y="60"/>
                    <a:pt x="73" y="59"/>
                  </a:cubicBezTo>
                  <a:cubicBezTo>
                    <a:pt x="75" y="59"/>
                    <a:pt x="76" y="59"/>
                    <a:pt x="77" y="61"/>
                  </a:cubicBezTo>
                  <a:cubicBezTo>
                    <a:pt x="80" y="69"/>
                    <a:pt x="82" y="76"/>
                    <a:pt x="83" y="81"/>
                  </a:cubicBezTo>
                  <a:cubicBezTo>
                    <a:pt x="83" y="83"/>
                    <a:pt x="83" y="84"/>
                    <a:pt x="81" y="84"/>
                  </a:cubicBezTo>
                  <a:cubicBezTo>
                    <a:pt x="79" y="85"/>
                    <a:pt x="77" y="84"/>
                    <a:pt x="77" y="82"/>
                  </a:cubicBezTo>
                  <a:cubicBezTo>
                    <a:pt x="77" y="82"/>
                    <a:pt x="76" y="80"/>
                    <a:pt x="75" y="77"/>
                  </a:cubicBezTo>
                  <a:cubicBezTo>
                    <a:pt x="58" y="79"/>
                    <a:pt x="48" y="81"/>
                    <a:pt x="48" y="81"/>
                  </a:cubicBezTo>
                  <a:cubicBezTo>
                    <a:pt x="46" y="81"/>
                    <a:pt x="44" y="80"/>
                    <a:pt x="44" y="78"/>
                  </a:cubicBezTo>
                  <a:cubicBezTo>
                    <a:pt x="44" y="76"/>
                    <a:pt x="45" y="75"/>
                    <a:pt x="47" y="74"/>
                  </a:cubicBezTo>
                  <a:cubicBezTo>
                    <a:pt x="48" y="74"/>
                    <a:pt x="52" y="74"/>
                    <a:pt x="59" y="73"/>
                  </a:cubicBezTo>
                  <a:cubicBezTo>
                    <a:pt x="59" y="54"/>
                    <a:pt x="59" y="54"/>
                    <a:pt x="59" y="54"/>
                  </a:cubicBezTo>
                  <a:cubicBezTo>
                    <a:pt x="52" y="54"/>
                    <a:pt x="52" y="54"/>
                    <a:pt x="52" y="54"/>
                  </a:cubicBezTo>
                  <a:cubicBezTo>
                    <a:pt x="48" y="54"/>
                    <a:pt x="45" y="52"/>
                    <a:pt x="46" y="49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6" y="12"/>
                    <a:pt x="48" y="11"/>
                    <a:pt x="52" y="11"/>
                  </a:cubicBezTo>
                  <a:cubicBezTo>
                    <a:pt x="59" y="11"/>
                    <a:pt x="59" y="11"/>
                    <a:pt x="59" y="11"/>
                  </a:cubicBezTo>
                  <a:cubicBezTo>
                    <a:pt x="59" y="3"/>
                    <a:pt x="59" y="3"/>
                    <a:pt x="59" y="3"/>
                  </a:cubicBezTo>
                  <a:cubicBezTo>
                    <a:pt x="59" y="1"/>
                    <a:pt x="60" y="0"/>
                    <a:pt x="62" y="0"/>
                  </a:cubicBezTo>
                  <a:cubicBezTo>
                    <a:pt x="65" y="0"/>
                    <a:pt x="66" y="1"/>
                    <a:pt x="66" y="3"/>
                  </a:cubicBezTo>
                  <a:close/>
                  <a:moveTo>
                    <a:pt x="55" y="17"/>
                  </a:moveTo>
                  <a:cubicBezTo>
                    <a:pt x="53" y="17"/>
                    <a:pt x="52" y="18"/>
                    <a:pt x="52" y="20"/>
                  </a:cubicBezTo>
                  <a:cubicBezTo>
                    <a:pt x="52" y="46"/>
                    <a:pt x="52" y="46"/>
                    <a:pt x="52" y="46"/>
                  </a:cubicBezTo>
                  <a:cubicBezTo>
                    <a:pt x="52" y="47"/>
                    <a:pt x="53" y="48"/>
                    <a:pt x="54" y="47"/>
                  </a:cubicBezTo>
                  <a:cubicBezTo>
                    <a:pt x="59" y="47"/>
                    <a:pt x="59" y="47"/>
                    <a:pt x="59" y="47"/>
                  </a:cubicBezTo>
                  <a:cubicBezTo>
                    <a:pt x="59" y="17"/>
                    <a:pt x="59" y="17"/>
                    <a:pt x="59" y="17"/>
                  </a:cubicBezTo>
                  <a:lnTo>
                    <a:pt x="55" y="17"/>
                  </a:lnTo>
                  <a:close/>
                  <a:moveTo>
                    <a:pt x="71" y="17"/>
                  </a:moveTo>
                  <a:cubicBezTo>
                    <a:pt x="66" y="17"/>
                    <a:pt x="66" y="17"/>
                    <a:pt x="66" y="17"/>
                  </a:cubicBezTo>
                  <a:cubicBezTo>
                    <a:pt x="66" y="47"/>
                    <a:pt x="66" y="47"/>
                    <a:pt x="66" y="47"/>
                  </a:cubicBezTo>
                  <a:cubicBezTo>
                    <a:pt x="71" y="47"/>
                    <a:pt x="71" y="47"/>
                    <a:pt x="71" y="47"/>
                  </a:cubicBezTo>
                  <a:cubicBezTo>
                    <a:pt x="72" y="48"/>
                    <a:pt x="73" y="47"/>
                    <a:pt x="73" y="46"/>
                  </a:cubicBezTo>
                  <a:cubicBezTo>
                    <a:pt x="73" y="20"/>
                    <a:pt x="73" y="20"/>
                    <a:pt x="73" y="20"/>
                  </a:cubicBezTo>
                  <a:cubicBezTo>
                    <a:pt x="73" y="18"/>
                    <a:pt x="72" y="17"/>
                    <a:pt x="71" y="17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8AD7F419-7B92-4449-BD89-C420227928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76375" y="896938"/>
              <a:ext cx="144463" cy="136525"/>
            </a:xfrm>
            <a:custGeom>
              <a:avLst/>
              <a:gdLst>
                <a:gd name="T0" fmla="*/ 34 w 88"/>
                <a:gd name="T1" fmla="*/ 0 h 83"/>
                <a:gd name="T2" fmla="*/ 38 w 88"/>
                <a:gd name="T3" fmla="*/ 2 h 83"/>
                <a:gd name="T4" fmla="*/ 36 w 88"/>
                <a:gd name="T5" fmla="*/ 6 h 83"/>
                <a:gd name="T6" fmla="*/ 25 w 88"/>
                <a:gd name="T7" fmla="*/ 8 h 83"/>
                <a:gd name="T8" fmla="*/ 25 w 88"/>
                <a:gd name="T9" fmla="*/ 23 h 83"/>
                <a:gd name="T10" fmla="*/ 37 w 88"/>
                <a:gd name="T11" fmla="*/ 23 h 83"/>
                <a:gd name="T12" fmla="*/ 37 w 88"/>
                <a:gd name="T13" fmla="*/ 30 h 83"/>
                <a:gd name="T14" fmla="*/ 25 w 88"/>
                <a:gd name="T15" fmla="*/ 30 h 83"/>
                <a:gd name="T16" fmla="*/ 25 w 88"/>
                <a:gd name="T17" fmla="*/ 32 h 83"/>
                <a:gd name="T18" fmla="*/ 39 w 88"/>
                <a:gd name="T19" fmla="*/ 49 h 83"/>
                <a:gd name="T20" fmla="*/ 38 w 88"/>
                <a:gd name="T21" fmla="*/ 54 h 83"/>
                <a:gd name="T22" fmla="*/ 34 w 88"/>
                <a:gd name="T23" fmla="*/ 53 h 83"/>
                <a:gd name="T24" fmla="*/ 25 w 88"/>
                <a:gd name="T25" fmla="*/ 41 h 83"/>
                <a:gd name="T26" fmla="*/ 25 w 88"/>
                <a:gd name="T27" fmla="*/ 79 h 83"/>
                <a:gd name="T28" fmla="*/ 22 w 88"/>
                <a:gd name="T29" fmla="*/ 82 h 83"/>
                <a:gd name="T30" fmla="*/ 19 w 88"/>
                <a:gd name="T31" fmla="*/ 79 h 83"/>
                <a:gd name="T32" fmla="*/ 19 w 88"/>
                <a:gd name="T33" fmla="*/ 42 h 83"/>
                <a:gd name="T34" fmla="*/ 7 w 88"/>
                <a:gd name="T35" fmla="*/ 59 h 83"/>
                <a:gd name="T36" fmla="*/ 1 w 88"/>
                <a:gd name="T37" fmla="*/ 59 h 83"/>
                <a:gd name="T38" fmla="*/ 2 w 88"/>
                <a:gd name="T39" fmla="*/ 54 h 83"/>
                <a:gd name="T40" fmla="*/ 18 w 88"/>
                <a:gd name="T41" fmla="*/ 30 h 83"/>
                <a:gd name="T42" fmla="*/ 5 w 88"/>
                <a:gd name="T43" fmla="*/ 30 h 83"/>
                <a:gd name="T44" fmla="*/ 5 w 88"/>
                <a:gd name="T45" fmla="*/ 23 h 83"/>
                <a:gd name="T46" fmla="*/ 19 w 88"/>
                <a:gd name="T47" fmla="*/ 23 h 83"/>
                <a:gd name="T48" fmla="*/ 19 w 88"/>
                <a:gd name="T49" fmla="*/ 9 h 83"/>
                <a:gd name="T50" fmla="*/ 7 w 88"/>
                <a:gd name="T51" fmla="*/ 10 h 83"/>
                <a:gd name="T52" fmla="*/ 6 w 88"/>
                <a:gd name="T53" fmla="*/ 3 h 83"/>
                <a:gd name="T54" fmla="*/ 34 w 88"/>
                <a:gd name="T55" fmla="*/ 0 h 83"/>
                <a:gd name="T56" fmla="*/ 76 w 88"/>
                <a:gd name="T57" fmla="*/ 4 h 83"/>
                <a:gd name="T58" fmla="*/ 76 w 88"/>
                <a:gd name="T59" fmla="*/ 52 h 83"/>
                <a:gd name="T60" fmla="*/ 81 w 88"/>
                <a:gd name="T61" fmla="*/ 51 h 83"/>
                <a:gd name="T62" fmla="*/ 84 w 88"/>
                <a:gd name="T63" fmla="*/ 50 h 83"/>
                <a:gd name="T64" fmla="*/ 85 w 88"/>
                <a:gd name="T65" fmla="*/ 58 h 83"/>
                <a:gd name="T66" fmla="*/ 76 w 88"/>
                <a:gd name="T67" fmla="*/ 59 h 83"/>
                <a:gd name="T68" fmla="*/ 76 w 88"/>
                <a:gd name="T69" fmla="*/ 80 h 83"/>
                <a:gd name="T70" fmla="*/ 72 w 88"/>
                <a:gd name="T71" fmla="*/ 83 h 83"/>
                <a:gd name="T72" fmla="*/ 69 w 88"/>
                <a:gd name="T73" fmla="*/ 80 h 83"/>
                <a:gd name="T74" fmla="*/ 69 w 88"/>
                <a:gd name="T75" fmla="*/ 60 h 83"/>
                <a:gd name="T76" fmla="*/ 37 w 88"/>
                <a:gd name="T77" fmla="*/ 65 h 83"/>
                <a:gd name="T78" fmla="*/ 33 w 88"/>
                <a:gd name="T79" fmla="*/ 62 h 83"/>
                <a:gd name="T80" fmla="*/ 36 w 88"/>
                <a:gd name="T81" fmla="*/ 58 h 83"/>
                <a:gd name="T82" fmla="*/ 42 w 88"/>
                <a:gd name="T83" fmla="*/ 57 h 83"/>
                <a:gd name="T84" fmla="*/ 69 w 88"/>
                <a:gd name="T85" fmla="*/ 53 h 83"/>
                <a:gd name="T86" fmla="*/ 69 w 88"/>
                <a:gd name="T87" fmla="*/ 5 h 83"/>
                <a:gd name="T88" fmla="*/ 72 w 88"/>
                <a:gd name="T89" fmla="*/ 2 h 83"/>
                <a:gd name="T90" fmla="*/ 76 w 88"/>
                <a:gd name="T91" fmla="*/ 4 h 83"/>
                <a:gd name="T92" fmla="*/ 47 w 88"/>
                <a:gd name="T93" fmla="*/ 26 h 83"/>
                <a:gd name="T94" fmla="*/ 60 w 88"/>
                <a:gd name="T95" fmla="*/ 40 h 83"/>
                <a:gd name="T96" fmla="*/ 59 w 88"/>
                <a:gd name="T97" fmla="*/ 45 h 83"/>
                <a:gd name="T98" fmla="*/ 55 w 88"/>
                <a:gd name="T99" fmla="*/ 45 h 83"/>
                <a:gd name="T100" fmla="*/ 42 w 88"/>
                <a:gd name="T101" fmla="*/ 31 h 83"/>
                <a:gd name="T102" fmla="*/ 42 w 88"/>
                <a:gd name="T103" fmla="*/ 26 h 83"/>
                <a:gd name="T104" fmla="*/ 47 w 88"/>
                <a:gd name="T105" fmla="*/ 26 h 83"/>
                <a:gd name="T106" fmla="*/ 51 w 88"/>
                <a:gd name="T107" fmla="*/ 5 h 83"/>
                <a:gd name="T108" fmla="*/ 65 w 88"/>
                <a:gd name="T109" fmla="*/ 21 h 83"/>
                <a:gd name="T110" fmla="*/ 64 w 88"/>
                <a:gd name="T111" fmla="*/ 26 h 83"/>
                <a:gd name="T112" fmla="*/ 60 w 88"/>
                <a:gd name="T113" fmla="*/ 25 h 83"/>
                <a:gd name="T114" fmla="*/ 46 w 88"/>
                <a:gd name="T115" fmla="*/ 10 h 83"/>
                <a:gd name="T116" fmla="*/ 46 w 88"/>
                <a:gd name="T117" fmla="*/ 5 h 83"/>
                <a:gd name="T118" fmla="*/ 51 w 88"/>
                <a:gd name="T119" fmla="*/ 5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8" h="83">
                  <a:moveTo>
                    <a:pt x="34" y="0"/>
                  </a:moveTo>
                  <a:cubicBezTo>
                    <a:pt x="36" y="0"/>
                    <a:pt x="38" y="0"/>
                    <a:pt x="38" y="2"/>
                  </a:cubicBezTo>
                  <a:cubicBezTo>
                    <a:pt x="39" y="4"/>
                    <a:pt x="38" y="6"/>
                    <a:pt x="36" y="6"/>
                  </a:cubicBezTo>
                  <a:cubicBezTo>
                    <a:pt x="33" y="7"/>
                    <a:pt x="29" y="8"/>
                    <a:pt x="25" y="8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41" y="26"/>
                    <a:pt x="41" y="28"/>
                    <a:pt x="37" y="30"/>
                  </a:cubicBezTo>
                  <a:cubicBezTo>
                    <a:pt x="25" y="30"/>
                    <a:pt x="25" y="30"/>
                    <a:pt x="25" y="30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31" y="38"/>
                    <a:pt x="36" y="43"/>
                    <a:pt x="39" y="49"/>
                  </a:cubicBezTo>
                  <a:cubicBezTo>
                    <a:pt x="40" y="51"/>
                    <a:pt x="40" y="53"/>
                    <a:pt x="38" y="54"/>
                  </a:cubicBezTo>
                  <a:cubicBezTo>
                    <a:pt x="36" y="56"/>
                    <a:pt x="35" y="55"/>
                    <a:pt x="34" y="53"/>
                  </a:cubicBezTo>
                  <a:cubicBezTo>
                    <a:pt x="32" y="50"/>
                    <a:pt x="29" y="46"/>
                    <a:pt x="25" y="41"/>
                  </a:cubicBezTo>
                  <a:cubicBezTo>
                    <a:pt x="25" y="79"/>
                    <a:pt x="25" y="79"/>
                    <a:pt x="25" y="79"/>
                  </a:cubicBezTo>
                  <a:cubicBezTo>
                    <a:pt x="25" y="80"/>
                    <a:pt x="24" y="81"/>
                    <a:pt x="22" y="82"/>
                  </a:cubicBezTo>
                  <a:cubicBezTo>
                    <a:pt x="20" y="81"/>
                    <a:pt x="19" y="80"/>
                    <a:pt x="19" y="79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5" y="49"/>
                    <a:pt x="11" y="54"/>
                    <a:pt x="7" y="59"/>
                  </a:cubicBezTo>
                  <a:cubicBezTo>
                    <a:pt x="5" y="61"/>
                    <a:pt x="3" y="61"/>
                    <a:pt x="1" y="59"/>
                  </a:cubicBezTo>
                  <a:cubicBezTo>
                    <a:pt x="0" y="58"/>
                    <a:pt x="0" y="56"/>
                    <a:pt x="2" y="54"/>
                  </a:cubicBezTo>
                  <a:cubicBezTo>
                    <a:pt x="9" y="48"/>
                    <a:pt x="14" y="40"/>
                    <a:pt x="18" y="30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1" y="28"/>
                    <a:pt x="1" y="25"/>
                    <a:pt x="5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5" y="10"/>
                    <a:pt x="11" y="10"/>
                    <a:pt x="7" y="10"/>
                  </a:cubicBezTo>
                  <a:cubicBezTo>
                    <a:pt x="3" y="9"/>
                    <a:pt x="3" y="6"/>
                    <a:pt x="6" y="3"/>
                  </a:cubicBezTo>
                  <a:cubicBezTo>
                    <a:pt x="15" y="3"/>
                    <a:pt x="25" y="2"/>
                    <a:pt x="34" y="0"/>
                  </a:cubicBezTo>
                  <a:close/>
                  <a:moveTo>
                    <a:pt x="76" y="4"/>
                  </a:moveTo>
                  <a:cubicBezTo>
                    <a:pt x="76" y="52"/>
                    <a:pt x="76" y="52"/>
                    <a:pt x="76" y="52"/>
                  </a:cubicBezTo>
                  <a:cubicBezTo>
                    <a:pt x="77" y="51"/>
                    <a:pt x="79" y="51"/>
                    <a:pt x="81" y="51"/>
                  </a:cubicBezTo>
                  <a:cubicBezTo>
                    <a:pt x="83" y="51"/>
                    <a:pt x="84" y="50"/>
                    <a:pt x="84" y="50"/>
                  </a:cubicBezTo>
                  <a:cubicBezTo>
                    <a:pt x="88" y="53"/>
                    <a:pt x="88" y="55"/>
                    <a:pt x="85" y="58"/>
                  </a:cubicBezTo>
                  <a:cubicBezTo>
                    <a:pt x="80" y="58"/>
                    <a:pt x="77" y="59"/>
                    <a:pt x="76" y="59"/>
                  </a:cubicBezTo>
                  <a:cubicBezTo>
                    <a:pt x="76" y="80"/>
                    <a:pt x="76" y="80"/>
                    <a:pt x="76" y="80"/>
                  </a:cubicBezTo>
                  <a:cubicBezTo>
                    <a:pt x="75" y="82"/>
                    <a:pt x="74" y="83"/>
                    <a:pt x="72" y="83"/>
                  </a:cubicBezTo>
                  <a:cubicBezTo>
                    <a:pt x="70" y="83"/>
                    <a:pt x="69" y="82"/>
                    <a:pt x="69" y="80"/>
                  </a:cubicBezTo>
                  <a:cubicBezTo>
                    <a:pt x="69" y="60"/>
                    <a:pt x="69" y="60"/>
                    <a:pt x="69" y="60"/>
                  </a:cubicBezTo>
                  <a:cubicBezTo>
                    <a:pt x="54" y="63"/>
                    <a:pt x="43" y="64"/>
                    <a:pt x="37" y="65"/>
                  </a:cubicBezTo>
                  <a:cubicBezTo>
                    <a:pt x="35" y="65"/>
                    <a:pt x="34" y="64"/>
                    <a:pt x="33" y="62"/>
                  </a:cubicBezTo>
                  <a:cubicBezTo>
                    <a:pt x="33" y="60"/>
                    <a:pt x="34" y="58"/>
                    <a:pt x="36" y="58"/>
                  </a:cubicBezTo>
                  <a:cubicBezTo>
                    <a:pt x="37" y="58"/>
                    <a:pt x="39" y="57"/>
                    <a:pt x="42" y="57"/>
                  </a:cubicBezTo>
                  <a:cubicBezTo>
                    <a:pt x="53" y="55"/>
                    <a:pt x="62" y="54"/>
                    <a:pt x="69" y="53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69" y="3"/>
                    <a:pt x="70" y="2"/>
                    <a:pt x="72" y="2"/>
                  </a:cubicBezTo>
                  <a:cubicBezTo>
                    <a:pt x="74" y="2"/>
                    <a:pt x="75" y="3"/>
                    <a:pt x="76" y="4"/>
                  </a:cubicBezTo>
                  <a:close/>
                  <a:moveTo>
                    <a:pt x="47" y="26"/>
                  </a:moveTo>
                  <a:cubicBezTo>
                    <a:pt x="52" y="30"/>
                    <a:pt x="56" y="34"/>
                    <a:pt x="60" y="40"/>
                  </a:cubicBezTo>
                  <a:cubicBezTo>
                    <a:pt x="61" y="42"/>
                    <a:pt x="61" y="44"/>
                    <a:pt x="59" y="45"/>
                  </a:cubicBezTo>
                  <a:cubicBezTo>
                    <a:pt x="57" y="47"/>
                    <a:pt x="56" y="46"/>
                    <a:pt x="55" y="45"/>
                  </a:cubicBezTo>
                  <a:cubicBezTo>
                    <a:pt x="51" y="39"/>
                    <a:pt x="47" y="35"/>
                    <a:pt x="42" y="31"/>
                  </a:cubicBezTo>
                  <a:cubicBezTo>
                    <a:pt x="41" y="30"/>
                    <a:pt x="40" y="28"/>
                    <a:pt x="42" y="26"/>
                  </a:cubicBezTo>
                  <a:cubicBezTo>
                    <a:pt x="43" y="25"/>
                    <a:pt x="45" y="25"/>
                    <a:pt x="47" y="26"/>
                  </a:cubicBezTo>
                  <a:close/>
                  <a:moveTo>
                    <a:pt x="51" y="5"/>
                  </a:moveTo>
                  <a:cubicBezTo>
                    <a:pt x="56" y="10"/>
                    <a:pt x="61" y="15"/>
                    <a:pt x="65" y="21"/>
                  </a:cubicBezTo>
                  <a:cubicBezTo>
                    <a:pt x="66" y="23"/>
                    <a:pt x="66" y="25"/>
                    <a:pt x="64" y="26"/>
                  </a:cubicBezTo>
                  <a:cubicBezTo>
                    <a:pt x="63" y="27"/>
                    <a:pt x="61" y="27"/>
                    <a:pt x="60" y="25"/>
                  </a:cubicBezTo>
                  <a:cubicBezTo>
                    <a:pt x="56" y="20"/>
                    <a:pt x="51" y="15"/>
                    <a:pt x="46" y="10"/>
                  </a:cubicBezTo>
                  <a:cubicBezTo>
                    <a:pt x="45" y="9"/>
                    <a:pt x="44" y="7"/>
                    <a:pt x="46" y="5"/>
                  </a:cubicBezTo>
                  <a:cubicBezTo>
                    <a:pt x="47" y="4"/>
                    <a:pt x="49" y="4"/>
                    <a:pt x="51" y="5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" name="Freeform 11">
              <a:extLst>
                <a:ext uri="{FF2B5EF4-FFF2-40B4-BE49-F238E27FC236}">
                  <a16:creationId xmlns:a16="http://schemas.microsoft.com/office/drawing/2014/main" id="{401B95EE-8FF9-4F6F-A3F3-FB517AB2AD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44650" y="896938"/>
              <a:ext cx="144463" cy="134937"/>
            </a:xfrm>
            <a:custGeom>
              <a:avLst/>
              <a:gdLst>
                <a:gd name="T0" fmla="*/ 20 w 88"/>
                <a:gd name="T1" fmla="*/ 17 h 82"/>
                <a:gd name="T2" fmla="*/ 30 w 88"/>
                <a:gd name="T3" fmla="*/ 20 h 82"/>
                <a:gd name="T4" fmla="*/ 20 w 88"/>
                <a:gd name="T5" fmla="*/ 23 h 82"/>
                <a:gd name="T6" fmla="*/ 26 w 88"/>
                <a:gd name="T7" fmla="*/ 38 h 82"/>
                <a:gd name="T8" fmla="*/ 30 w 88"/>
                <a:gd name="T9" fmla="*/ 43 h 82"/>
                <a:gd name="T10" fmla="*/ 20 w 88"/>
                <a:gd name="T11" fmla="*/ 75 h 82"/>
                <a:gd name="T12" fmla="*/ 3 w 88"/>
                <a:gd name="T13" fmla="*/ 76 h 82"/>
                <a:gd name="T14" fmla="*/ 13 w 88"/>
                <a:gd name="T15" fmla="*/ 72 h 82"/>
                <a:gd name="T16" fmla="*/ 9 w 88"/>
                <a:gd name="T17" fmla="*/ 52 h 82"/>
                <a:gd name="T18" fmla="*/ 0 w 88"/>
                <a:gd name="T19" fmla="*/ 52 h 82"/>
                <a:gd name="T20" fmla="*/ 5 w 88"/>
                <a:gd name="T21" fmla="*/ 47 h 82"/>
                <a:gd name="T22" fmla="*/ 13 w 88"/>
                <a:gd name="T23" fmla="*/ 23 h 82"/>
                <a:gd name="T24" fmla="*/ 2 w 88"/>
                <a:gd name="T25" fmla="*/ 20 h 82"/>
                <a:gd name="T26" fmla="*/ 13 w 88"/>
                <a:gd name="T27" fmla="*/ 17 h 82"/>
                <a:gd name="T28" fmla="*/ 17 w 88"/>
                <a:gd name="T29" fmla="*/ 1 h 82"/>
                <a:gd name="T30" fmla="*/ 58 w 88"/>
                <a:gd name="T31" fmla="*/ 3 h 82"/>
                <a:gd name="T32" fmla="*/ 81 w 88"/>
                <a:gd name="T33" fmla="*/ 8 h 82"/>
                <a:gd name="T34" fmla="*/ 81 w 88"/>
                <a:gd name="T35" fmla="*/ 15 h 82"/>
                <a:gd name="T36" fmla="*/ 58 w 88"/>
                <a:gd name="T37" fmla="*/ 28 h 82"/>
                <a:gd name="T38" fmla="*/ 80 w 88"/>
                <a:gd name="T39" fmla="*/ 38 h 82"/>
                <a:gd name="T40" fmla="*/ 85 w 88"/>
                <a:gd name="T41" fmla="*/ 75 h 82"/>
                <a:gd name="T42" fmla="*/ 82 w 88"/>
                <a:gd name="T43" fmla="*/ 82 h 82"/>
                <a:gd name="T44" fmla="*/ 29 w 88"/>
                <a:gd name="T45" fmla="*/ 81 h 82"/>
                <a:gd name="T46" fmla="*/ 26 w 88"/>
                <a:gd name="T47" fmla="*/ 74 h 82"/>
                <a:gd name="T48" fmla="*/ 34 w 88"/>
                <a:gd name="T49" fmla="*/ 40 h 82"/>
                <a:gd name="T50" fmla="*/ 33 w 88"/>
                <a:gd name="T51" fmla="*/ 35 h 82"/>
                <a:gd name="T52" fmla="*/ 34 w 88"/>
                <a:gd name="T53" fmla="*/ 28 h 82"/>
                <a:gd name="T54" fmla="*/ 51 w 88"/>
                <a:gd name="T55" fmla="*/ 15 h 82"/>
                <a:gd name="T56" fmla="*/ 28 w 88"/>
                <a:gd name="T57" fmla="*/ 12 h 82"/>
                <a:gd name="T58" fmla="*/ 51 w 88"/>
                <a:gd name="T59" fmla="*/ 8 h 82"/>
                <a:gd name="T60" fmla="*/ 55 w 88"/>
                <a:gd name="T61" fmla="*/ 0 h 82"/>
                <a:gd name="T62" fmla="*/ 70 w 88"/>
                <a:gd name="T63" fmla="*/ 35 h 82"/>
                <a:gd name="T64" fmla="*/ 40 w 88"/>
                <a:gd name="T65" fmla="*/ 36 h 82"/>
                <a:gd name="T66" fmla="*/ 72 w 88"/>
                <a:gd name="T67" fmla="*/ 38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8" h="82">
                  <a:moveTo>
                    <a:pt x="20" y="4"/>
                  </a:moveTo>
                  <a:cubicBezTo>
                    <a:pt x="20" y="17"/>
                    <a:pt x="20" y="17"/>
                    <a:pt x="20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9" y="17"/>
                    <a:pt x="30" y="18"/>
                    <a:pt x="30" y="20"/>
                  </a:cubicBezTo>
                  <a:cubicBezTo>
                    <a:pt x="30" y="22"/>
                    <a:pt x="29" y="23"/>
                    <a:pt x="27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2" y="40"/>
                    <a:pt x="24" y="39"/>
                    <a:pt x="26" y="38"/>
                  </a:cubicBezTo>
                  <a:cubicBezTo>
                    <a:pt x="28" y="37"/>
                    <a:pt x="29" y="38"/>
                    <a:pt x="30" y="39"/>
                  </a:cubicBezTo>
                  <a:cubicBezTo>
                    <a:pt x="31" y="41"/>
                    <a:pt x="31" y="42"/>
                    <a:pt x="30" y="43"/>
                  </a:cubicBezTo>
                  <a:cubicBezTo>
                    <a:pt x="28" y="44"/>
                    <a:pt x="25" y="46"/>
                    <a:pt x="20" y="48"/>
                  </a:cubicBezTo>
                  <a:cubicBezTo>
                    <a:pt x="20" y="75"/>
                    <a:pt x="20" y="75"/>
                    <a:pt x="20" y="75"/>
                  </a:cubicBezTo>
                  <a:cubicBezTo>
                    <a:pt x="19" y="80"/>
                    <a:pt x="15" y="82"/>
                    <a:pt x="6" y="80"/>
                  </a:cubicBezTo>
                  <a:cubicBezTo>
                    <a:pt x="4" y="80"/>
                    <a:pt x="3" y="78"/>
                    <a:pt x="3" y="76"/>
                  </a:cubicBezTo>
                  <a:cubicBezTo>
                    <a:pt x="4" y="74"/>
                    <a:pt x="5" y="73"/>
                    <a:pt x="7" y="74"/>
                  </a:cubicBezTo>
                  <a:cubicBezTo>
                    <a:pt x="12" y="75"/>
                    <a:pt x="14" y="75"/>
                    <a:pt x="13" y="72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13" y="51"/>
                    <a:pt x="11" y="52"/>
                    <a:pt x="9" y="52"/>
                  </a:cubicBezTo>
                  <a:cubicBezTo>
                    <a:pt x="7" y="53"/>
                    <a:pt x="5" y="54"/>
                    <a:pt x="5" y="54"/>
                  </a:cubicBezTo>
                  <a:cubicBezTo>
                    <a:pt x="2" y="55"/>
                    <a:pt x="1" y="54"/>
                    <a:pt x="0" y="52"/>
                  </a:cubicBezTo>
                  <a:cubicBezTo>
                    <a:pt x="0" y="50"/>
                    <a:pt x="0" y="49"/>
                    <a:pt x="2" y="48"/>
                  </a:cubicBezTo>
                  <a:cubicBezTo>
                    <a:pt x="3" y="48"/>
                    <a:pt x="4" y="48"/>
                    <a:pt x="5" y="47"/>
                  </a:cubicBezTo>
                  <a:cubicBezTo>
                    <a:pt x="8" y="46"/>
                    <a:pt x="11" y="45"/>
                    <a:pt x="13" y="44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3" y="23"/>
                    <a:pt x="2" y="22"/>
                    <a:pt x="2" y="20"/>
                  </a:cubicBezTo>
                  <a:cubicBezTo>
                    <a:pt x="2" y="18"/>
                    <a:pt x="3" y="17"/>
                    <a:pt x="5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2"/>
                    <a:pt x="14" y="1"/>
                    <a:pt x="17" y="1"/>
                  </a:cubicBezTo>
                  <a:cubicBezTo>
                    <a:pt x="19" y="1"/>
                    <a:pt x="20" y="2"/>
                    <a:pt x="20" y="4"/>
                  </a:cubicBezTo>
                  <a:close/>
                  <a:moveTo>
                    <a:pt x="58" y="3"/>
                  </a:moveTo>
                  <a:cubicBezTo>
                    <a:pt x="58" y="8"/>
                    <a:pt x="58" y="8"/>
                    <a:pt x="58" y="8"/>
                  </a:cubicBezTo>
                  <a:cubicBezTo>
                    <a:pt x="81" y="8"/>
                    <a:pt x="81" y="8"/>
                    <a:pt x="81" y="8"/>
                  </a:cubicBezTo>
                  <a:cubicBezTo>
                    <a:pt x="83" y="9"/>
                    <a:pt x="84" y="10"/>
                    <a:pt x="85" y="12"/>
                  </a:cubicBezTo>
                  <a:cubicBezTo>
                    <a:pt x="84" y="14"/>
                    <a:pt x="83" y="15"/>
                    <a:pt x="81" y="15"/>
                  </a:cubicBezTo>
                  <a:cubicBezTo>
                    <a:pt x="58" y="15"/>
                    <a:pt x="58" y="15"/>
                    <a:pt x="58" y="15"/>
                  </a:cubicBezTo>
                  <a:cubicBezTo>
                    <a:pt x="58" y="28"/>
                    <a:pt x="58" y="28"/>
                    <a:pt x="58" y="28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80" y="29"/>
                    <a:pt x="82" y="32"/>
                    <a:pt x="80" y="38"/>
                  </a:cubicBezTo>
                  <a:cubicBezTo>
                    <a:pt x="76" y="48"/>
                    <a:pt x="70" y="56"/>
                    <a:pt x="62" y="63"/>
                  </a:cubicBezTo>
                  <a:cubicBezTo>
                    <a:pt x="69" y="68"/>
                    <a:pt x="77" y="72"/>
                    <a:pt x="85" y="75"/>
                  </a:cubicBezTo>
                  <a:cubicBezTo>
                    <a:pt x="87" y="76"/>
                    <a:pt x="88" y="77"/>
                    <a:pt x="87" y="80"/>
                  </a:cubicBezTo>
                  <a:cubicBezTo>
                    <a:pt x="86" y="82"/>
                    <a:pt x="84" y="82"/>
                    <a:pt x="82" y="82"/>
                  </a:cubicBezTo>
                  <a:cubicBezTo>
                    <a:pt x="74" y="78"/>
                    <a:pt x="65" y="74"/>
                    <a:pt x="56" y="68"/>
                  </a:cubicBezTo>
                  <a:cubicBezTo>
                    <a:pt x="48" y="73"/>
                    <a:pt x="39" y="77"/>
                    <a:pt x="29" y="81"/>
                  </a:cubicBezTo>
                  <a:cubicBezTo>
                    <a:pt x="26" y="81"/>
                    <a:pt x="25" y="81"/>
                    <a:pt x="24" y="78"/>
                  </a:cubicBezTo>
                  <a:cubicBezTo>
                    <a:pt x="23" y="76"/>
                    <a:pt x="24" y="75"/>
                    <a:pt x="26" y="74"/>
                  </a:cubicBezTo>
                  <a:cubicBezTo>
                    <a:pt x="36" y="71"/>
                    <a:pt x="44" y="68"/>
                    <a:pt x="50" y="63"/>
                  </a:cubicBezTo>
                  <a:cubicBezTo>
                    <a:pt x="45" y="59"/>
                    <a:pt x="40" y="51"/>
                    <a:pt x="34" y="40"/>
                  </a:cubicBezTo>
                  <a:cubicBezTo>
                    <a:pt x="33" y="38"/>
                    <a:pt x="33" y="37"/>
                    <a:pt x="35" y="35"/>
                  </a:cubicBezTo>
                  <a:cubicBezTo>
                    <a:pt x="33" y="35"/>
                    <a:pt x="33" y="35"/>
                    <a:pt x="33" y="35"/>
                  </a:cubicBezTo>
                  <a:cubicBezTo>
                    <a:pt x="32" y="35"/>
                    <a:pt x="31" y="34"/>
                    <a:pt x="30" y="32"/>
                  </a:cubicBezTo>
                  <a:cubicBezTo>
                    <a:pt x="31" y="29"/>
                    <a:pt x="32" y="28"/>
                    <a:pt x="34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15"/>
                    <a:pt x="51" y="15"/>
                    <a:pt x="5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29" y="15"/>
                    <a:pt x="28" y="14"/>
                    <a:pt x="28" y="12"/>
                  </a:cubicBezTo>
                  <a:cubicBezTo>
                    <a:pt x="28" y="10"/>
                    <a:pt x="29" y="9"/>
                    <a:pt x="31" y="8"/>
                  </a:cubicBezTo>
                  <a:cubicBezTo>
                    <a:pt x="51" y="8"/>
                    <a:pt x="51" y="8"/>
                    <a:pt x="51" y="8"/>
                  </a:cubicBezTo>
                  <a:cubicBezTo>
                    <a:pt x="51" y="3"/>
                    <a:pt x="51" y="3"/>
                    <a:pt x="51" y="3"/>
                  </a:cubicBezTo>
                  <a:cubicBezTo>
                    <a:pt x="51" y="1"/>
                    <a:pt x="52" y="0"/>
                    <a:pt x="55" y="0"/>
                  </a:cubicBezTo>
                  <a:cubicBezTo>
                    <a:pt x="57" y="0"/>
                    <a:pt x="58" y="1"/>
                    <a:pt x="58" y="3"/>
                  </a:cubicBezTo>
                  <a:close/>
                  <a:moveTo>
                    <a:pt x="70" y="35"/>
                  </a:moveTo>
                  <a:cubicBezTo>
                    <a:pt x="39" y="35"/>
                    <a:pt x="39" y="35"/>
                    <a:pt x="39" y="35"/>
                  </a:cubicBezTo>
                  <a:cubicBezTo>
                    <a:pt x="39" y="36"/>
                    <a:pt x="39" y="36"/>
                    <a:pt x="40" y="36"/>
                  </a:cubicBezTo>
                  <a:cubicBezTo>
                    <a:pt x="47" y="47"/>
                    <a:pt x="52" y="55"/>
                    <a:pt x="56" y="58"/>
                  </a:cubicBezTo>
                  <a:cubicBezTo>
                    <a:pt x="63" y="52"/>
                    <a:pt x="68" y="46"/>
                    <a:pt x="72" y="38"/>
                  </a:cubicBezTo>
                  <a:cubicBezTo>
                    <a:pt x="72" y="37"/>
                    <a:pt x="72" y="36"/>
                    <a:pt x="70" y="35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6" name="组合 25">
            <a:extLst>
              <a:ext uri="{FF2B5EF4-FFF2-40B4-BE49-F238E27FC236}">
                <a16:creationId xmlns:a16="http://schemas.microsoft.com/office/drawing/2014/main" id="{99D829EC-C36B-4CA3-9BE3-6780CFDDBBC6}"/>
              </a:ext>
            </a:extLst>
          </p:cNvPr>
          <p:cNvGrpSpPr/>
          <p:nvPr userDrawn="1"/>
        </p:nvGrpSpPr>
        <p:grpSpPr>
          <a:xfrm>
            <a:off x="741424" y="4676044"/>
            <a:ext cx="5694681" cy="45719"/>
            <a:chOff x="777184" y="3817770"/>
            <a:chExt cx="5694681" cy="45719"/>
          </a:xfrm>
        </p:grpSpPr>
        <p:sp>
          <p:nvSpPr>
            <p:cNvPr id="27" name="矩形 26">
              <a:extLst>
                <a:ext uri="{FF2B5EF4-FFF2-40B4-BE49-F238E27FC236}">
                  <a16:creationId xmlns:a16="http://schemas.microsoft.com/office/drawing/2014/main" id="{4DC8BD2C-12C3-4B7E-8826-6FEAB8F88E63}"/>
                </a:ext>
              </a:extLst>
            </p:cNvPr>
            <p:cNvSpPr/>
            <p:nvPr/>
          </p:nvSpPr>
          <p:spPr>
            <a:xfrm>
              <a:off x="777184" y="3817770"/>
              <a:ext cx="857551" cy="45719"/>
            </a:xfrm>
            <a:prstGeom prst="rect">
              <a:avLst/>
            </a:prstGeom>
            <a:solidFill>
              <a:srgbClr val="EA550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28" name="直接连接符 27">
              <a:extLst>
                <a:ext uri="{FF2B5EF4-FFF2-40B4-BE49-F238E27FC236}">
                  <a16:creationId xmlns:a16="http://schemas.microsoft.com/office/drawing/2014/main" id="{165F6411-ABE2-4E63-9F45-30B6C5ECC943}"/>
                </a:ext>
              </a:extLst>
            </p:cNvPr>
            <p:cNvCxnSpPr>
              <a:cxnSpLocks/>
            </p:cNvCxnSpPr>
            <p:nvPr/>
          </p:nvCxnSpPr>
          <p:spPr>
            <a:xfrm>
              <a:off x="1606260" y="3837412"/>
              <a:ext cx="4865605" cy="0"/>
            </a:xfrm>
            <a:prstGeom prst="line">
              <a:avLst/>
            </a:prstGeom>
            <a:ln w="22225">
              <a:gradFill flip="none" rotWithShape="1">
                <a:gsLst>
                  <a:gs pos="0">
                    <a:schemeClr val="accent1">
                      <a:lumMod val="5000"/>
                      <a:lumOff val="95000"/>
                      <a:alpha val="0"/>
                    </a:schemeClr>
                  </a:gs>
                  <a:gs pos="54000">
                    <a:schemeClr val="accent1">
                      <a:lumMod val="45000"/>
                      <a:lumOff val="55000"/>
                    </a:schemeClr>
                  </a:gs>
                  <a:gs pos="83000">
                    <a:srgbClr val="FB832D"/>
                  </a:gs>
                  <a:gs pos="100000">
                    <a:srgbClr val="EA5504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文本占位符 31">
            <a:extLst>
              <a:ext uri="{FF2B5EF4-FFF2-40B4-BE49-F238E27FC236}">
                <a16:creationId xmlns:a16="http://schemas.microsoft.com/office/drawing/2014/main" id="{0DDD23E1-10C5-4442-9B53-96C56ADFDB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9824" y="1727200"/>
            <a:ext cx="7241433" cy="2802791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zh-CN" altLang="en-US" sz="5400" b="1" kern="2300" spc="240" dirty="0" smtClean="0">
                <a:ln w="15875">
                  <a:solidFill>
                    <a:schemeClr val="accent1"/>
                  </a:solidFill>
                </a:ln>
                <a:noFill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>
              <a:buNone/>
              <a:defRPr/>
            </a:lvl2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zh-CN" altLang="en-US"/>
              <a:t>平安集团</a:t>
            </a:r>
            <a:endParaRPr lang="en-US" altLang="zh-CN" dirty="0"/>
          </a:p>
        </p:txBody>
      </p:sp>
      <p:sp>
        <p:nvSpPr>
          <p:cNvPr id="31" name="文本占位符 2">
            <a:extLst>
              <a:ext uri="{FF2B5EF4-FFF2-40B4-BE49-F238E27FC236}">
                <a16:creationId xmlns:a16="http://schemas.microsoft.com/office/drawing/2014/main" id="{AEB28908-397D-4B97-A785-8674D339D1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8248" y="5553571"/>
            <a:ext cx="4612632" cy="24828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SzPct val="80000"/>
              <a:buFont typeface="+mj-ea"/>
              <a:buNone/>
              <a:defRPr lang="en-US" altLang="zh-CN" sz="14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</a:lstStyle>
          <a:p>
            <a:pPr marL="0" indent="0">
              <a:buNone/>
            </a:pP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Speaker name and title</a:t>
            </a:r>
          </a:p>
        </p:txBody>
      </p:sp>
      <p:sp>
        <p:nvSpPr>
          <p:cNvPr id="34" name="文本占位符 2">
            <a:extLst>
              <a:ext uri="{FF2B5EF4-FFF2-40B4-BE49-F238E27FC236}">
                <a16:creationId xmlns:a16="http://schemas.microsoft.com/office/drawing/2014/main" id="{DF42A7A6-D264-4215-A141-EC63B17186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8248" y="5848201"/>
            <a:ext cx="4612632" cy="24828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SzPct val="80000"/>
              <a:buFont typeface="+mj-ea"/>
              <a:buNone/>
              <a:defRPr lang="en-US" altLang="zh-CN" sz="14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</a:lstStyle>
          <a:p>
            <a:pPr marL="0" indent="0">
              <a:buNone/>
            </a:pPr>
            <a:r>
              <a:rPr lang="en-US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D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ate &amp; Time</a:t>
            </a:r>
            <a:endParaRPr lang="en-US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62261625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4F9033FE-0487-4CD4-883F-C3C7C24355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D8AE3A-C62D-4AF0-9E0E-4E3C49938C44}" type="datetimeFigureOut">
              <a:rPr lang="zh-CN" altLang="en-US" smtClean="0"/>
              <a:t>2024/8/13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FBADFF8F-D3ED-44C1-BC57-C842D45EAE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1E47D1A-89DD-4C39-9D5A-D4C5093DD1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79F964-9077-479C-84FE-FD00BAF7521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6577668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-封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>
            <a:extLst>
              <a:ext uri="{FF2B5EF4-FFF2-40B4-BE49-F238E27FC236}">
                <a16:creationId xmlns:a16="http://schemas.microsoft.com/office/drawing/2014/main" id="{BFEEE009-3497-4B68-8D19-2701035D6C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42" b="42"/>
          <a:stretch/>
        </p:blipFill>
        <p:spPr>
          <a:xfrm>
            <a:off x="1016697" y="10123"/>
            <a:ext cx="11168799" cy="6844996"/>
          </a:xfrm>
          <a:prstGeom prst="rect">
            <a:avLst/>
          </a:prstGeom>
          <a:ln w="12700">
            <a:miter lim="400000"/>
            <a:headEnd/>
            <a:tailEnd/>
          </a:ln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525BB6AA-5A48-424C-B00D-51F2F4C5A7D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815" y="0"/>
            <a:ext cx="11146185" cy="6858000"/>
          </a:xfrm>
          <a:prstGeom prst="rect">
            <a:avLst/>
          </a:prstGeom>
        </p:spPr>
      </p:pic>
      <p:sp>
        <p:nvSpPr>
          <p:cNvPr id="8" name="矩形 7">
            <a:extLst>
              <a:ext uri="{FF2B5EF4-FFF2-40B4-BE49-F238E27FC236}">
                <a16:creationId xmlns:a16="http://schemas.microsoft.com/office/drawing/2014/main" id="{3D850A58-356A-433F-A879-38833956521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5000">
                <a:srgbClr val="FDF1ED">
                  <a:alpha val="97647"/>
                </a:srgbClr>
              </a:gs>
              <a:gs pos="27000">
                <a:srgbClr val="FEF8F6">
                  <a:alpha val="86000"/>
                </a:srgbClr>
              </a:gs>
              <a:gs pos="56000">
                <a:schemeClr val="bg1">
                  <a:alpha val="86000"/>
                </a:schemeClr>
              </a:gs>
              <a:gs pos="0">
                <a:srgbClr val="FDEAE3"/>
              </a:gs>
              <a:gs pos="100000">
                <a:schemeClr val="bg1">
                  <a:alpha val="64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0" name="任意多边形: 形状 29">
            <a:extLst>
              <a:ext uri="{FF2B5EF4-FFF2-40B4-BE49-F238E27FC236}">
                <a16:creationId xmlns:a16="http://schemas.microsoft.com/office/drawing/2014/main" id="{715A7028-7EC5-4AEF-A93F-6F39D0FC00D8}"/>
              </a:ext>
            </a:extLst>
          </p:cNvPr>
          <p:cNvSpPr/>
          <p:nvPr userDrawn="1"/>
        </p:nvSpPr>
        <p:spPr>
          <a:xfrm>
            <a:off x="6918699" y="3183037"/>
            <a:ext cx="3984653" cy="3682203"/>
          </a:xfrm>
          <a:custGeom>
            <a:avLst/>
            <a:gdLst>
              <a:gd name="connsiteX0" fmla="*/ 2696901 w 5266797"/>
              <a:gd name="connsiteY0" fmla="*/ 0 h 6875362"/>
              <a:gd name="connsiteX1" fmla="*/ 5266797 w 5266797"/>
              <a:gd name="connsiteY1" fmla="*/ 0 h 6875362"/>
              <a:gd name="connsiteX2" fmla="*/ 5266797 w 5266797"/>
              <a:gd name="connsiteY2" fmla="*/ 1408772 h 6875362"/>
              <a:gd name="connsiteX3" fmla="*/ 3126080 w 5266797"/>
              <a:gd name="connsiteY3" fmla="*/ 6866222 h 6875362"/>
              <a:gd name="connsiteX4" fmla="*/ 0 w 5266797"/>
              <a:gd name="connsiteY4" fmla="*/ 6875362 h 6875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66797" h="6875362">
                <a:moveTo>
                  <a:pt x="2696901" y="0"/>
                </a:moveTo>
                <a:lnTo>
                  <a:pt x="5266797" y="0"/>
                </a:lnTo>
                <a:lnTo>
                  <a:pt x="5266797" y="1408772"/>
                </a:lnTo>
                <a:lnTo>
                  <a:pt x="3126080" y="6866222"/>
                </a:lnTo>
                <a:lnTo>
                  <a:pt x="0" y="6875362"/>
                </a:lnTo>
                <a:close/>
              </a:path>
            </a:pathLst>
          </a:custGeom>
          <a:gradFill flip="none" rotWithShape="1">
            <a:gsLst>
              <a:gs pos="32000">
                <a:srgbClr val="FE832C"/>
              </a:gs>
              <a:gs pos="88000">
                <a:srgbClr val="FFCEAB"/>
              </a:gs>
              <a:gs pos="0">
                <a:srgbClr val="EA5504"/>
              </a:gs>
              <a:gs pos="100000">
                <a:srgbClr val="FBE9D5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D2BCA82F-ABAF-417F-9B6A-ACA0DAE7CF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6229392" y="1300480"/>
            <a:ext cx="5962607" cy="5557520"/>
          </a:xfrm>
          <a:prstGeom prst="rect">
            <a:avLst/>
          </a:prstGeom>
        </p:spPr>
      </p:pic>
      <p:sp>
        <p:nvSpPr>
          <p:cNvPr id="13" name="任意多边形: 形状 12">
            <a:extLst>
              <a:ext uri="{FF2B5EF4-FFF2-40B4-BE49-F238E27FC236}">
                <a16:creationId xmlns:a16="http://schemas.microsoft.com/office/drawing/2014/main" id="{118B6A77-C3AD-408F-BB2B-9EA91C5D3A38}"/>
              </a:ext>
            </a:extLst>
          </p:cNvPr>
          <p:cNvSpPr/>
          <p:nvPr userDrawn="1"/>
        </p:nvSpPr>
        <p:spPr>
          <a:xfrm>
            <a:off x="0" y="0"/>
            <a:ext cx="690654" cy="745871"/>
          </a:xfrm>
          <a:custGeom>
            <a:avLst/>
            <a:gdLst>
              <a:gd name="connsiteX0" fmla="*/ 590479 w 631437"/>
              <a:gd name="connsiteY0" fmla="*/ 600003 h 681919"/>
              <a:gd name="connsiteX1" fmla="*/ 631437 w 631437"/>
              <a:gd name="connsiteY1" fmla="*/ 640961 h 681919"/>
              <a:gd name="connsiteX2" fmla="*/ 590479 w 631437"/>
              <a:gd name="connsiteY2" fmla="*/ 681919 h 681919"/>
              <a:gd name="connsiteX3" fmla="*/ 549521 w 631437"/>
              <a:gd name="connsiteY3" fmla="*/ 640961 h 681919"/>
              <a:gd name="connsiteX4" fmla="*/ 590479 w 631437"/>
              <a:gd name="connsiteY4" fmla="*/ 600003 h 681919"/>
              <a:gd name="connsiteX5" fmla="*/ 448555 w 631437"/>
              <a:gd name="connsiteY5" fmla="*/ 600003 h 681919"/>
              <a:gd name="connsiteX6" fmla="*/ 489513 w 631437"/>
              <a:gd name="connsiteY6" fmla="*/ 640961 h 681919"/>
              <a:gd name="connsiteX7" fmla="*/ 448555 w 631437"/>
              <a:gd name="connsiteY7" fmla="*/ 681919 h 681919"/>
              <a:gd name="connsiteX8" fmla="*/ 407597 w 631437"/>
              <a:gd name="connsiteY8" fmla="*/ 640961 h 681919"/>
              <a:gd name="connsiteX9" fmla="*/ 448555 w 631437"/>
              <a:gd name="connsiteY9" fmla="*/ 600003 h 681919"/>
              <a:gd name="connsiteX10" fmla="*/ 306633 w 631437"/>
              <a:gd name="connsiteY10" fmla="*/ 600003 h 681919"/>
              <a:gd name="connsiteX11" fmla="*/ 347591 w 631437"/>
              <a:gd name="connsiteY11" fmla="*/ 640961 h 681919"/>
              <a:gd name="connsiteX12" fmla="*/ 306633 w 631437"/>
              <a:gd name="connsiteY12" fmla="*/ 681919 h 681919"/>
              <a:gd name="connsiteX13" fmla="*/ 265675 w 631437"/>
              <a:gd name="connsiteY13" fmla="*/ 640961 h 681919"/>
              <a:gd name="connsiteX14" fmla="*/ 306633 w 631437"/>
              <a:gd name="connsiteY14" fmla="*/ 600003 h 681919"/>
              <a:gd name="connsiteX15" fmla="*/ 164711 w 631437"/>
              <a:gd name="connsiteY15" fmla="*/ 600003 h 681919"/>
              <a:gd name="connsiteX16" fmla="*/ 205669 w 631437"/>
              <a:gd name="connsiteY16" fmla="*/ 640961 h 681919"/>
              <a:gd name="connsiteX17" fmla="*/ 164711 w 631437"/>
              <a:gd name="connsiteY17" fmla="*/ 681919 h 681919"/>
              <a:gd name="connsiteX18" fmla="*/ 123753 w 631437"/>
              <a:gd name="connsiteY18" fmla="*/ 640961 h 681919"/>
              <a:gd name="connsiteX19" fmla="*/ 164711 w 631437"/>
              <a:gd name="connsiteY19" fmla="*/ 600003 h 681919"/>
              <a:gd name="connsiteX20" fmla="*/ 22789 w 631437"/>
              <a:gd name="connsiteY20" fmla="*/ 600003 h 681919"/>
              <a:gd name="connsiteX21" fmla="*/ 63747 w 631437"/>
              <a:gd name="connsiteY21" fmla="*/ 640961 h 681919"/>
              <a:gd name="connsiteX22" fmla="*/ 22789 w 631437"/>
              <a:gd name="connsiteY22" fmla="*/ 681919 h 681919"/>
              <a:gd name="connsiteX23" fmla="*/ 0 w 631437"/>
              <a:gd name="connsiteY23" fmla="*/ 672479 h 681919"/>
              <a:gd name="connsiteX24" fmla="*/ 0 w 631437"/>
              <a:gd name="connsiteY24" fmla="*/ 609443 h 681919"/>
              <a:gd name="connsiteX25" fmla="*/ 590479 w 631437"/>
              <a:gd name="connsiteY25" fmla="*/ 441888 h 681919"/>
              <a:gd name="connsiteX26" fmla="*/ 631437 w 631437"/>
              <a:gd name="connsiteY26" fmla="*/ 482846 h 681919"/>
              <a:gd name="connsiteX27" fmla="*/ 590479 w 631437"/>
              <a:gd name="connsiteY27" fmla="*/ 523804 h 681919"/>
              <a:gd name="connsiteX28" fmla="*/ 549521 w 631437"/>
              <a:gd name="connsiteY28" fmla="*/ 482846 h 681919"/>
              <a:gd name="connsiteX29" fmla="*/ 590479 w 631437"/>
              <a:gd name="connsiteY29" fmla="*/ 441888 h 681919"/>
              <a:gd name="connsiteX30" fmla="*/ 448555 w 631437"/>
              <a:gd name="connsiteY30" fmla="*/ 441888 h 681919"/>
              <a:gd name="connsiteX31" fmla="*/ 489513 w 631437"/>
              <a:gd name="connsiteY31" fmla="*/ 482846 h 681919"/>
              <a:gd name="connsiteX32" fmla="*/ 448555 w 631437"/>
              <a:gd name="connsiteY32" fmla="*/ 523804 h 681919"/>
              <a:gd name="connsiteX33" fmla="*/ 407597 w 631437"/>
              <a:gd name="connsiteY33" fmla="*/ 482846 h 681919"/>
              <a:gd name="connsiteX34" fmla="*/ 448555 w 631437"/>
              <a:gd name="connsiteY34" fmla="*/ 441888 h 681919"/>
              <a:gd name="connsiteX35" fmla="*/ 306633 w 631437"/>
              <a:gd name="connsiteY35" fmla="*/ 441888 h 681919"/>
              <a:gd name="connsiteX36" fmla="*/ 347591 w 631437"/>
              <a:gd name="connsiteY36" fmla="*/ 482846 h 681919"/>
              <a:gd name="connsiteX37" fmla="*/ 306633 w 631437"/>
              <a:gd name="connsiteY37" fmla="*/ 523804 h 681919"/>
              <a:gd name="connsiteX38" fmla="*/ 265675 w 631437"/>
              <a:gd name="connsiteY38" fmla="*/ 482846 h 681919"/>
              <a:gd name="connsiteX39" fmla="*/ 306633 w 631437"/>
              <a:gd name="connsiteY39" fmla="*/ 441888 h 681919"/>
              <a:gd name="connsiteX40" fmla="*/ 164711 w 631437"/>
              <a:gd name="connsiteY40" fmla="*/ 441888 h 681919"/>
              <a:gd name="connsiteX41" fmla="*/ 205669 w 631437"/>
              <a:gd name="connsiteY41" fmla="*/ 482846 h 681919"/>
              <a:gd name="connsiteX42" fmla="*/ 164711 w 631437"/>
              <a:gd name="connsiteY42" fmla="*/ 523804 h 681919"/>
              <a:gd name="connsiteX43" fmla="*/ 123753 w 631437"/>
              <a:gd name="connsiteY43" fmla="*/ 482846 h 681919"/>
              <a:gd name="connsiteX44" fmla="*/ 164711 w 631437"/>
              <a:gd name="connsiteY44" fmla="*/ 441888 h 681919"/>
              <a:gd name="connsiteX45" fmla="*/ 22789 w 631437"/>
              <a:gd name="connsiteY45" fmla="*/ 441888 h 681919"/>
              <a:gd name="connsiteX46" fmla="*/ 63747 w 631437"/>
              <a:gd name="connsiteY46" fmla="*/ 482846 h 681919"/>
              <a:gd name="connsiteX47" fmla="*/ 22789 w 631437"/>
              <a:gd name="connsiteY47" fmla="*/ 523804 h 681919"/>
              <a:gd name="connsiteX48" fmla="*/ 0 w 631437"/>
              <a:gd name="connsiteY48" fmla="*/ 514364 h 681919"/>
              <a:gd name="connsiteX49" fmla="*/ 0 w 631437"/>
              <a:gd name="connsiteY49" fmla="*/ 451328 h 681919"/>
              <a:gd name="connsiteX50" fmla="*/ 590479 w 631437"/>
              <a:gd name="connsiteY50" fmla="*/ 283773 h 681919"/>
              <a:gd name="connsiteX51" fmla="*/ 631437 w 631437"/>
              <a:gd name="connsiteY51" fmla="*/ 324731 h 681919"/>
              <a:gd name="connsiteX52" fmla="*/ 590479 w 631437"/>
              <a:gd name="connsiteY52" fmla="*/ 365689 h 681919"/>
              <a:gd name="connsiteX53" fmla="*/ 549521 w 631437"/>
              <a:gd name="connsiteY53" fmla="*/ 324731 h 681919"/>
              <a:gd name="connsiteX54" fmla="*/ 590479 w 631437"/>
              <a:gd name="connsiteY54" fmla="*/ 283773 h 681919"/>
              <a:gd name="connsiteX55" fmla="*/ 448555 w 631437"/>
              <a:gd name="connsiteY55" fmla="*/ 283773 h 681919"/>
              <a:gd name="connsiteX56" fmla="*/ 489513 w 631437"/>
              <a:gd name="connsiteY56" fmla="*/ 324731 h 681919"/>
              <a:gd name="connsiteX57" fmla="*/ 448555 w 631437"/>
              <a:gd name="connsiteY57" fmla="*/ 365689 h 681919"/>
              <a:gd name="connsiteX58" fmla="*/ 407597 w 631437"/>
              <a:gd name="connsiteY58" fmla="*/ 324731 h 681919"/>
              <a:gd name="connsiteX59" fmla="*/ 448555 w 631437"/>
              <a:gd name="connsiteY59" fmla="*/ 283773 h 681919"/>
              <a:gd name="connsiteX60" fmla="*/ 306633 w 631437"/>
              <a:gd name="connsiteY60" fmla="*/ 283773 h 681919"/>
              <a:gd name="connsiteX61" fmla="*/ 347591 w 631437"/>
              <a:gd name="connsiteY61" fmla="*/ 324731 h 681919"/>
              <a:gd name="connsiteX62" fmla="*/ 306633 w 631437"/>
              <a:gd name="connsiteY62" fmla="*/ 365689 h 681919"/>
              <a:gd name="connsiteX63" fmla="*/ 265675 w 631437"/>
              <a:gd name="connsiteY63" fmla="*/ 324731 h 681919"/>
              <a:gd name="connsiteX64" fmla="*/ 306633 w 631437"/>
              <a:gd name="connsiteY64" fmla="*/ 283773 h 681919"/>
              <a:gd name="connsiteX65" fmla="*/ 164711 w 631437"/>
              <a:gd name="connsiteY65" fmla="*/ 283773 h 681919"/>
              <a:gd name="connsiteX66" fmla="*/ 205669 w 631437"/>
              <a:gd name="connsiteY66" fmla="*/ 324731 h 681919"/>
              <a:gd name="connsiteX67" fmla="*/ 164711 w 631437"/>
              <a:gd name="connsiteY67" fmla="*/ 365689 h 681919"/>
              <a:gd name="connsiteX68" fmla="*/ 123753 w 631437"/>
              <a:gd name="connsiteY68" fmla="*/ 324731 h 681919"/>
              <a:gd name="connsiteX69" fmla="*/ 164711 w 631437"/>
              <a:gd name="connsiteY69" fmla="*/ 283773 h 681919"/>
              <a:gd name="connsiteX70" fmla="*/ 22789 w 631437"/>
              <a:gd name="connsiteY70" fmla="*/ 283773 h 681919"/>
              <a:gd name="connsiteX71" fmla="*/ 63747 w 631437"/>
              <a:gd name="connsiteY71" fmla="*/ 324731 h 681919"/>
              <a:gd name="connsiteX72" fmla="*/ 22789 w 631437"/>
              <a:gd name="connsiteY72" fmla="*/ 365689 h 681919"/>
              <a:gd name="connsiteX73" fmla="*/ 0 w 631437"/>
              <a:gd name="connsiteY73" fmla="*/ 356249 h 681919"/>
              <a:gd name="connsiteX74" fmla="*/ 0 w 631437"/>
              <a:gd name="connsiteY74" fmla="*/ 293213 h 681919"/>
              <a:gd name="connsiteX75" fmla="*/ 448555 w 631437"/>
              <a:gd name="connsiteY75" fmla="*/ 125658 h 681919"/>
              <a:gd name="connsiteX76" fmla="*/ 489513 w 631437"/>
              <a:gd name="connsiteY76" fmla="*/ 166616 h 681919"/>
              <a:gd name="connsiteX77" fmla="*/ 448555 w 631437"/>
              <a:gd name="connsiteY77" fmla="*/ 207574 h 681919"/>
              <a:gd name="connsiteX78" fmla="*/ 407597 w 631437"/>
              <a:gd name="connsiteY78" fmla="*/ 166616 h 681919"/>
              <a:gd name="connsiteX79" fmla="*/ 448555 w 631437"/>
              <a:gd name="connsiteY79" fmla="*/ 125658 h 681919"/>
              <a:gd name="connsiteX80" fmla="*/ 306633 w 631437"/>
              <a:gd name="connsiteY80" fmla="*/ 125658 h 681919"/>
              <a:gd name="connsiteX81" fmla="*/ 347591 w 631437"/>
              <a:gd name="connsiteY81" fmla="*/ 166616 h 681919"/>
              <a:gd name="connsiteX82" fmla="*/ 306633 w 631437"/>
              <a:gd name="connsiteY82" fmla="*/ 207574 h 681919"/>
              <a:gd name="connsiteX83" fmla="*/ 265675 w 631437"/>
              <a:gd name="connsiteY83" fmla="*/ 166616 h 681919"/>
              <a:gd name="connsiteX84" fmla="*/ 306633 w 631437"/>
              <a:gd name="connsiteY84" fmla="*/ 125658 h 681919"/>
              <a:gd name="connsiteX85" fmla="*/ 164711 w 631437"/>
              <a:gd name="connsiteY85" fmla="*/ 125658 h 681919"/>
              <a:gd name="connsiteX86" fmla="*/ 205669 w 631437"/>
              <a:gd name="connsiteY86" fmla="*/ 166616 h 681919"/>
              <a:gd name="connsiteX87" fmla="*/ 164711 w 631437"/>
              <a:gd name="connsiteY87" fmla="*/ 207574 h 681919"/>
              <a:gd name="connsiteX88" fmla="*/ 123753 w 631437"/>
              <a:gd name="connsiteY88" fmla="*/ 166616 h 681919"/>
              <a:gd name="connsiteX89" fmla="*/ 164711 w 631437"/>
              <a:gd name="connsiteY89" fmla="*/ 125658 h 681919"/>
              <a:gd name="connsiteX90" fmla="*/ 22789 w 631437"/>
              <a:gd name="connsiteY90" fmla="*/ 125658 h 681919"/>
              <a:gd name="connsiteX91" fmla="*/ 63747 w 631437"/>
              <a:gd name="connsiteY91" fmla="*/ 166616 h 681919"/>
              <a:gd name="connsiteX92" fmla="*/ 22789 w 631437"/>
              <a:gd name="connsiteY92" fmla="*/ 207574 h 681919"/>
              <a:gd name="connsiteX93" fmla="*/ 0 w 631437"/>
              <a:gd name="connsiteY93" fmla="*/ 198134 h 681919"/>
              <a:gd name="connsiteX94" fmla="*/ 0 w 631437"/>
              <a:gd name="connsiteY94" fmla="*/ 135098 h 681919"/>
              <a:gd name="connsiteX95" fmla="*/ 590479 w 631437"/>
              <a:gd name="connsiteY95" fmla="*/ 125658 h 681919"/>
              <a:gd name="connsiteX96" fmla="*/ 631437 w 631437"/>
              <a:gd name="connsiteY96" fmla="*/ 166616 h 681919"/>
              <a:gd name="connsiteX97" fmla="*/ 590479 w 631437"/>
              <a:gd name="connsiteY97" fmla="*/ 207574 h 681919"/>
              <a:gd name="connsiteX98" fmla="*/ 549521 w 631437"/>
              <a:gd name="connsiteY98" fmla="*/ 166616 h 681919"/>
              <a:gd name="connsiteX99" fmla="*/ 590479 w 631437"/>
              <a:gd name="connsiteY99" fmla="*/ 125658 h 681919"/>
              <a:gd name="connsiteX100" fmla="*/ 553042 w 631437"/>
              <a:gd name="connsiteY100" fmla="*/ 0 h 681919"/>
              <a:gd name="connsiteX101" fmla="*/ 627916 w 631437"/>
              <a:gd name="connsiteY101" fmla="*/ 0 h 681919"/>
              <a:gd name="connsiteX102" fmla="*/ 631437 w 631437"/>
              <a:gd name="connsiteY102" fmla="*/ 8501 h 681919"/>
              <a:gd name="connsiteX103" fmla="*/ 590479 w 631437"/>
              <a:gd name="connsiteY103" fmla="*/ 49459 h 681919"/>
              <a:gd name="connsiteX104" fmla="*/ 549521 w 631437"/>
              <a:gd name="connsiteY104" fmla="*/ 8501 h 681919"/>
              <a:gd name="connsiteX105" fmla="*/ 411118 w 631437"/>
              <a:gd name="connsiteY105" fmla="*/ 0 h 681919"/>
              <a:gd name="connsiteX106" fmla="*/ 485992 w 631437"/>
              <a:gd name="connsiteY106" fmla="*/ 0 h 681919"/>
              <a:gd name="connsiteX107" fmla="*/ 489513 w 631437"/>
              <a:gd name="connsiteY107" fmla="*/ 8501 h 681919"/>
              <a:gd name="connsiteX108" fmla="*/ 448555 w 631437"/>
              <a:gd name="connsiteY108" fmla="*/ 49459 h 681919"/>
              <a:gd name="connsiteX109" fmla="*/ 407597 w 631437"/>
              <a:gd name="connsiteY109" fmla="*/ 8501 h 681919"/>
              <a:gd name="connsiteX110" fmla="*/ 269196 w 631437"/>
              <a:gd name="connsiteY110" fmla="*/ 0 h 681919"/>
              <a:gd name="connsiteX111" fmla="*/ 344070 w 631437"/>
              <a:gd name="connsiteY111" fmla="*/ 0 h 681919"/>
              <a:gd name="connsiteX112" fmla="*/ 347591 w 631437"/>
              <a:gd name="connsiteY112" fmla="*/ 8501 h 681919"/>
              <a:gd name="connsiteX113" fmla="*/ 306633 w 631437"/>
              <a:gd name="connsiteY113" fmla="*/ 49459 h 681919"/>
              <a:gd name="connsiteX114" fmla="*/ 265675 w 631437"/>
              <a:gd name="connsiteY114" fmla="*/ 8501 h 681919"/>
              <a:gd name="connsiteX115" fmla="*/ 127274 w 631437"/>
              <a:gd name="connsiteY115" fmla="*/ 0 h 681919"/>
              <a:gd name="connsiteX116" fmla="*/ 202148 w 631437"/>
              <a:gd name="connsiteY116" fmla="*/ 0 h 681919"/>
              <a:gd name="connsiteX117" fmla="*/ 205669 w 631437"/>
              <a:gd name="connsiteY117" fmla="*/ 8501 h 681919"/>
              <a:gd name="connsiteX118" fmla="*/ 164711 w 631437"/>
              <a:gd name="connsiteY118" fmla="*/ 49459 h 681919"/>
              <a:gd name="connsiteX119" fmla="*/ 123753 w 631437"/>
              <a:gd name="connsiteY119" fmla="*/ 8501 h 681919"/>
              <a:gd name="connsiteX120" fmla="*/ 0 w 631437"/>
              <a:gd name="connsiteY120" fmla="*/ 0 h 681919"/>
              <a:gd name="connsiteX121" fmla="*/ 60226 w 631437"/>
              <a:gd name="connsiteY121" fmla="*/ 0 h 681919"/>
              <a:gd name="connsiteX122" fmla="*/ 63747 w 631437"/>
              <a:gd name="connsiteY122" fmla="*/ 8501 h 681919"/>
              <a:gd name="connsiteX123" fmla="*/ 22789 w 631437"/>
              <a:gd name="connsiteY123" fmla="*/ 49459 h 681919"/>
              <a:gd name="connsiteX124" fmla="*/ 0 w 631437"/>
              <a:gd name="connsiteY124" fmla="*/ 40019 h 6819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631437" h="681919">
                <a:moveTo>
                  <a:pt x="590479" y="600003"/>
                </a:moveTo>
                <a:cubicBezTo>
                  <a:pt x="613099" y="600003"/>
                  <a:pt x="631437" y="618341"/>
                  <a:pt x="631437" y="640961"/>
                </a:cubicBezTo>
                <a:cubicBezTo>
                  <a:pt x="631437" y="663581"/>
                  <a:pt x="613099" y="681919"/>
                  <a:pt x="590479" y="681919"/>
                </a:cubicBezTo>
                <a:cubicBezTo>
                  <a:pt x="567859" y="681919"/>
                  <a:pt x="549521" y="663581"/>
                  <a:pt x="549521" y="640961"/>
                </a:cubicBezTo>
                <a:cubicBezTo>
                  <a:pt x="549521" y="618341"/>
                  <a:pt x="567859" y="600003"/>
                  <a:pt x="590479" y="600003"/>
                </a:cubicBezTo>
                <a:close/>
                <a:moveTo>
                  <a:pt x="448555" y="600003"/>
                </a:moveTo>
                <a:cubicBezTo>
                  <a:pt x="471175" y="600003"/>
                  <a:pt x="489513" y="618341"/>
                  <a:pt x="489513" y="640961"/>
                </a:cubicBezTo>
                <a:cubicBezTo>
                  <a:pt x="489513" y="663581"/>
                  <a:pt x="471175" y="681919"/>
                  <a:pt x="448555" y="681919"/>
                </a:cubicBezTo>
                <a:cubicBezTo>
                  <a:pt x="425935" y="681919"/>
                  <a:pt x="407597" y="663581"/>
                  <a:pt x="407597" y="640961"/>
                </a:cubicBezTo>
                <a:cubicBezTo>
                  <a:pt x="407597" y="618341"/>
                  <a:pt x="425935" y="600003"/>
                  <a:pt x="448555" y="600003"/>
                </a:cubicBezTo>
                <a:close/>
                <a:moveTo>
                  <a:pt x="306633" y="600003"/>
                </a:moveTo>
                <a:cubicBezTo>
                  <a:pt x="329253" y="600003"/>
                  <a:pt x="347591" y="618341"/>
                  <a:pt x="347591" y="640961"/>
                </a:cubicBezTo>
                <a:cubicBezTo>
                  <a:pt x="347591" y="663581"/>
                  <a:pt x="329253" y="681919"/>
                  <a:pt x="306633" y="681919"/>
                </a:cubicBezTo>
                <a:cubicBezTo>
                  <a:pt x="284013" y="681919"/>
                  <a:pt x="265675" y="663581"/>
                  <a:pt x="265675" y="640961"/>
                </a:cubicBezTo>
                <a:cubicBezTo>
                  <a:pt x="265675" y="618341"/>
                  <a:pt x="284013" y="600003"/>
                  <a:pt x="306633" y="600003"/>
                </a:cubicBezTo>
                <a:close/>
                <a:moveTo>
                  <a:pt x="164711" y="600003"/>
                </a:moveTo>
                <a:cubicBezTo>
                  <a:pt x="187331" y="600003"/>
                  <a:pt x="205669" y="618341"/>
                  <a:pt x="205669" y="640961"/>
                </a:cubicBezTo>
                <a:cubicBezTo>
                  <a:pt x="205669" y="663581"/>
                  <a:pt x="187331" y="681919"/>
                  <a:pt x="164711" y="681919"/>
                </a:cubicBezTo>
                <a:cubicBezTo>
                  <a:pt x="142091" y="681919"/>
                  <a:pt x="123753" y="663581"/>
                  <a:pt x="123753" y="640961"/>
                </a:cubicBezTo>
                <a:cubicBezTo>
                  <a:pt x="123753" y="618341"/>
                  <a:pt x="142091" y="600003"/>
                  <a:pt x="164711" y="600003"/>
                </a:cubicBezTo>
                <a:close/>
                <a:moveTo>
                  <a:pt x="22789" y="600003"/>
                </a:moveTo>
                <a:cubicBezTo>
                  <a:pt x="45409" y="600003"/>
                  <a:pt x="63747" y="618341"/>
                  <a:pt x="63747" y="640961"/>
                </a:cubicBezTo>
                <a:cubicBezTo>
                  <a:pt x="63747" y="663581"/>
                  <a:pt x="45409" y="681919"/>
                  <a:pt x="22789" y="681919"/>
                </a:cubicBezTo>
                <a:lnTo>
                  <a:pt x="0" y="672479"/>
                </a:lnTo>
                <a:lnTo>
                  <a:pt x="0" y="609443"/>
                </a:lnTo>
                <a:close/>
                <a:moveTo>
                  <a:pt x="590479" y="441888"/>
                </a:moveTo>
                <a:cubicBezTo>
                  <a:pt x="613099" y="441888"/>
                  <a:pt x="631437" y="460226"/>
                  <a:pt x="631437" y="482846"/>
                </a:cubicBezTo>
                <a:cubicBezTo>
                  <a:pt x="631437" y="505466"/>
                  <a:pt x="613099" y="523804"/>
                  <a:pt x="590479" y="523804"/>
                </a:cubicBezTo>
                <a:cubicBezTo>
                  <a:pt x="567859" y="523804"/>
                  <a:pt x="549521" y="505466"/>
                  <a:pt x="549521" y="482846"/>
                </a:cubicBezTo>
                <a:cubicBezTo>
                  <a:pt x="549521" y="460226"/>
                  <a:pt x="567859" y="441888"/>
                  <a:pt x="590479" y="441888"/>
                </a:cubicBezTo>
                <a:close/>
                <a:moveTo>
                  <a:pt x="448555" y="441888"/>
                </a:moveTo>
                <a:cubicBezTo>
                  <a:pt x="471175" y="441888"/>
                  <a:pt x="489513" y="460226"/>
                  <a:pt x="489513" y="482846"/>
                </a:cubicBezTo>
                <a:cubicBezTo>
                  <a:pt x="489513" y="505466"/>
                  <a:pt x="471175" y="523804"/>
                  <a:pt x="448555" y="523804"/>
                </a:cubicBezTo>
                <a:cubicBezTo>
                  <a:pt x="425935" y="523804"/>
                  <a:pt x="407597" y="505466"/>
                  <a:pt x="407597" y="482846"/>
                </a:cubicBezTo>
                <a:cubicBezTo>
                  <a:pt x="407597" y="460226"/>
                  <a:pt x="425935" y="441888"/>
                  <a:pt x="448555" y="441888"/>
                </a:cubicBezTo>
                <a:close/>
                <a:moveTo>
                  <a:pt x="306633" y="441888"/>
                </a:moveTo>
                <a:cubicBezTo>
                  <a:pt x="329253" y="441888"/>
                  <a:pt x="347591" y="460226"/>
                  <a:pt x="347591" y="482846"/>
                </a:cubicBezTo>
                <a:cubicBezTo>
                  <a:pt x="347591" y="505466"/>
                  <a:pt x="329253" y="523804"/>
                  <a:pt x="306633" y="523804"/>
                </a:cubicBezTo>
                <a:cubicBezTo>
                  <a:pt x="284013" y="523804"/>
                  <a:pt x="265675" y="505466"/>
                  <a:pt x="265675" y="482846"/>
                </a:cubicBezTo>
                <a:cubicBezTo>
                  <a:pt x="265675" y="460226"/>
                  <a:pt x="284013" y="441888"/>
                  <a:pt x="306633" y="441888"/>
                </a:cubicBezTo>
                <a:close/>
                <a:moveTo>
                  <a:pt x="164711" y="441888"/>
                </a:moveTo>
                <a:cubicBezTo>
                  <a:pt x="187331" y="441888"/>
                  <a:pt x="205669" y="460226"/>
                  <a:pt x="205669" y="482846"/>
                </a:cubicBezTo>
                <a:cubicBezTo>
                  <a:pt x="205669" y="505466"/>
                  <a:pt x="187331" y="523804"/>
                  <a:pt x="164711" y="523804"/>
                </a:cubicBezTo>
                <a:cubicBezTo>
                  <a:pt x="142091" y="523804"/>
                  <a:pt x="123753" y="505466"/>
                  <a:pt x="123753" y="482846"/>
                </a:cubicBezTo>
                <a:cubicBezTo>
                  <a:pt x="123753" y="460226"/>
                  <a:pt x="142091" y="441888"/>
                  <a:pt x="164711" y="441888"/>
                </a:cubicBezTo>
                <a:close/>
                <a:moveTo>
                  <a:pt x="22789" y="441888"/>
                </a:moveTo>
                <a:cubicBezTo>
                  <a:pt x="45409" y="441888"/>
                  <a:pt x="63747" y="460226"/>
                  <a:pt x="63747" y="482846"/>
                </a:cubicBezTo>
                <a:cubicBezTo>
                  <a:pt x="63747" y="505466"/>
                  <a:pt x="45409" y="523804"/>
                  <a:pt x="22789" y="523804"/>
                </a:cubicBezTo>
                <a:lnTo>
                  <a:pt x="0" y="514364"/>
                </a:lnTo>
                <a:lnTo>
                  <a:pt x="0" y="451328"/>
                </a:lnTo>
                <a:close/>
                <a:moveTo>
                  <a:pt x="590479" y="283773"/>
                </a:moveTo>
                <a:cubicBezTo>
                  <a:pt x="613099" y="283773"/>
                  <a:pt x="631437" y="302111"/>
                  <a:pt x="631437" y="324731"/>
                </a:cubicBezTo>
                <a:cubicBezTo>
                  <a:pt x="631437" y="347351"/>
                  <a:pt x="613099" y="365689"/>
                  <a:pt x="590479" y="365689"/>
                </a:cubicBezTo>
                <a:cubicBezTo>
                  <a:pt x="567859" y="365689"/>
                  <a:pt x="549521" y="347351"/>
                  <a:pt x="549521" y="324731"/>
                </a:cubicBezTo>
                <a:cubicBezTo>
                  <a:pt x="549521" y="302111"/>
                  <a:pt x="567859" y="283773"/>
                  <a:pt x="590479" y="283773"/>
                </a:cubicBezTo>
                <a:close/>
                <a:moveTo>
                  <a:pt x="448555" y="283773"/>
                </a:moveTo>
                <a:cubicBezTo>
                  <a:pt x="471175" y="283773"/>
                  <a:pt x="489513" y="302111"/>
                  <a:pt x="489513" y="324731"/>
                </a:cubicBezTo>
                <a:cubicBezTo>
                  <a:pt x="489513" y="347351"/>
                  <a:pt x="471175" y="365689"/>
                  <a:pt x="448555" y="365689"/>
                </a:cubicBezTo>
                <a:cubicBezTo>
                  <a:pt x="425935" y="365689"/>
                  <a:pt x="407597" y="347351"/>
                  <a:pt x="407597" y="324731"/>
                </a:cubicBezTo>
                <a:cubicBezTo>
                  <a:pt x="407597" y="302111"/>
                  <a:pt x="425935" y="283773"/>
                  <a:pt x="448555" y="283773"/>
                </a:cubicBezTo>
                <a:close/>
                <a:moveTo>
                  <a:pt x="306633" y="283773"/>
                </a:moveTo>
                <a:cubicBezTo>
                  <a:pt x="329253" y="283773"/>
                  <a:pt x="347591" y="302111"/>
                  <a:pt x="347591" y="324731"/>
                </a:cubicBezTo>
                <a:cubicBezTo>
                  <a:pt x="347591" y="347351"/>
                  <a:pt x="329253" y="365689"/>
                  <a:pt x="306633" y="365689"/>
                </a:cubicBezTo>
                <a:cubicBezTo>
                  <a:pt x="284013" y="365689"/>
                  <a:pt x="265675" y="347351"/>
                  <a:pt x="265675" y="324731"/>
                </a:cubicBezTo>
                <a:cubicBezTo>
                  <a:pt x="265675" y="302111"/>
                  <a:pt x="284013" y="283773"/>
                  <a:pt x="306633" y="283773"/>
                </a:cubicBezTo>
                <a:close/>
                <a:moveTo>
                  <a:pt x="164711" y="283773"/>
                </a:moveTo>
                <a:cubicBezTo>
                  <a:pt x="187331" y="283773"/>
                  <a:pt x="205669" y="302111"/>
                  <a:pt x="205669" y="324731"/>
                </a:cubicBezTo>
                <a:cubicBezTo>
                  <a:pt x="205669" y="347351"/>
                  <a:pt x="187331" y="365689"/>
                  <a:pt x="164711" y="365689"/>
                </a:cubicBezTo>
                <a:cubicBezTo>
                  <a:pt x="142091" y="365689"/>
                  <a:pt x="123753" y="347351"/>
                  <a:pt x="123753" y="324731"/>
                </a:cubicBezTo>
                <a:cubicBezTo>
                  <a:pt x="123753" y="302111"/>
                  <a:pt x="142091" y="283773"/>
                  <a:pt x="164711" y="283773"/>
                </a:cubicBezTo>
                <a:close/>
                <a:moveTo>
                  <a:pt x="22789" y="283773"/>
                </a:moveTo>
                <a:cubicBezTo>
                  <a:pt x="45409" y="283773"/>
                  <a:pt x="63747" y="302111"/>
                  <a:pt x="63747" y="324731"/>
                </a:cubicBezTo>
                <a:cubicBezTo>
                  <a:pt x="63747" y="347351"/>
                  <a:pt x="45409" y="365689"/>
                  <a:pt x="22789" y="365689"/>
                </a:cubicBezTo>
                <a:lnTo>
                  <a:pt x="0" y="356249"/>
                </a:lnTo>
                <a:lnTo>
                  <a:pt x="0" y="293213"/>
                </a:lnTo>
                <a:close/>
                <a:moveTo>
                  <a:pt x="448555" y="125658"/>
                </a:moveTo>
                <a:cubicBezTo>
                  <a:pt x="471175" y="125658"/>
                  <a:pt x="489513" y="143996"/>
                  <a:pt x="489513" y="166616"/>
                </a:cubicBezTo>
                <a:cubicBezTo>
                  <a:pt x="489513" y="189236"/>
                  <a:pt x="471175" y="207574"/>
                  <a:pt x="448555" y="207574"/>
                </a:cubicBezTo>
                <a:cubicBezTo>
                  <a:pt x="425935" y="207574"/>
                  <a:pt x="407597" y="189236"/>
                  <a:pt x="407597" y="166616"/>
                </a:cubicBezTo>
                <a:cubicBezTo>
                  <a:pt x="407597" y="143996"/>
                  <a:pt x="425935" y="125658"/>
                  <a:pt x="448555" y="125658"/>
                </a:cubicBezTo>
                <a:close/>
                <a:moveTo>
                  <a:pt x="306633" y="125658"/>
                </a:moveTo>
                <a:cubicBezTo>
                  <a:pt x="329253" y="125658"/>
                  <a:pt x="347591" y="143996"/>
                  <a:pt x="347591" y="166616"/>
                </a:cubicBezTo>
                <a:cubicBezTo>
                  <a:pt x="347591" y="189236"/>
                  <a:pt x="329253" y="207574"/>
                  <a:pt x="306633" y="207574"/>
                </a:cubicBezTo>
                <a:cubicBezTo>
                  <a:pt x="284013" y="207574"/>
                  <a:pt x="265675" y="189236"/>
                  <a:pt x="265675" y="166616"/>
                </a:cubicBezTo>
                <a:cubicBezTo>
                  <a:pt x="265675" y="143996"/>
                  <a:pt x="284013" y="125658"/>
                  <a:pt x="306633" y="125658"/>
                </a:cubicBezTo>
                <a:close/>
                <a:moveTo>
                  <a:pt x="164711" y="125658"/>
                </a:moveTo>
                <a:cubicBezTo>
                  <a:pt x="187331" y="125658"/>
                  <a:pt x="205669" y="143996"/>
                  <a:pt x="205669" y="166616"/>
                </a:cubicBezTo>
                <a:cubicBezTo>
                  <a:pt x="205669" y="189236"/>
                  <a:pt x="187331" y="207574"/>
                  <a:pt x="164711" y="207574"/>
                </a:cubicBezTo>
                <a:cubicBezTo>
                  <a:pt x="142091" y="207574"/>
                  <a:pt x="123753" y="189236"/>
                  <a:pt x="123753" y="166616"/>
                </a:cubicBezTo>
                <a:cubicBezTo>
                  <a:pt x="123753" y="143996"/>
                  <a:pt x="142091" y="125658"/>
                  <a:pt x="164711" y="125658"/>
                </a:cubicBezTo>
                <a:close/>
                <a:moveTo>
                  <a:pt x="22789" y="125658"/>
                </a:moveTo>
                <a:cubicBezTo>
                  <a:pt x="45409" y="125658"/>
                  <a:pt x="63747" y="143996"/>
                  <a:pt x="63747" y="166616"/>
                </a:cubicBezTo>
                <a:cubicBezTo>
                  <a:pt x="63747" y="189236"/>
                  <a:pt x="45409" y="207574"/>
                  <a:pt x="22789" y="207574"/>
                </a:cubicBezTo>
                <a:lnTo>
                  <a:pt x="0" y="198134"/>
                </a:lnTo>
                <a:lnTo>
                  <a:pt x="0" y="135098"/>
                </a:lnTo>
                <a:close/>
                <a:moveTo>
                  <a:pt x="590479" y="125658"/>
                </a:moveTo>
                <a:cubicBezTo>
                  <a:pt x="613099" y="125658"/>
                  <a:pt x="631437" y="143996"/>
                  <a:pt x="631437" y="166616"/>
                </a:cubicBezTo>
                <a:cubicBezTo>
                  <a:pt x="631437" y="189236"/>
                  <a:pt x="613099" y="207574"/>
                  <a:pt x="590479" y="207574"/>
                </a:cubicBezTo>
                <a:cubicBezTo>
                  <a:pt x="567859" y="207574"/>
                  <a:pt x="549521" y="189236"/>
                  <a:pt x="549521" y="166616"/>
                </a:cubicBezTo>
                <a:cubicBezTo>
                  <a:pt x="549521" y="143996"/>
                  <a:pt x="567859" y="125658"/>
                  <a:pt x="590479" y="125658"/>
                </a:cubicBezTo>
                <a:close/>
                <a:moveTo>
                  <a:pt x="553042" y="0"/>
                </a:moveTo>
                <a:lnTo>
                  <a:pt x="627916" y="0"/>
                </a:lnTo>
                <a:lnTo>
                  <a:pt x="631437" y="8501"/>
                </a:lnTo>
                <a:cubicBezTo>
                  <a:pt x="631437" y="31121"/>
                  <a:pt x="613099" y="49459"/>
                  <a:pt x="590479" y="49459"/>
                </a:cubicBezTo>
                <a:cubicBezTo>
                  <a:pt x="567859" y="49459"/>
                  <a:pt x="549521" y="31121"/>
                  <a:pt x="549521" y="8501"/>
                </a:cubicBezTo>
                <a:close/>
                <a:moveTo>
                  <a:pt x="411118" y="0"/>
                </a:moveTo>
                <a:lnTo>
                  <a:pt x="485992" y="0"/>
                </a:lnTo>
                <a:lnTo>
                  <a:pt x="489513" y="8501"/>
                </a:lnTo>
                <a:cubicBezTo>
                  <a:pt x="489513" y="31121"/>
                  <a:pt x="471175" y="49459"/>
                  <a:pt x="448555" y="49459"/>
                </a:cubicBezTo>
                <a:cubicBezTo>
                  <a:pt x="425935" y="49459"/>
                  <a:pt x="407597" y="31121"/>
                  <a:pt x="407597" y="8501"/>
                </a:cubicBezTo>
                <a:close/>
                <a:moveTo>
                  <a:pt x="269196" y="0"/>
                </a:moveTo>
                <a:lnTo>
                  <a:pt x="344070" y="0"/>
                </a:lnTo>
                <a:lnTo>
                  <a:pt x="347591" y="8501"/>
                </a:lnTo>
                <a:cubicBezTo>
                  <a:pt x="347591" y="31121"/>
                  <a:pt x="329253" y="49459"/>
                  <a:pt x="306633" y="49459"/>
                </a:cubicBezTo>
                <a:cubicBezTo>
                  <a:pt x="284013" y="49459"/>
                  <a:pt x="265675" y="31121"/>
                  <a:pt x="265675" y="8501"/>
                </a:cubicBezTo>
                <a:close/>
                <a:moveTo>
                  <a:pt x="127274" y="0"/>
                </a:moveTo>
                <a:lnTo>
                  <a:pt x="202148" y="0"/>
                </a:lnTo>
                <a:lnTo>
                  <a:pt x="205669" y="8501"/>
                </a:lnTo>
                <a:cubicBezTo>
                  <a:pt x="205669" y="31121"/>
                  <a:pt x="187331" y="49459"/>
                  <a:pt x="164711" y="49459"/>
                </a:cubicBezTo>
                <a:cubicBezTo>
                  <a:pt x="142091" y="49459"/>
                  <a:pt x="123753" y="31121"/>
                  <a:pt x="123753" y="8501"/>
                </a:cubicBezTo>
                <a:close/>
                <a:moveTo>
                  <a:pt x="0" y="0"/>
                </a:moveTo>
                <a:lnTo>
                  <a:pt x="60226" y="0"/>
                </a:lnTo>
                <a:lnTo>
                  <a:pt x="63747" y="8501"/>
                </a:lnTo>
                <a:cubicBezTo>
                  <a:pt x="63747" y="31121"/>
                  <a:pt x="45409" y="49459"/>
                  <a:pt x="22789" y="49459"/>
                </a:cubicBezTo>
                <a:lnTo>
                  <a:pt x="0" y="40019"/>
                </a:lnTo>
                <a:close/>
              </a:path>
            </a:pathLst>
          </a:custGeom>
          <a:gradFill flip="none" rotWithShape="1">
            <a:gsLst>
              <a:gs pos="6000">
                <a:srgbClr val="FE832C"/>
              </a:gs>
              <a:gs pos="61000">
                <a:srgbClr val="FFCEAB"/>
              </a:gs>
              <a:gs pos="0">
                <a:srgbClr val="EA5504"/>
              </a:gs>
              <a:gs pos="100000">
                <a:srgbClr val="FBE9D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4" name="组合 13">
            <a:extLst>
              <a:ext uri="{FF2B5EF4-FFF2-40B4-BE49-F238E27FC236}">
                <a16:creationId xmlns:a16="http://schemas.microsoft.com/office/drawing/2014/main" id="{946535DC-6234-4198-A484-742881CAAFB2}"/>
              </a:ext>
            </a:extLst>
          </p:cNvPr>
          <p:cNvGrpSpPr/>
          <p:nvPr userDrawn="1"/>
        </p:nvGrpSpPr>
        <p:grpSpPr>
          <a:xfrm>
            <a:off x="741424" y="571834"/>
            <a:ext cx="2812005" cy="468667"/>
            <a:chOff x="660400" y="492126"/>
            <a:chExt cx="3257550" cy="54292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9103FE1A-A86B-4804-BFAA-8100275542A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0400" y="492126"/>
              <a:ext cx="3257550" cy="285750"/>
            </a:xfrm>
            <a:custGeom>
              <a:avLst/>
              <a:gdLst>
                <a:gd name="T0" fmla="*/ 1282 w 1998"/>
                <a:gd name="T1" fmla="*/ 16 h 174"/>
                <a:gd name="T2" fmla="*/ 1247 w 1998"/>
                <a:gd name="T3" fmla="*/ 166 h 174"/>
                <a:gd name="T4" fmla="*/ 1376 w 1998"/>
                <a:gd name="T5" fmla="*/ 167 h 174"/>
                <a:gd name="T6" fmla="*/ 1409 w 1998"/>
                <a:gd name="T7" fmla="*/ 17 h 174"/>
                <a:gd name="T8" fmla="*/ 1184 w 1998"/>
                <a:gd name="T9" fmla="*/ 166 h 174"/>
                <a:gd name="T10" fmla="*/ 1214 w 1998"/>
                <a:gd name="T11" fmla="*/ 13 h 174"/>
                <a:gd name="T12" fmla="*/ 1122 w 1998"/>
                <a:gd name="T13" fmla="*/ 41 h 174"/>
                <a:gd name="T14" fmla="*/ 1007 w 1998"/>
                <a:gd name="T15" fmla="*/ 17 h 174"/>
                <a:gd name="T16" fmla="*/ 1042 w 1998"/>
                <a:gd name="T17" fmla="*/ 122 h 174"/>
                <a:gd name="T18" fmla="*/ 1994 w 1998"/>
                <a:gd name="T19" fmla="*/ 13 h 174"/>
                <a:gd name="T20" fmla="*/ 1863 w 1998"/>
                <a:gd name="T21" fmla="*/ 13 h 174"/>
                <a:gd name="T22" fmla="*/ 1840 w 1998"/>
                <a:gd name="T23" fmla="*/ 170 h 174"/>
                <a:gd name="T24" fmla="*/ 1971 w 1998"/>
                <a:gd name="T25" fmla="*/ 170 h 174"/>
                <a:gd name="T26" fmla="*/ 1994 w 1998"/>
                <a:gd name="T27" fmla="*/ 13 h 174"/>
                <a:gd name="T28" fmla="*/ 1488 w 1998"/>
                <a:gd name="T29" fmla="*/ 172 h 174"/>
                <a:gd name="T30" fmla="*/ 1513 w 1998"/>
                <a:gd name="T31" fmla="*/ 104 h 174"/>
                <a:gd name="T32" fmla="*/ 1471 w 1998"/>
                <a:gd name="T33" fmla="*/ 142 h 174"/>
                <a:gd name="T34" fmla="*/ 1562 w 1998"/>
                <a:gd name="T35" fmla="*/ 44 h 174"/>
                <a:gd name="T36" fmla="*/ 1596 w 1998"/>
                <a:gd name="T37" fmla="*/ 58 h 174"/>
                <a:gd name="T38" fmla="*/ 767 w 1998"/>
                <a:gd name="T39" fmla="*/ 112 h 174"/>
                <a:gd name="T40" fmla="*/ 894 w 1998"/>
                <a:gd name="T41" fmla="*/ 65 h 174"/>
                <a:gd name="T42" fmla="*/ 832 w 1998"/>
                <a:gd name="T43" fmla="*/ 51 h 174"/>
                <a:gd name="T44" fmla="*/ 731 w 1998"/>
                <a:gd name="T45" fmla="*/ 48 h 174"/>
                <a:gd name="T46" fmla="*/ 692 w 1998"/>
                <a:gd name="T47" fmla="*/ 85 h 174"/>
                <a:gd name="T48" fmla="*/ 767 w 1998"/>
                <a:gd name="T49" fmla="*/ 138 h 174"/>
                <a:gd name="T50" fmla="*/ 700 w 1998"/>
                <a:gd name="T51" fmla="*/ 170 h 174"/>
                <a:gd name="T52" fmla="*/ 859 w 1998"/>
                <a:gd name="T53" fmla="*/ 170 h 174"/>
                <a:gd name="T54" fmla="*/ 859 w 1998"/>
                <a:gd name="T55" fmla="*/ 146 h 174"/>
                <a:gd name="T56" fmla="*/ 894 w 1998"/>
                <a:gd name="T57" fmla="*/ 89 h 174"/>
                <a:gd name="T58" fmla="*/ 1740 w 1998"/>
                <a:gd name="T59" fmla="*/ 13 h 174"/>
                <a:gd name="T60" fmla="*/ 1663 w 1998"/>
                <a:gd name="T61" fmla="*/ 170 h 174"/>
                <a:gd name="T62" fmla="*/ 1816 w 1998"/>
                <a:gd name="T63" fmla="*/ 170 h 174"/>
                <a:gd name="T64" fmla="*/ 597 w 1998"/>
                <a:gd name="T65" fmla="*/ 98 h 174"/>
                <a:gd name="T66" fmla="*/ 654 w 1998"/>
                <a:gd name="T67" fmla="*/ 46 h 174"/>
                <a:gd name="T68" fmla="*/ 416 w 1998"/>
                <a:gd name="T69" fmla="*/ 28 h 174"/>
                <a:gd name="T70" fmla="*/ 239 w 1998"/>
                <a:gd name="T71" fmla="*/ 148 h 174"/>
                <a:gd name="T72" fmla="*/ 423 w 1998"/>
                <a:gd name="T73" fmla="*/ 6 h 174"/>
                <a:gd name="T74" fmla="*/ 872 w 1998"/>
                <a:gd name="T75" fmla="*/ 34 h 174"/>
                <a:gd name="T76" fmla="*/ 897 w 1998"/>
                <a:gd name="T77" fmla="*/ 32 h 174"/>
                <a:gd name="T78" fmla="*/ 782 w 1998"/>
                <a:gd name="T79" fmla="*/ 0 h 174"/>
                <a:gd name="T80" fmla="*/ 693 w 1998"/>
                <a:gd name="T81" fmla="*/ 45 h 174"/>
                <a:gd name="T82" fmla="*/ 179 w 1998"/>
                <a:gd name="T83" fmla="*/ 49 h 174"/>
                <a:gd name="T84" fmla="*/ 88 w 1998"/>
                <a:gd name="T85" fmla="*/ 49 h 174"/>
                <a:gd name="T86" fmla="*/ 118 w 1998"/>
                <a:gd name="T87" fmla="*/ 1 h 174"/>
                <a:gd name="T88" fmla="*/ 0 w 1998"/>
                <a:gd name="T89" fmla="*/ 46 h 174"/>
                <a:gd name="T90" fmla="*/ 91 w 1998"/>
                <a:gd name="T91" fmla="*/ 174 h 174"/>
                <a:gd name="T92" fmla="*/ 210 w 1998"/>
                <a:gd name="T93" fmla="*/ 118 h 174"/>
                <a:gd name="T94" fmla="*/ 379 w 1998"/>
                <a:gd name="T95" fmla="*/ 112 h 174"/>
                <a:gd name="T96" fmla="*/ 357 w 1998"/>
                <a:gd name="T97" fmla="*/ 75 h 174"/>
                <a:gd name="T98" fmla="*/ 284 w 1998"/>
                <a:gd name="T99" fmla="*/ 61 h 174"/>
                <a:gd name="T100" fmla="*/ 328 w 1998"/>
                <a:gd name="T101" fmla="*/ 93 h 174"/>
                <a:gd name="T102" fmla="*/ 401 w 1998"/>
                <a:gd name="T103" fmla="*/ 104 h 174"/>
                <a:gd name="T104" fmla="*/ 512 w 1998"/>
                <a:gd name="T105" fmla="*/ 46 h 174"/>
                <a:gd name="T106" fmla="*/ 669 w 1998"/>
                <a:gd name="T107" fmla="*/ 115 h 174"/>
                <a:gd name="T108" fmla="*/ 666 w 1998"/>
                <a:gd name="T109" fmla="*/ 14 h 174"/>
                <a:gd name="T110" fmla="*/ 479 w 1998"/>
                <a:gd name="T111" fmla="*/ 33 h 174"/>
                <a:gd name="T112" fmla="*/ 469 w 1998"/>
                <a:gd name="T113" fmla="*/ 135 h 174"/>
                <a:gd name="T114" fmla="*/ 583 w 1998"/>
                <a:gd name="T115" fmla="*/ 174 h 174"/>
                <a:gd name="T116" fmla="*/ 673 w 1998"/>
                <a:gd name="T117" fmla="*/ 119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98" h="174">
                  <a:moveTo>
                    <a:pt x="1405" y="13"/>
                  </a:moveTo>
                  <a:cubicBezTo>
                    <a:pt x="1382" y="13"/>
                    <a:pt x="1382" y="13"/>
                    <a:pt x="1382" y="13"/>
                  </a:cubicBezTo>
                  <a:cubicBezTo>
                    <a:pt x="1379" y="13"/>
                    <a:pt x="1378" y="15"/>
                    <a:pt x="1378" y="17"/>
                  </a:cubicBezTo>
                  <a:cubicBezTo>
                    <a:pt x="1378" y="125"/>
                    <a:pt x="1378" y="125"/>
                    <a:pt x="1378" y="125"/>
                  </a:cubicBezTo>
                  <a:cubicBezTo>
                    <a:pt x="1365" y="111"/>
                    <a:pt x="1284" y="18"/>
                    <a:pt x="1282" y="16"/>
                  </a:cubicBezTo>
                  <a:cubicBezTo>
                    <a:pt x="1279" y="13"/>
                    <a:pt x="1276" y="13"/>
                    <a:pt x="1275" y="13"/>
                  </a:cubicBezTo>
                  <a:cubicBezTo>
                    <a:pt x="1275" y="13"/>
                    <a:pt x="1275" y="13"/>
                    <a:pt x="1275" y="13"/>
                  </a:cubicBezTo>
                  <a:cubicBezTo>
                    <a:pt x="1251" y="13"/>
                    <a:pt x="1251" y="13"/>
                    <a:pt x="1251" y="13"/>
                  </a:cubicBezTo>
                  <a:cubicBezTo>
                    <a:pt x="1249" y="13"/>
                    <a:pt x="1247" y="15"/>
                    <a:pt x="1247" y="17"/>
                  </a:cubicBezTo>
                  <a:cubicBezTo>
                    <a:pt x="1247" y="166"/>
                    <a:pt x="1247" y="166"/>
                    <a:pt x="1247" y="166"/>
                  </a:cubicBezTo>
                  <a:cubicBezTo>
                    <a:pt x="1247" y="168"/>
                    <a:pt x="1249" y="170"/>
                    <a:pt x="1251" y="170"/>
                  </a:cubicBezTo>
                  <a:cubicBezTo>
                    <a:pt x="1275" y="170"/>
                    <a:pt x="1275" y="170"/>
                    <a:pt x="1275" y="170"/>
                  </a:cubicBezTo>
                  <a:cubicBezTo>
                    <a:pt x="1277" y="170"/>
                    <a:pt x="1279" y="168"/>
                    <a:pt x="1279" y="166"/>
                  </a:cubicBezTo>
                  <a:cubicBezTo>
                    <a:pt x="1279" y="57"/>
                    <a:pt x="1279" y="57"/>
                    <a:pt x="1279" y="57"/>
                  </a:cubicBezTo>
                  <a:cubicBezTo>
                    <a:pt x="1287" y="67"/>
                    <a:pt x="1373" y="165"/>
                    <a:pt x="1376" y="167"/>
                  </a:cubicBezTo>
                  <a:cubicBezTo>
                    <a:pt x="1378" y="169"/>
                    <a:pt x="1381" y="170"/>
                    <a:pt x="1383" y="170"/>
                  </a:cubicBezTo>
                  <a:cubicBezTo>
                    <a:pt x="1383" y="170"/>
                    <a:pt x="1383" y="170"/>
                    <a:pt x="1383" y="170"/>
                  </a:cubicBezTo>
                  <a:cubicBezTo>
                    <a:pt x="1405" y="170"/>
                    <a:pt x="1405" y="170"/>
                    <a:pt x="1405" y="170"/>
                  </a:cubicBezTo>
                  <a:cubicBezTo>
                    <a:pt x="1407" y="170"/>
                    <a:pt x="1409" y="168"/>
                    <a:pt x="1409" y="166"/>
                  </a:cubicBezTo>
                  <a:cubicBezTo>
                    <a:pt x="1409" y="17"/>
                    <a:pt x="1409" y="17"/>
                    <a:pt x="1409" y="17"/>
                  </a:cubicBezTo>
                  <a:cubicBezTo>
                    <a:pt x="1409" y="15"/>
                    <a:pt x="1407" y="13"/>
                    <a:pt x="1405" y="13"/>
                  </a:cubicBezTo>
                  <a:moveTo>
                    <a:pt x="1214" y="13"/>
                  </a:moveTo>
                  <a:cubicBezTo>
                    <a:pt x="1188" y="13"/>
                    <a:pt x="1188" y="13"/>
                    <a:pt x="1188" y="13"/>
                  </a:cubicBezTo>
                  <a:cubicBezTo>
                    <a:pt x="1186" y="13"/>
                    <a:pt x="1184" y="15"/>
                    <a:pt x="1184" y="17"/>
                  </a:cubicBezTo>
                  <a:cubicBezTo>
                    <a:pt x="1184" y="166"/>
                    <a:pt x="1184" y="166"/>
                    <a:pt x="1184" y="166"/>
                  </a:cubicBezTo>
                  <a:cubicBezTo>
                    <a:pt x="1184" y="168"/>
                    <a:pt x="1186" y="170"/>
                    <a:pt x="1188" y="170"/>
                  </a:cubicBezTo>
                  <a:cubicBezTo>
                    <a:pt x="1214" y="170"/>
                    <a:pt x="1214" y="170"/>
                    <a:pt x="1214" y="170"/>
                  </a:cubicBezTo>
                  <a:cubicBezTo>
                    <a:pt x="1216" y="170"/>
                    <a:pt x="1218" y="168"/>
                    <a:pt x="1218" y="166"/>
                  </a:cubicBezTo>
                  <a:cubicBezTo>
                    <a:pt x="1218" y="17"/>
                    <a:pt x="1218" y="17"/>
                    <a:pt x="1218" y="17"/>
                  </a:cubicBezTo>
                  <a:cubicBezTo>
                    <a:pt x="1218" y="15"/>
                    <a:pt x="1216" y="13"/>
                    <a:pt x="1214" y="13"/>
                  </a:cubicBezTo>
                  <a:moveTo>
                    <a:pt x="1125" y="91"/>
                  </a:moveTo>
                  <a:cubicBezTo>
                    <a:pt x="1125" y="93"/>
                    <a:pt x="1124" y="94"/>
                    <a:pt x="1122" y="94"/>
                  </a:cubicBezTo>
                  <a:cubicBezTo>
                    <a:pt x="1042" y="94"/>
                    <a:pt x="1042" y="94"/>
                    <a:pt x="1042" y="94"/>
                  </a:cubicBezTo>
                  <a:cubicBezTo>
                    <a:pt x="1042" y="41"/>
                    <a:pt x="1042" y="41"/>
                    <a:pt x="1042" y="41"/>
                  </a:cubicBezTo>
                  <a:cubicBezTo>
                    <a:pt x="1122" y="41"/>
                    <a:pt x="1122" y="41"/>
                    <a:pt x="1122" y="41"/>
                  </a:cubicBezTo>
                  <a:cubicBezTo>
                    <a:pt x="1124" y="41"/>
                    <a:pt x="1125" y="42"/>
                    <a:pt x="1125" y="44"/>
                  </a:cubicBezTo>
                  <a:lnTo>
                    <a:pt x="1125" y="91"/>
                  </a:lnTo>
                  <a:close/>
                  <a:moveTo>
                    <a:pt x="1108" y="13"/>
                  </a:moveTo>
                  <a:cubicBezTo>
                    <a:pt x="1011" y="13"/>
                    <a:pt x="1011" y="13"/>
                    <a:pt x="1011" y="13"/>
                  </a:cubicBezTo>
                  <a:cubicBezTo>
                    <a:pt x="1009" y="13"/>
                    <a:pt x="1007" y="15"/>
                    <a:pt x="1007" y="17"/>
                  </a:cubicBezTo>
                  <a:cubicBezTo>
                    <a:pt x="1007" y="166"/>
                    <a:pt x="1007" y="166"/>
                    <a:pt x="1007" y="166"/>
                  </a:cubicBezTo>
                  <a:cubicBezTo>
                    <a:pt x="1007" y="168"/>
                    <a:pt x="1009" y="170"/>
                    <a:pt x="1011" y="170"/>
                  </a:cubicBezTo>
                  <a:cubicBezTo>
                    <a:pt x="1038" y="170"/>
                    <a:pt x="1038" y="170"/>
                    <a:pt x="1038" y="170"/>
                  </a:cubicBezTo>
                  <a:cubicBezTo>
                    <a:pt x="1040" y="170"/>
                    <a:pt x="1042" y="168"/>
                    <a:pt x="1042" y="166"/>
                  </a:cubicBezTo>
                  <a:cubicBezTo>
                    <a:pt x="1042" y="122"/>
                    <a:pt x="1042" y="122"/>
                    <a:pt x="1042" y="122"/>
                  </a:cubicBezTo>
                  <a:cubicBezTo>
                    <a:pt x="1108" y="122"/>
                    <a:pt x="1108" y="122"/>
                    <a:pt x="1108" y="122"/>
                  </a:cubicBezTo>
                  <a:cubicBezTo>
                    <a:pt x="1137" y="122"/>
                    <a:pt x="1161" y="104"/>
                    <a:pt x="1161" y="78"/>
                  </a:cubicBezTo>
                  <a:cubicBezTo>
                    <a:pt x="1161" y="61"/>
                    <a:pt x="1161" y="61"/>
                    <a:pt x="1161" y="61"/>
                  </a:cubicBezTo>
                  <a:cubicBezTo>
                    <a:pt x="1161" y="34"/>
                    <a:pt x="1137" y="13"/>
                    <a:pt x="1108" y="13"/>
                  </a:cubicBezTo>
                  <a:moveTo>
                    <a:pt x="1994" y="13"/>
                  </a:moveTo>
                  <a:cubicBezTo>
                    <a:pt x="1970" y="13"/>
                    <a:pt x="1970" y="13"/>
                    <a:pt x="1970" y="13"/>
                  </a:cubicBezTo>
                  <a:cubicBezTo>
                    <a:pt x="1968" y="13"/>
                    <a:pt x="1967" y="15"/>
                    <a:pt x="1967" y="17"/>
                  </a:cubicBezTo>
                  <a:cubicBezTo>
                    <a:pt x="1967" y="125"/>
                    <a:pt x="1967" y="125"/>
                    <a:pt x="1967" y="125"/>
                  </a:cubicBezTo>
                  <a:cubicBezTo>
                    <a:pt x="1954" y="111"/>
                    <a:pt x="1872" y="18"/>
                    <a:pt x="1870" y="16"/>
                  </a:cubicBezTo>
                  <a:cubicBezTo>
                    <a:pt x="1868" y="13"/>
                    <a:pt x="1865" y="13"/>
                    <a:pt x="1863" y="13"/>
                  </a:cubicBezTo>
                  <a:cubicBezTo>
                    <a:pt x="1863" y="13"/>
                    <a:pt x="1863" y="13"/>
                    <a:pt x="1863" y="13"/>
                  </a:cubicBezTo>
                  <a:cubicBezTo>
                    <a:pt x="1840" y="13"/>
                    <a:pt x="1840" y="13"/>
                    <a:pt x="1840" y="13"/>
                  </a:cubicBezTo>
                  <a:cubicBezTo>
                    <a:pt x="1838" y="13"/>
                    <a:pt x="1836" y="15"/>
                    <a:pt x="1836" y="17"/>
                  </a:cubicBezTo>
                  <a:cubicBezTo>
                    <a:pt x="1836" y="166"/>
                    <a:pt x="1836" y="166"/>
                    <a:pt x="1836" y="166"/>
                  </a:cubicBezTo>
                  <a:cubicBezTo>
                    <a:pt x="1836" y="168"/>
                    <a:pt x="1838" y="170"/>
                    <a:pt x="1840" y="170"/>
                  </a:cubicBezTo>
                  <a:cubicBezTo>
                    <a:pt x="1864" y="170"/>
                    <a:pt x="1864" y="170"/>
                    <a:pt x="1864" y="170"/>
                  </a:cubicBezTo>
                  <a:cubicBezTo>
                    <a:pt x="1866" y="170"/>
                    <a:pt x="1867" y="168"/>
                    <a:pt x="1867" y="166"/>
                  </a:cubicBezTo>
                  <a:cubicBezTo>
                    <a:pt x="1867" y="57"/>
                    <a:pt x="1867" y="57"/>
                    <a:pt x="1867" y="57"/>
                  </a:cubicBezTo>
                  <a:cubicBezTo>
                    <a:pt x="1876" y="67"/>
                    <a:pt x="1962" y="165"/>
                    <a:pt x="1964" y="167"/>
                  </a:cubicBezTo>
                  <a:cubicBezTo>
                    <a:pt x="1967" y="169"/>
                    <a:pt x="1969" y="170"/>
                    <a:pt x="1971" y="170"/>
                  </a:cubicBezTo>
                  <a:cubicBezTo>
                    <a:pt x="1971" y="170"/>
                    <a:pt x="1971" y="170"/>
                    <a:pt x="1971" y="170"/>
                  </a:cubicBezTo>
                  <a:cubicBezTo>
                    <a:pt x="1994" y="170"/>
                    <a:pt x="1994" y="170"/>
                    <a:pt x="1994" y="170"/>
                  </a:cubicBezTo>
                  <a:cubicBezTo>
                    <a:pt x="1996" y="170"/>
                    <a:pt x="1998" y="168"/>
                    <a:pt x="1998" y="166"/>
                  </a:cubicBezTo>
                  <a:cubicBezTo>
                    <a:pt x="1998" y="17"/>
                    <a:pt x="1998" y="17"/>
                    <a:pt x="1998" y="17"/>
                  </a:cubicBezTo>
                  <a:cubicBezTo>
                    <a:pt x="1998" y="15"/>
                    <a:pt x="1996" y="13"/>
                    <a:pt x="1994" y="13"/>
                  </a:cubicBezTo>
                  <a:moveTo>
                    <a:pt x="1542" y="11"/>
                  </a:moveTo>
                  <a:cubicBezTo>
                    <a:pt x="1488" y="11"/>
                    <a:pt x="1488" y="11"/>
                    <a:pt x="1488" y="11"/>
                  </a:cubicBezTo>
                  <a:cubicBezTo>
                    <a:pt x="1458" y="11"/>
                    <a:pt x="1434" y="32"/>
                    <a:pt x="1434" y="58"/>
                  </a:cubicBezTo>
                  <a:cubicBezTo>
                    <a:pt x="1434" y="124"/>
                    <a:pt x="1434" y="124"/>
                    <a:pt x="1434" y="124"/>
                  </a:cubicBezTo>
                  <a:cubicBezTo>
                    <a:pt x="1434" y="150"/>
                    <a:pt x="1458" y="172"/>
                    <a:pt x="1488" y="172"/>
                  </a:cubicBezTo>
                  <a:cubicBezTo>
                    <a:pt x="1542" y="172"/>
                    <a:pt x="1542" y="172"/>
                    <a:pt x="1542" y="172"/>
                  </a:cubicBezTo>
                  <a:cubicBezTo>
                    <a:pt x="1572" y="172"/>
                    <a:pt x="1596" y="150"/>
                    <a:pt x="1596" y="124"/>
                  </a:cubicBezTo>
                  <a:cubicBezTo>
                    <a:pt x="1596" y="82"/>
                    <a:pt x="1596" y="82"/>
                    <a:pt x="1596" y="82"/>
                  </a:cubicBezTo>
                  <a:cubicBezTo>
                    <a:pt x="1513" y="82"/>
                    <a:pt x="1513" y="82"/>
                    <a:pt x="1513" y="82"/>
                  </a:cubicBezTo>
                  <a:cubicBezTo>
                    <a:pt x="1513" y="104"/>
                    <a:pt x="1513" y="104"/>
                    <a:pt x="1513" y="104"/>
                  </a:cubicBezTo>
                  <a:cubicBezTo>
                    <a:pt x="1513" y="106"/>
                    <a:pt x="1515" y="108"/>
                    <a:pt x="1517" y="108"/>
                  </a:cubicBezTo>
                  <a:cubicBezTo>
                    <a:pt x="1562" y="108"/>
                    <a:pt x="1562" y="108"/>
                    <a:pt x="1562" y="108"/>
                  </a:cubicBezTo>
                  <a:cubicBezTo>
                    <a:pt x="1562" y="138"/>
                    <a:pt x="1562" y="138"/>
                    <a:pt x="1562" y="138"/>
                  </a:cubicBezTo>
                  <a:cubicBezTo>
                    <a:pt x="1562" y="140"/>
                    <a:pt x="1560" y="142"/>
                    <a:pt x="1558" y="142"/>
                  </a:cubicBezTo>
                  <a:cubicBezTo>
                    <a:pt x="1471" y="142"/>
                    <a:pt x="1471" y="142"/>
                    <a:pt x="1471" y="142"/>
                  </a:cubicBezTo>
                  <a:cubicBezTo>
                    <a:pt x="1469" y="142"/>
                    <a:pt x="1468" y="140"/>
                    <a:pt x="1468" y="138"/>
                  </a:cubicBezTo>
                  <a:cubicBezTo>
                    <a:pt x="1468" y="44"/>
                    <a:pt x="1468" y="44"/>
                    <a:pt x="1468" y="44"/>
                  </a:cubicBezTo>
                  <a:cubicBezTo>
                    <a:pt x="1468" y="42"/>
                    <a:pt x="1469" y="41"/>
                    <a:pt x="1471" y="41"/>
                  </a:cubicBezTo>
                  <a:cubicBezTo>
                    <a:pt x="1558" y="41"/>
                    <a:pt x="1558" y="41"/>
                    <a:pt x="1558" y="41"/>
                  </a:cubicBezTo>
                  <a:cubicBezTo>
                    <a:pt x="1560" y="41"/>
                    <a:pt x="1562" y="42"/>
                    <a:pt x="1562" y="44"/>
                  </a:cubicBezTo>
                  <a:cubicBezTo>
                    <a:pt x="1562" y="62"/>
                    <a:pt x="1562" y="62"/>
                    <a:pt x="1562" y="62"/>
                  </a:cubicBezTo>
                  <a:cubicBezTo>
                    <a:pt x="1562" y="64"/>
                    <a:pt x="1564" y="66"/>
                    <a:pt x="1566" y="66"/>
                  </a:cubicBezTo>
                  <a:cubicBezTo>
                    <a:pt x="1592" y="66"/>
                    <a:pt x="1592" y="66"/>
                    <a:pt x="1592" y="66"/>
                  </a:cubicBezTo>
                  <a:cubicBezTo>
                    <a:pt x="1594" y="66"/>
                    <a:pt x="1596" y="64"/>
                    <a:pt x="1596" y="62"/>
                  </a:cubicBezTo>
                  <a:cubicBezTo>
                    <a:pt x="1596" y="58"/>
                    <a:pt x="1596" y="58"/>
                    <a:pt x="1596" y="58"/>
                  </a:cubicBezTo>
                  <a:cubicBezTo>
                    <a:pt x="1596" y="32"/>
                    <a:pt x="1572" y="11"/>
                    <a:pt x="1542" y="11"/>
                  </a:cubicBezTo>
                  <a:moveTo>
                    <a:pt x="832" y="96"/>
                  </a:moveTo>
                  <a:cubicBezTo>
                    <a:pt x="832" y="103"/>
                    <a:pt x="831" y="108"/>
                    <a:pt x="823" y="112"/>
                  </a:cubicBezTo>
                  <a:cubicBezTo>
                    <a:pt x="816" y="115"/>
                    <a:pt x="805" y="121"/>
                    <a:pt x="795" y="125"/>
                  </a:cubicBezTo>
                  <a:cubicBezTo>
                    <a:pt x="785" y="121"/>
                    <a:pt x="774" y="115"/>
                    <a:pt x="767" y="112"/>
                  </a:cubicBezTo>
                  <a:cubicBezTo>
                    <a:pt x="758" y="108"/>
                    <a:pt x="757" y="103"/>
                    <a:pt x="757" y="96"/>
                  </a:cubicBezTo>
                  <a:cubicBezTo>
                    <a:pt x="757" y="89"/>
                    <a:pt x="757" y="89"/>
                    <a:pt x="757" y="89"/>
                  </a:cubicBezTo>
                  <a:cubicBezTo>
                    <a:pt x="832" y="89"/>
                    <a:pt x="832" y="89"/>
                    <a:pt x="832" y="89"/>
                  </a:cubicBezTo>
                  <a:lnTo>
                    <a:pt x="832" y="96"/>
                  </a:lnTo>
                  <a:close/>
                  <a:moveTo>
                    <a:pt x="894" y="65"/>
                  </a:moveTo>
                  <a:cubicBezTo>
                    <a:pt x="862" y="65"/>
                    <a:pt x="862" y="65"/>
                    <a:pt x="862" y="65"/>
                  </a:cubicBezTo>
                  <a:cubicBezTo>
                    <a:pt x="862" y="51"/>
                    <a:pt x="862" y="51"/>
                    <a:pt x="862" y="51"/>
                  </a:cubicBezTo>
                  <a:cubicBezTo>
                    <a:pt x="862" y="49"/>
                    <a:pt x="860" y="48"/>
                    <a:pt x="858" y="48"/>
                  </a:cubicBezTo>
                  <a:cubicBezTo>
                    <a:pt x="836" y="48"/>
                    <a:pt x="836" y="48"/>
                    <a:pt x="836" y="48"/>
                  </a:cubicBezTo>
                  <a:cubicBezTo>
                    <a:pt x="834" y="48"/>
                    <a:pt x="832" y="49"/>
                    <a:pt x="832" y="51"/>
                  </a:cubicBezTo>
                  <a:cubicBezTo>
                    <a:pt x="832" y="65"/>
                    <a:pt x="832" y="65"/>
                    <a:pt x="832" y="65"/>
                  </a:cubicBezTo>
                  <a:cubicBezTo>
                    <a:pt x="757" y="65"/>
                    <a:pt x="757" y="65"/>
                    <a:pt x="757" y="65"/>
                  </a:cubicBezTo>
                  <a:cubicBezTo>
                    <a:pt x="757" y="51"/>
                    <a:pt x="757" y="51"/>
                    <a:pt x="757" y="51"/>
                  </a:cubicBezTo>
                  <a:cubicBezTo>
                    <a:pt x="757" y="49"/>
                    <a:pt x="755" y="48"/>
                    <a:pt x="753" y="48"/>
                  </a:cubicBezTo>
                  <a:cubicBezTo>
                    <a:pt x="731" y="48"/>
                    <a:pt x="731" y="48"/>
                    <a:pt x="731" y="48"/>
                  </a:cubicBezTo>
                  <a:cubicBezTo>
                    <a:pt x="729" y="48"/>
                    <a:pt x="728" y="49"/>
                    <a:pt x="728" y="51"/>
                  </a:cubicBezTo>
                  <a:cubicBezTo>
                    <a:pt x="728" y="65"/>
                    <a:pt x="728" y="65"/>
                    <a:pt x="728" y="65"/>
                  </a:cubicBezTo>
                  <a:cubicBezTo>
                    <a:pt x="695" y="65"/>
                    <a:pt x="695" y="65"/>
                    <a:pt x="695" y="65"/>
                  </a:cubicBezTo>
                  <a:cubicBezTo>
                    <a:pt x="693" y="65"/>
                    <a:pt x="692" y="67"/>
                    <a:pt x="692" y="69"/>
                  </a:cubicBezTo>
                  <a:cubicBezTo>
                    <a:pt x="692" y="85"/>
                    <a:pt x="692" y="85"/>
                    <a:pt x="692" y="85"/>
                  </a:cubicBezTo>
                  <a:cubicBezTo>
                    <a:pt x="692" y="87"/>
                    <a:pt x="693" y="89"/>
                    <a:pt x="695" y="89"/>
                  </a:cubicBezTo>
                  <a:cubicBezTo>
                    <a:pt x="727" y="89"/>
                    <a:pt x="727" y="89"/>
                    <a:pt x="727" y="89"/>
                  </a:cubicBezTo>
                  <a:cubicBezTo>
                    <a:pt x="727" y="99"/>
                    <a:pt x="727" y="99"/>
                    <a:pt x="727" y="99"/>
                  </a:cubicBezTo>
                  <a:cubicBezTo>
                    <a:pt x="727" y="111"/>
                    <a:pt x="733" y="122"/>
                    <a:pt x="747" y="129"/>
                  </a:cubicBezTo>
                  <a:cubicBezTo>
                    <a:pt x="753" y="132"/>
                    <a:pt x="760" y="135"/>
                    <a:pt x="767" y="138"/>
                  </a:cubicBezTo>
                  <a:cubicBezTo>
                    <a:pt x="754" y="143"/>
                    <a:pt x="743" y="146"/>
                    <a:pt x="731" y="146"/>
                  </a:cubicBezTo>
                  <a:cubicBezTo>
                    <a:pt x="700" y="146"/>
                    <a:pt x="700" y="146"/>
                    <a:pt x="700" y="146"/>
                  </a:cubicBezTo>
                  <a:cubicBezTo>
                    <a:pt x="698" y="146"/>
                    <a:pt x="696" y="148"/>
                    <a:pt x="696" y="150"/>
                  </a:cubicBezTo>
                  <a:cubicBezTo>
                    <a:pt x="696" y="166"/>
                    <a:pt x="696" y="166"/>
                    <a:pt x="696" y="166"/>
                  </a:cubicBezTo>
                  <a:cubicBezTo>
                    <a:pt x="696" y="168"/>
                    <a:pt x="698" y="170"/>
                    <a:pt x="700" y="170"/>
                  </a:cubicBezTo>
                  <a:cubicBezTo>
                    <a:pt x="730" y="170"/>
                    <a:pt x="730" y="170"/>
                    <a:pt x="730" y="170"/>
                  </a:cubicBezTo>
                  <a:cubicBezTo>
                    <a:pt x="742" y="170"/>
                    <a:pt x="757" y="167"/>
                    <a:pt x="769" y="162"/>
                  </a:cubicBezTo>
                  <a:cubicBezTo>
                    <a:pt x="774" y="161"/>
                    <a:pt x="784" y="156"/>
                    <a:pt x="795" y="151"/>
                  </a:cubicBezTo>
                  <a:cubicBezTo>
                    <a:pt x="806" y="156"/>
                    <a:pt x="815" y="161"/>
                    <a:pt x="820" y="162"/>
                  </a:cubicBezTo>
                  <a:cubicBezTo>
                    <a:pt x="833" y="167"/>
                    <a:pt x="847" y="170"/>
                    <a:pt x="859" y="170"/>
                  </a:cubicBezTo>
                  <a:cubicBezTo>
                    <a:pt x="889" y="170"/>
                    <a:pt x="889" y="170"/>
                    <a:pt x="889" y="170"/>
                  </a:cubicBezTo>
                  <a:cubicBezTo>
                    <a:pt x="891" y="170"/>
                    <a:pt x="893" y="168"/>
                    <a:pt x="893" y="166"/>
                  </a:cubicBezTo>
                  <a:cubicBezTo>
                    <a:pt x="893" y="150"/>
                    <a:pt x="893" y="150"/>
                    <a:pt x="893" y="150"/>
                  </a:cubicBezTo>
                  <a:cubicBezTo>
                    <a:pt x="893" y="148"/>
                    <a:pt x="891" y="146"/>
                    <a:pt x="889" y="146"/>
                  </a:cubicBezTo>
                  <a:cubicBezTo>
                    <a:pt x="859" y="146"/>
                    <a:pt x="859" y="146"/>
                    <a:pt x="859" y="146"/>
                  </a:cubicBezTo>
                  <a:cubicBezTo>
                    <a:pt x="847" y="146"/>
                    <a:pt x="835" y="143"/>
                    <a:pt x="823" y="138"/>
                  </a:cubicBezTo>
                  <a:cubicBezTo>
                    <a:pt x="830" y="135"/>
                    <a:pt x="837" y="132"/>
                    <a:pt x="842" y="129"/>
                  </a:cubicBezTo>
                  <a:cubicBezTo>
                    <a:pt x="857" y="122"/>
                    <a:pt x="862" y="111"/>
                    <a:pt x="862" y="99"/>
                  </a:cubicBezTo>
                  <a:cubicBezTo>
                    <a:pt x="862" y="89"/>
                    <a:pt x="862" y="89"/>
                    <a:pt x="862" y="89"/>
                  </a:cubicBezTo>
                  <a:cubicBezTo>
                    <a:pt x="894" y="89"/>
                    <a:pt x="894" y="89"/>
                    <a:pt x="894" y="89"/>
                  </a:cubicBezTo>
                  <a:cubicBezTo>
                    <a:pt x="896" y="89"/>
                    <a:pt x="898" y="87"/>
                    <a:pt x="898" y="85"/>
                  </a:cubicBezTo>
                  <a:cubicBezTo>
                    <a:pt x="898" y="69"/>
                    <a:pt x="898" y="69"/>
                    <a:pt x="898" y="69"/>
                  </a:cubicBezTo>
                  <a:cubicBezTo>
                    <a:pt x="898" y="67"/>
                    <a:pt x="896" y="65"/>
                    <a:pt x="894" y="65"/>
                  </a:cubicBezTo>
                  <a:moveTo>
                    <a:pt x="1747" y="17"/>
                  </a:moveTo>
                  <a:cubicBezTo>
                    <a:pt x="1745" y="14"/>
                    <a:pt x="1743" y="13"/>
                    <a:pt x="1740" y="13"/>
                  </a:cubicBezTo>
                  <a:cubicBezTo>
                    <a:pt x="1716" y="13"/>
                    <a:pt x="1716" y="13"/>
                    <a:pt x="1716" y="13"/>
                  </a:cubicBezTo>
                  <a:cubicBezTo>
                    <a:pt x="1713" y="13"/>
                    <a:pt x="1711" y="14"/>
                    <a:pt x="1710" y="17"/>
                  </a:cubicBezTo>
                  <a:cubicBezTo>
                    <a:pt x="1636" y="162"/>
                    <a:pt x="1636" y="162"/>
                    <a:pt x="1636" y="162"/>
                  </a:cubicBezTo>
                  <a:cubicBezTo>
                    <a:pt x="1634" y="167"/>
                    <a:pt x="1636" y="170"/>
                    <a:pt x="1640" y="170"/>
                  </a:cubicBezTo>
                  <a:cubicBezTo>
                    <a:pt x="1663" y="170"/>
                    <a:pt x="1663" y="170"/>
                    <a:pt x="1663" y="170"/>
                  </a:cubicBezTo>
                  <a:cubicBezTo>
                    <a:pt x="1667" y="170"/>
                    <a:pt x="1668" y="169"/>
                    <a:pt x="1670" y="165"/>
                  </a:cubicBezTo>
                  <a:cubicBezTo>
                    <a:pt x="1728" y="49"/>
                    <a:pt x="1728" y="49"/>
                    <a:pt x="1728" y="49"/>
                  </a:cubicBezTo>
                  <a:cubicBezTo>
                    <a:pt x="1786" y="165"/>
                    <a:pt x="1786" y="165"/>
                    <a:pt x="1786" y="165"/>
                  </a:cubicBezTo>
                  <a:cubicBezTo>
                    <a:pt x="1788" y="169"/>
                    <a:pt x="1789" y="170"/>
                    <a:pt x="1793" y="170"/>
                  </a:cubicBezTo>
                  <a:cubicBezTo>
                    <a:pt x="1816" y="170"/>
                    <a:pt x="1816" y="170"/>
                    <a:pt x="1816" y="170"/>
                  </a:cubicBezTo>
                  <a:cubicBezTo>
                    <a:pt x="1820" y="170"/>
                    <a:pt x="1823" y="167"/>
                    <a:pt x="1820" y="162"/>
                  </a:cubicBezTo>
                  <a:lnTo>
                    <a:pt x="1747" y="17"/>
                  </a:lnTo>
                  <a:close/>
                  <a:moveTo>
                    <a:pt x="629" y="46"/>
                  </a:moveTo>
                  <a:cubicBezTo>
                    <a:pt x="626" y="46"/>
                    <a:pt x="623" y="48"/>
                    <a:pt x="622" y="49"/>
                  </a:cubicBezTo>
                  <a:cubicBezTo>
                    <a:pt x="597" y="98"/>
                    <a:pt x="597" y="98"/>
                    <a:pt x="597" y="98"/>
                  </a:cubicBezTo>
                  <a:cubicBezTo>
                    <a:pt x="596" y="100"/>
                    <a:pt x="597" y="102"/>
                    <a:pt x="599" y="102"/>
                  </a:cubicBezTo>
                  <a:cubicBezTo>
                    <a:pt x="625" y="102"/>
                    <a:pt x="625" y="102"/>
                    <a:pt x="625" y="102"/>
                  </a:cubicBezTo>
                  <a:cubicBezTo>
                    <a:pt x="628" y="102"/>
                    <a:pt x="630" y="100"/>
                    <a:pt x="631" y="98"/>
                  </a:cubicBezTo>
                  <a:cubicBezTo>
                    <a:pt x="656" y="49"/>
                    <a:pt x="656" y="49"/>
                    <a:pt x="656" y="49"/>
                  </a:cubicBezTo>
                  <a:cubicBezTo>
                    <a:pt x="657" y="48"/>
                    <a:pt x="656" y="46"/>
                    <a:pt x="654" y="46"/>
                  </a:cubicBezTo>
                  <a:lnTo>
                    <a:pt x="629" y="46"/>
                  </a:lnTo>
                  <a:close/>
                  <a:moveTo>
                    <a:pt x="416" y="146"/>
                  </a:moveTo>
                  <a:cubicBezTo>
                    <a:pt x="269" y="146"/>
                    <a:pt x="269" y="146"/>
                    <a:pt x="269" y="146"/>
                  </a:cubicBezTo>
                  <a:cubicBezTo>
                    <a:pt x="269" y="28"/>
                    <a:pt x="269" y="28"/>
                    <a:pt x="269" y="28"/>
                  </a:cubicBezTo>
                  <a:cubicBezTo>
                    <a:pt x="416" y="28"/>
                    <a:pt x="416" y="28"/>
                    <a:pt x="416" y="28"/>
                  </a:cubicBezTo>
                  <a:lnTo>
                    <a:pt x="416" y="146"/>
                  </a:lnTo>
                  <a:close/>
                  <a:moveTo>
                    <a:pt x="423" y="6"/>
                  </a:moveTo>
                  <a:cubicBezTo>
                    <a:pt x="261" y="6"/>
                    <a:pt x="261" y="6"/>
                    <a:pt x="261" y="6"/>
                  </a:cubicBezTo>
                  <a:cubicBezTo>
                    <a:pt x="249" y="6"/>
                    <a:pt x="239" y="16"/>
                    <a:pt x="239" y="28"/>
                  </a:cubicBezTo>
                  <a:cubicBezTo>
                    <a:pt x="239" y="148"/>
                    <a:pt x="239" y="148"/>
                    <a:pt x="239" y="148"/>
                  </a:cubicBezTo>
                  <a:cubicBezTo>
                    <a:pt x="239" y="160"/>
                    <a:pt x="249" y="169"/>
                    <a:pt x="261" y="169"/>
                  </a:cubicBezTo>
                  <a:cubicBezTo>
                    <a:pt x="423" y="169"/>
                    <a:pt x="423" y="169"/>
                    <a:pt x="423" y="169"/>
                  </a:cubicBezTo>
                  <a:cubicBezTo>
                    <a:pt x="435" y="169"/>
                    <a:pt x="445" y="160"/>
                    <a:pt x="445" y="148"/>
                  </a:cubicBezTo>
                  <a:cubicBezTo>
                    <a:pt x="445" y="28"/>
                    <a:pt x="445" y="28"/>
                    <a:pt x="445" y="28"/>
                  </a:cubicBezTo>
                  <a:cubicBezTo>
                    <a:pt x="445" y="16"/>
                    <a:pt x="435" y="6"/>
                    <a:pt x="423" y="6"/>
                  </a:cubicBezTo>
                  <a:moveTo>
                    <a:pt x="697" y="49"/>
                  </a:moveTo>
                  <a:cubicBezTo>
                    <a:pt x="714" y="49"/>
                    <a:pt x="714" y="49"/>
                    <a:pt x="714" y="49"/>
                  </a:cubicBezTo>
                  <a:cubicBezTo>
                    <a:pt x="716" y="49"/>
                    <a:pt x="718" y="47"/>
                    <a:pt x="718" y="45"/>
                  </a:cubicBezTo>
                  <a:cubicBezTo>
                    <a:pt x="718" y="34"/>
                    <a:pt x="718" y="34"/>
                    <a:pt x="718" y="34"/>
                  </a:cubicBezTo>
                  <a:cubicBezTo>
                    <a:pt x="872" y="34"/>
                    <a:pt x="872" y="34"/>
                    <a:pt x="872" y="34"/>
                  </a:cubicBezTo>
                  <a:cubicBezTo>
                    <a:pt x="872" y="45"/>
                    <a:pt x="872" y="45"/>
                    <a:pt x="872" y="45"/>
                  </a:cubicBezTo>
                  <a:cubicBezTo>
                    <a:pt x="872" y="47"/>
                    <a:pt x="873" y="49"/>
                    <a:pt x="875" y="49"/>
                  </a:cubicBezTo>
                  <a:cubicBezTo>
                    <a:pt x="893" y="49"/>
                    <a:pt x="893" y="49"/>
                    <a:pt x="893" y="49"/>
                  </a:cubicBezTo>
                  <a:cubicBezTo>
                    <a:pt x="895" y="49"/>
                    <a:pt x="897" y="47"/>
                    <a:pt x="897" y="45"/>
                  </a:cubicBezTo>
                  <a:cubicBezTo>
                    <a:pt x="897" y="32"/>
                    <a:pt x="897" y="32"/>
                    <a:pt x="897" y="32"/>
                  </a:cubicBezTo>
                  <a:cubicBezTo>
                    <a:pt x="897" y="22"/>
                    <a:pt x="888" y="13"/>
                    <a:pt x="877" y="13"/>
                  </a:cubicBezTo>
                  <a:cubicBezTo>
                    <a:pt x="811" y="13"/>
                    <a:pt x="811" y="13"/>
                    <a:pt x="811" y="13"/>
                  </a:cubicBezTo>
                  <a:cubicBezTo>
                    <a:pt x="811" y="4"/>
                    <a:pt x="811" y="4"/>
                    <a:pt x="811" y="4"/>
                  </a:cubicBezTo>
                  <a:cubicBezTo>
                    <a:pt x="811" y="2"/>
                    <a:pt x="809" y="0"/>
                    <a:pt x="807" y="0"/>
                  </a:cubicBezTo>
                  <a:cubicBezTo>
                    <a:pt x="782" y="0"/>
                    <a:pt x="782" y="0"/>
                    <a:pt x="782" y="0"/>
                  </a:cubicBezTo>
                  <a:cubicBezTo>
                    <a:pt x="780" y="0"/>
                    <a:pt x="778" y="2"/>
                    <a:pt x="778" y="4"/>
                  </a:cubicBezTo>
                  <a:cubicBezTo>
                    <a:pt x="778" y="13"/>
                    <a:pt x="778" y="13"/>
                    <a:pt x="778" y="13"/>
                  </a:cubicBezTo>
                  <a:cubicBezTo>
                    <a:pt x="712" y="13"/>
                    <a:pt x="712" y="13"/>
                    <a:pt x="712" y="13"/>
                  </a:cubicBezTo>
                  <a:cubicBezTo>
                    <a:pt x="702" y="13"/>
                    <a:pt x="693" y="22"/>
                    <a:pt x="693" y="32"/>
                  </a:cubicBezTo>
                  <a:cubicBezTo>
                    <a:pt x="693" y="45"/>
                    <a:pt x="693" y="45"/>
                    <a:pt x="693" y="45"/>
                  </a:cubicBezTo>
                  <a:cubicBezTo>
                    <a:pt x="693" y="47"/>
                    <a:pt x="695" y="49"/>
                    <a:pt x="697" y="49"/>
                  </a:cubicBezTo>
                  <a:moveTo>
                    <a:pt x="179" y="115"/>
                  </a:moveTo>
                  <a:cubicBezTo>
                    <a:pt x="122" y="115"/>
                    <a:pt x="122" y="115"/>
                    <a:pt x="122" y="115"/>
                  </a:cubicBezTo>
                  <a:cubicBezTo>
                    <a:pt x="122" y="49"/>
                    <a:pt x="122" y="49"/>
                    <a:pt x="122" y="49"/>
                  </a:cubicBezTo>
                  <a:cubicBezTo>
                    <a:pt x="179" y="49"/>
                    <a:pt x="179" y="49"/>
                    <a:pt x="179" y="49"/>
                  </a:cubicBezTo>
                  <a:lnTo>
                    <a:pt x="179" y="115"/>
                  </a:lnTo>
                  <a:close/>
                  <a:moveTo>
                    <a:pt x="88" y="115"/>
                  </a:moveTo>
                  <a:cubicBezTo>
                    <a:pt x="31" y="115"/>
                    <a:pt x="31" y="115"/>
                    <a:pt x="31" y="115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88" y="49"/>
                    <a:pt x="88" y="49"/>
                    <a:pt x="88" y="49"/>
                  </a:cubicBezTo>
                  <a:lnTo>
                    <a:pt x="88" y="115"/>
                  </a:lnTo>
                  <a:close/>
                  <a:moveTo>
                    <a:pt x="188" y="2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22" y="5"/>
                    <a:pt x="122" y="5"/>
                    <a:pt x="122" y="5"/>
                  </a:cubicBezTo>
                  <a:cubicBezTo>
                    <a:pt x="122" y="3"/>
                    <a:pt x="120" y="1"/>
                    <a:pt x="118" y="1"/>
                  </a:cubicBezTo>
                  <a:cubicBezTo>
                    <a:pt x="91" y="1"/>
                    <a:pt x="91" y="1"/>
                    <a:pt x="91" y="1"/>
                  </a:cubicBezTo>
                  <a:cubicBezTo>
                    <a:pt x="89" y="1"/>
                    <a:pt x="88" y="3"/>
                    <a:pt x="88" y="5"/>
                  </a:cubicBezTo>
                  <a:cubicBezTo>
                    <a:pt x="88" y="24"/>
                    <a:pt x="88" y="24"/>
                    <a:pt x="88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10" y="24"/>
                    <a:pt x="0" y="34"/>
                    <a:pt x="0" y="46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130"/>
                    <a:pt x="10" y="140"/>
                    <a:pt x="22" y="140"/>
                  </a:cubicBezTo>
                  <a:cubicBezTo>
                    <a:pt x="88" y="140"/>
                    <a:pt x="88" y="140"/>
                    <a:pt x="88" y="140"/>
                  </a:cubicBezTo>
                  <a:cubicBezTo>
                    <a:pt x="88" y="171"/>
                    <a:pt x="88" y="171"/>
                    <a:pt x="88" y="171"/>
                  </a:cubicBezTo>
                  <a:cubicBezTo>
                    <a:pt x="88" y="173"/>
                    <a:pt x="89" y="174"/>
                    <a:pt x="91" y="174"/>
                  </a:cubicBezTo>
                  <a:cubicBezTo>
                    <a:pt x="118" y="174"/>
                    <a:pt x="118" y="174"/>
                    <a:pt x="118" y="174"/>
                  </a:cubicBezTo>
                  <a:cubicBezTo>
                    <a:pt x="120" y="174"/>
                    <a:pt x="122" y="173"/>
                    <a:pt x="122" y="171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88" y="140"/>
                    <a:pt x="188" y="140"/>
                    <a:pt x="188" y="140"/>
                  </a:cubicBezTo>
                  <a:cubicBezTo>
                    <a:pt x="200" y="140"/>
                    <a:pt x="210" y="130"/>
                    <a:pt x="210" y="118"/>
                  </a:cubicBezTo>
                  <a:cubicBezTo>
                    <a:pt x="210" y="46"/>
                    <a:pt x="210" y="46"/>
                    <a:pt x="210" y="46"/>
                  </a:cubicBezTo>
                  <a:cubicBezTo>
                    <a:pt x="210" y="34"/>
                    <a:pt x="200" y="24"/>
                    <a:pt x="188" y="24"/>
                  </a:cubicBezTo>
                  <a:moveTo>
                    <a:pt x="401" y="104"/>
                  </a:moveTo>
                  <a:cubicBezTo>
                    <a:pt x="379" y="104"/>
                    <a:pt x="379" y="104"/>
                    <a:pt x="379" y="104"/>
                  </a:cubicBezTo>
                  <a:cubicBezTo>
                    <a:pt x="379" y="112"/>
                    <a:pt x="379" y="112"/>
                    <a:pt x="379" y="112"/>
                  </a:cubicBezTo>
                  <a:cubicBezTo>
                    <a:pt x="357" y="112"/>
                    <a:pt x="357" y="112"/>
                    <a:pt x="357" y="112"/>
                  </a:cubicBezTo>
                  <a:cubicBezTo>
                    <a:pt x="357" y="93"/>
                    <a:pt x="357" y="93"/>
                    <a:pt x="357" y="93"/>
                  </a:cubicBezTo>
                  <a:cubicBezTo>
                    <a:pt x="395" y="93"/>
                    <a:pt x="395" y="93"/>
                    <a:pt x="395" y="93"/>
                  </a:cubicBezTo>
                  <a:cubicBezTo>
                    <a:pt x="395" y="75"/>
                    <a:pt x="395" y="75"/>
                    <a:pt x="395" y="75"/>
                  </a:cubicBezTo>
                  <a:cubicBezTo>
                    <a:pt x="357" y="75"/>
                    <a:pt x="357" y="75"/>
                    <a:pt x="357" y="75"/>
                  </a:cubicBezTo>
                  <a:cubicBezTo>
                    <a:pt x="357" y="61"/>
                    <a:pt x="357" y="61"/>
                    <a:pt x="357" y="61"/>
                  </a:cubicBezTo>
                  <a:cubicBezTo>
                    <a:pt x="401" y="61"/>
                    <a:pt x="401" y="61"/>
                    <a:pt x="401" y="61"/>
                  </a:cubicBezTo>
                  <a:cubicBezTo>
                    <a:pt x="401" y="41"/>
                    <a:pt x="401" y="41"/>
                    <a:pt x="401" y="41"/>
                  </a:cubicBezTo>
                  <a:cubicBezTo>
                    <a:pt x="284" y="41"/>
                    <a:pt x="284" y="41"/>
                    <a:pt x="284" y="41"/>
                  </a:cubicBezTo>
                  <a:cubicBezTo>
                    <a:pt x="284" y="61"/>
                    <a:pt x="284" y="61"/>
                    <a:pt x="284" y="61"/>
                  </a:cubicBezTo>
                  <a:cubicBezTo>
                    <a:pt x="328" y="61"/>
                    <a:pt x="328" y="61"/>
                    <a:pt x="328" y="61"/>
                  </a:cubicBezTo>
                  <a:cubicBezTo>
                    <a:pt x="328" y="75"/>
                    <a:pt x="328" y="75"/>
                    <a:pt x="328" y="75"/>
                  </a:cubicBezTo>
                  <a:cubicBezTo>
                    <a:pt x="290" y="75"/>
                    <a:pt x="290" y="75"/>
                    <a:pt x="290" y="75"/>
                  </a:cubicBezTo>
                  <a:cubicBezTo>
                    <a:pt x="290" y="93"/>
                    <a:pt x="290" y="93"/>
                    <a:pt x="290" y="93"/>
                  </a:cubicBezTo>
                  <a:cubicBezTo>
                    <a:pt x="328" y="93"/>
                    <a:pt x="328" y="93"/>
                    <a:pt x="328" y="93"/>
                  </a:cubicBezTo>
                  <a:cubicBezTo>
                    <a:pt x="328" y="112"/>
                    <a:pt x="328" y="112"/>
                    <a:pt x="328" y="112"/>
                  </a:cubicBezTo>
                  <a:cubicBezTo>
                    <a:pt x="284" y="112"/>
                    <a:pt x="284" y="112"/>
                    <a:pt x="284" y="112"/>
                  </a:cubicBezTo>
                  <a:cubicBezTo>
                    <a:pt x="284" y="132"/>
                    <a:pt x="284" y="132"/>
                    <a:pt x="284" y="132"/>
                  </a:cubicBezTo>
                  <a:cubicBezTo>
                    <a:pt x="401" y="132"/>
                    <a:pt x="401" y="132"/>
                    <a:pt x="401" y="132"/>
                  </a:cubicBezTo>
                  <a:lnTo>
                    <a:pt x="401" y="104"/>
                  </a:lnTo>
                  <a:close/>
                  <a:moveTo>
                    <a:pt x="516" y="102"/>
                  </a:moveTo>
                  <a:cubicBezTo>
                    <a:pt x="542" y="102"/>
                    <a:pt x="542" y="102"/>
                    <a:pt x="542" y="102"/>
                  </a:cubicBezTo>
                  <a:cubicBezTo>
                    <a:pt x="544" y="102"/>
                    <a:pt x="545" y="100"/>
                    <a:pt x="544" y="98"/>
                  </a:cubicBezTo>
                  <a:cubicBezTo>
                    <a:pt x="519" y="49"/>
                    <a:pt x="519" y="49"/>
                    <a:pt x="519" y="49"/>
                  </a:cubicBezTo>
                  <a:cubicBezTo>
                    <a:pt x="518" y="48"/>
                    <a:pt x="515" y="46"/>
                    <a:pt x="512" y="46"/>
                  </a:cubicBezTo>
                  <a:cubicBezTo>
                    <a:pt x="487" y="46"/>
                    <a:pt x="487" y="46"/>
                    <a:pt x="487" y="46"/>
                  </a:cubicBezTo>
                  <a:cubicBezTo>
                    <a:pt x="485" y="46"/>
                    <a:pt x="484" y="48"/>
                    <a:pt x="485" y="49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511" y="100"/>
                    <a:pt x="513" y="102"/>
                    <a:pt x="516" y="102"/>
                  </a:cubicBezTo>
                  <a:moveTo>
                    <a:pt x="669" y="115"/>
                  </a:moveTo>
                  <a:cubicBezTo>
                    <a:pt x="587" y="115"/>
                    <a:pt x="587" y="115"/>
                    <a:pt x="587" y="115"/>
                  </a:cubicBezTo>
                  <a:cubicBezTo>
                    <a:pt x="587" y="33"/>
                    <a:pt x="587" y="33"/>
                    <a:pt x="587" y="33"/>
                  </a:cubicBezTo>
                  <a:cubicBezTo>
                    <a:pt x="662" y="33"/>
                    <a:pt x="662" y="33"/>
                    <a:pt x="662" y="33"/>
                  </a:cubicBezTo>
                  <a:cubicBezTo>
                    <a:pt x="664" y="33"/>
                    <a:pt x="666" y="31"/>
                    <a:pt x="666" y="29"/>
                  </a:cubicBezTo>
                  <a:cubicBezTo>
                    <a:pt x="666" y="14"/>
                    <a:pt x="666" y="14"/>
                    <a:pt x="666" y="14"/>
                  </a:cubicBezTo>
                  <a:cubicBezTo>
                    <a:pt x="666" y="11"/>
                    <a:pt x="664" y="10"/>
                    <a:pt x="662" y="10"/>
                  </a:cubicBezTo>
                  <a:cubicBezTo>
                    <a:pt x="479" y="10"/>
                    <a:pt x="479" y="10"/>
                    <a:pt x="479" y="10"/>
                  </a:cubicBezTo>
                  <a:cubicBezTo>
                    <a:pt x="477" y="10"/>
                    <a:pt x="475" y="11"/>
                    <a:pt x="475" y="14"/>
                  </a:cubicBezTo>
                  <a:cubicBezTo>
                    <a:pt x="475" y="29"/>
                    <a:pt x="475" y="29"/>
                    <a:pt x="475" y="29"/>
                  </a:cubicBezTo>
                  <a:cubicBezTo>
                    <a:pt x="475" y="31"/>
                    <a:pt x="477" y="33"/>
                    <a:pt x="479" y="33"/>
                  </a:cubicBezTo>
                  <a:cubicBezTo>
                    <a:pt x="554" y="33"/>
                    <a:pt x="554" y="33"/>
                    <a:pt x="554" y="33"/>
                  </a:cubicBezTo>
                  <a:cubicBezTo>
                    <a:pt x="554" y="115"/>
                    <a:pt x="554" y="115"/>
                    <a:pt x="554" y="115"/>
                  </a:cubicBezTo>
                  <a:cubicBezTo>
                    <a:pt x="472" y="115"/>
                    <a:pt x="472" y="115"/>
                    <a:pt x="472" y="115"/>
                  </a:cubicBezTo>
                  <a:cubicBezTo>
                    <a:pt x="470" y="115"/>
                    <a:pt x="469" y="117"/>
                    <a:pt x="469" y="119"/>
                  </a:cubicBezTo>
                  <a:cubicBezTo>
                    <a:pt x="469" y="135"/>
                    <a:pt x="469" y="135"/>
                    <a:pt x="469" y="135"/>
                  </a:cubicBezTo>
                  <a:cubicBezTo>
                    <a:pt x="469" y="137"/>
                    <a:pt x="470" y="139"/>
                    <a:pt x="472" y="139"/>
                  </a:cubicBezTo>
                  <a:cubicBezTo>
                    <a:pt x="554" y="139"/>
                    <a:pt x="554" y="139"/>
                    <a:pt x="554" y="139"/>
                  </a:cubicBezTo>
                  <a:cubicBezTo>
                    <a:pt x="554" y="171"/>
                    <a:pt x="554" y="171"/>
                    <a:pt x="554" y="171"/>
                  </a:cubicBezTo>
                  <a:cubicBezTo>
                    <a:pt x="554" y="173"/>
                    <a:pt x="556" y="174"/>
                    <a:pt x="558" y="174"/>
                  </a:cubicBezTo>
                  <a:cubicBezTo>
                    <a:pt x="583" y="174"/>
                    <a:pt x="583" y="174"/>
                    <a:pt x="583" y="174"/>
                  </a:cubicBezTo>
                  <a:cubicBezTo>
                    <a:pt x="585" y="174"/>
                    <a:pt x="587" y="173"/>
                    <a:pt x="587" y="171"/>
                  </a:cubicBezTo>
                  <a:cubicBezTo>
                    <a:pt x="587" y="139"/>
                    <a:pt x="587" y="139"/>
                    <a:pt x="587" y="139"/>
                  </a:cubicBezTo>
                  <a:cubicBezTo>
                    <a:pt x="669" y="139"/>
                    <a:pt x="669" y="139"/>
                    <a:pt x="669" y="139"/>
                  </a:cubicBezTo>
                  <a:cubicBezTo>
                    <a:pt x="671" y="139"/>
                    <a:pt x="673" y="137"/>
                    <a:pt x="673" y="135"/>
                  </a:cubicBezTo>
                  <a:cubicBezTo>
                    <a:pt x="673" y="119"/>
                    <a:pt x="673" y="119"/>
                    <a:pt x="673" y="119"/>
                  </a:cubicBezTo>
                  <a:cubicBezTo>
                    <a:pt x="673" y="117"/>
                    <a:pt x="671" y="115"/>
                    <a:pt x="669" y="115"/>
                  </a:cubicBezTo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4F3F4A1C-1634-4B72-B7DD-329104072BE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8525" y="693738"/>
              <a:ext cx="77788" cy="76200"/>
            </a:xfrm>
            <a:custGeom>
              <a:avLst/>
              <a:gdLst>
                <a:gd name="T0" fmla="*/ 44 w 48"/>
                <a:gd name="T1" fmla="*/ 0 h 46"/>
                <a:gd name="T2" fmla="*/ 4 w 48"/>
                <a:gd name="T3" fmla="*/ 0 h 46"/>
                <a:gd name="T4" fmla="*/ 0 w 48"/>
                <a:gd name="T5" fmla="*/ 3 h 46"/>
                <a:gd name="T6" fmla="*/ 0 w 48"/>
                <a:gd name="T7" fmla="*/ 43 h 46"/>
                <a:gd name="T8" fmla="*/ 4 w 48"/>
                <a:gd name="T9" fmla="*/ 46 h 46"/>
                <a:gd name="T10" fmla="*/ 44 w 48"/>
                <a:gd name="T11" fmla="*/ 46 h 46"/>
                <a:gd name="T12" fmla="*/ 48 w 48"/>
                <a:gd name="T13" fmla="*/ 43 h 46"/>
                <a:gd name="T14" fmla="*/ 48 w 48"/>
                <a:gd name="T15" fmla="*/ 3 h 46"/>
                <a:gd name="T16" fmla="*/ 44 w 48"/>
                <a:gd name="T17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46">
                  <a:moveTo>
                    <a:pt x="4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5"/>
                    <a:pt x="2" y="46"/>
                    <a:pt x="4" y="46"/>
                  </a:cubicBezTo>
                  <a:cubicBezTo>
                    <a:pt x="44" y="46"/>
                    <a:pt x="44" y="46"/>
                    <a:pt x="44" y="46"/>
                  </a:cubicBezTo>
                  <a:cubicBezTo>
                    <a:pt x="46" y="46"/>
                    <a:pt x="48" y="45"/>
                    <a:pt x="48" y="43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1"/>
                    <a:pt x="46" y="0"/>
                    <a:pt x="44" y="0"/>
                  </a:cubicBezTo>
                </a:path>
              </a:pathLst>
            </a:custGeom>
            <a:solidFill>
              <a:srgbClr val="005E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7" name="Oval 7">
              <a:extLst>
                <a:ext uri="{FF2B5EF4-FFF2-40B4-BE49-F238E27FC236}">
                  <a16:creationId xmlns:a16="http://schemas.microsoft.com/office/drawing/2014/main" id="{E67C76DE-CC76-49FD-B756-EF02671D33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85888" y="952500"/>
              <a:ext cx="17463" cy="20637"/>
            </a:xfrm>
            <a:prstGeom prst="ellipse">
              <a:avLst/>
            </a:pr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459DF09B-5642-4A1F-A8B9-10F3721142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1713" y="893763"/>
              <a:ext cx="142875" cy="133350"/>
            </a:xfrm>
            <a:custGeom>
              <a:avLst/>
              <a:gdLst>
                <a:gd name="T0" fmla="*/ 43 w 88"/>
                <a:gd name="T1" fmla="*/ 0 h 81"/>
                <a:gd name="T2" fmla="*/ 51 w 88"/>
                <a:gd name="T3" fmla="*/ 4 h 81"/>
                <a:gd name="T4" fmla="*/ 84 w 88"/>
                <a:gd name="T5" fmla="*/ 22 h 81"/>
                <a:gd name="T6" fmla="*/ 87 w 88"/>
                <a:gd name="T7" fmla="*/ 28 h 81"/>
                <a:gd name="T8" fmla="*/ 82 w 88"/>
                <a:gd name="T9" fmla="*/ 29 h 81"/>
                <a:gd name="T10" fmla="*/ 49 w 88"/>
                <a:gd name="T11" fmla="*/ 12 h 81"/>
                <a:gd name="T12" fmla="*/ 43 w 88"/>
                <a:gd name="T13" fmla="*/ 8 h 81"/>
                <a:gd name="T14" fmla="*/ 38 w 88"/>
                <a:gd name="T15" fmla="*/ 11 h 81"/>
                <a:gd name="T16" fmla="*/ 6 w 88"/>
                <a:gd name="T17" fmla="*/ 30 h 81"/>
                <a:gd name="T18" fmla="*/ 1 w 88"/>
                <a:gd name="T19" fmla="*/ 28 h 81"/>
                <a:gd name="T20" fmla="*/ 3 w 88"/>
                <a:gd name="T21" fmla="*/ 23 h 81"/>
                <a:gd name="T22" fmla="*/ 35 w 88"/>
                <a:gd name="T23" fmla="*/ 5 h 81"/>
                <a:gd name="T24" fmla="*/ 43 w 88"/>
                <a:gd name="T25" fmla="*/ 0 h 81"/>
                <a:gd name="T26" fmla="*/ 21 w 88"/>
                <a:gd name="T27" fmla="*/ 25 h 81"/>
                <a:gd name="T28" fmla="*/ 68 w 88"/>
                <a:gd name="T29" fmla="*/ 25 h 81"/>
                <a:gd name="T30" fmla="*/ 71 w 88"/>
                <a:gd name="T31" fmla="*/ 28 h 81"/>
                <a:gd name="T32" fmla="*/ 68 w 88"/>
                <a:gd name="T33" fmla="*/ 31 h 81"/>
                <a:gd name="T34" fmla="*/ 48 w 88"/>
                <a:gd name="T35" fmla="*/ 31 h 81"/>
                <a:gd name="T36" fmla="*/ 48 w 88"/>
                <a:gd name="T37" fmla="*/ 42 h 81"/>
                <a:gd name="T38" fmla="*/ 80 w 88"/>
                <a:gd name="T39" fmla="*/ 42 h 81"/>
                <a:gd name="T40" fmla="*/ 83 w 88"/>
                <a:gd name="T41" fmla="*/ 46 h 81"/>
                <a:gd name="T42" fmla="*/ 80 w 88"/>
                <a:gd name="T43" fmla="*/ 49 h 81"/>
                <a:gd name="T44" fmla="*/ 48 w 88"/>
                <a:gd name="T45" fmla="*/ 49 h 81"/>
                <a:gd name="T46" fmla="*/ 48 w 88"/>
                <a:gd name="T47" fmla="*/ 74 h 81"/>
                <a:gd name="T48" fmla="*/ 61 w 88"/>
                <a:gd name="T49" fmla="*/ 74 h 81"/>
                <a:gd name="T50" fmla="*/ 60 w 88"/>
                <a:gd name="T51" fmla="*/ 70 h 81"/>
                <a:gd name="T52" fmla="*/ 70 w 88"/>
                <a:gd name="T53" fmla="*/ 53 h 81"/>
                <a:gd name="T54" fmla="*/ 75 w 88"/>
                <a:gd name="T55" fmla="*/ 51 h 81"/>
                <a:gd name="T56" fmla="*/ 76 w 88"/>
                <a:gd name="T57" fmla="*/ 56 h 81"/>
                <a:gd name="T58" fmla="*/ 66 w 88"/>
                <a:gd name="T59" fmla="*/ 73 h 81"/>
                <a:gd name="T60" fmla="*/ 64 w 88"/>
                <a:gd name="T61" fmla="*/ 74 h 81"/>
                <a:gd name="T62" fmla="*/ 84 w 88"/>
                <a:gd name="T63" fmla="*/ 74 h 81"/>
                <a:gd name="T64" fmla="*/ 87 w 88"/>
                <a:gd name="T65" fmla="*/ 77 h 81"/>
                <a:gd name="T66" fmla="*/ 84 w 88"/>
                <a:gd name="T67" fmla="*/ 81 h 81"/>
                <a:gd name="T68" fmla="*/ 6 w 88"/>
                <a:gd name="T69" fmla="*/ 81 h 81"/>
                <a:gd name="T70" fmla="*/ 2 w 88"/>
                <a:gd name="T71" fmla="*/ 77 h 81"/>
                <a:gd name="T72" fmla="*/ 6 w 88"/>
                <a:gd name="T73" fmla="*/ 74 h 81"/>
                <a:gd name="T74" fmla="*/ 40 w 88"/>
                <a:gd name="T75" fmla="*/ 74 h 81"/>
                <a:gd name="T76" fmla="*/ 40 w 88"/>
                <a:gd name="T77" fmla="*/ 49 h 81"/>
                <a:gd name="T78" fmla="*/ 9 w 88"/>
                <a:gd name="T79" fmla="*/ 49 h 81"/>
                <a:gd name="T80" fmla="*/ 6 w 88"/>
                <a:gd name="T81" fmla="*/ 46 h 81"/>
                <a:gd name="T82" fmla="*/ 9 w 88"/>
                <a:gd name="T83" fmla="*/ 42 h 81"/>
                <a:gd name="T84" fmla="*/ 40 w 88"/>
                <a:gd name="T85" fmla="*/ 42 h 81"/>
                <a:gd name="T86" fmla="*/ 40 w 88"/>
                <a:gd name="T87" fmla="*/ 31 h 81"/>
                <a:gd name="T88" fmla="*/ 21 w 88"/>
                <a:gd name="T89" fmla="*/ 31 h 81"/>
                <a:gd name="T90" fmla="*/ 18 w 88"/>
                <a:gd name="T91" fmla="*/ 28 h 81"/>
                <a:gd name="T92" fmla="*/ 21 w 88"/>
                <a:gd name="T93" fmla="*/ 25 h 81"/>
                <a:gd name="T94" fmla="*/ 20 w 88"/>
                <a:gd name="T95" fmla="*/ 54 h 81"/>
                <a:gd name="T96" fmla="*/ 27 w 88"/>
                <a:gd name="T97" fmla="*/ 67 h 81"/>
                <a:gd name="T98" fmla="*/ 26 w 88"/>
                <a:gd name="T99" fmla="*/ 72 h 81"/>
                <a:gd name="T100" fmla="*/ 21 w 88"/>
                <a:gd name="T101" fmla="*/ 71 h 81"/>
                <a:gd name="T102" fmla="*/ 14 w 88"/>
                <a:gd name="T103" fmla="*/ 57 h 81"/>
                <a:gd name="T104" fmla="*/ 14 w 88"/>
                <a:gd name="T105" fmla="*/ 53 h 81"/>
                <a:gd name="T106" fmla="*/ 20 w 88"/>
                <a:gd name="T107" fmla="*/ 54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8" h="81">
                  <a:moveTo>
                    <a:pt x="43" y="0"/>
                  </a:moveTo>
                  <a:cubicBezTo>
                    <a:pt x="44" y="0"/>
                    <a:pt x="47" y="1"/>
                    <a:pt x="51" y="4"/>
                  </a:cubicBezTo>
                  <a:cubicBezTo>
                    <a:pt x="61" y="12"/>
                    <a:pt x="72" y="18"/>
                    <a:pt x="84" y="22"/>
                  </a:cubicBezTo>
                  <a:cubicBezTo>
                    <a:pt x="87" y="23"/>
                    <a:pt x="88" y="25"/>
                    <a:pt x="87" y="28"/>
                  </a:cubicBezTo>
                  <a:cubicBezTo>
                    <a:pt x="86" y="30"/>
                    <a:pt x="85" y="30"/>
                    <a:pt x="82" y="29"/>
                  </a:cubicBezTo>
                  <a:cubicBezTo>
                    <a:pt x="70" y="25"/>
                    <a:pt x="59" y="19"/>
                    <a:pt x="49" y="12"/>
                  </a:cubicBezTo>
                  <a:cubicBezTo>
                    <a:pt x="46" y="10"/>
                    <a:pt x="44" y="8"/>
                    <a:pt x="43" y="8"/>
                  </a:cubicBezTo>
                  <a:cubicBezTo>
                    <a:pt x="43" y="8"/>
                    <a:pt x="41" y="9"/>
                    <a:pt x="38" y="11"/>
                  </a:cubicBezTo>
                  <a:cubicBezTo>
                    <a:pt x="28" y="19"/>
                    <a:pt x="18" y="25"/>
                    <a:pt x="6" y="30"/>
                  </a:cubicBezTo>
                  <a:cubicBezTo>
                    <a:pt x="4" y="31"/>
                    <a:pt x="2" y="30"/>
                    <a:pt x="1" y="28"/>
                  </a:cubicBezTo>
                  <a:cubicBezTo>
                    <a:pt x="0" y="26"/>
                    <a:pt x="1" y="24"/>
                    <a:pt x="3" y="23"/>
                  </a:cubicBezTo>
                  <a:cubicBezTo>
                    <a:pt x="15" y="19"/>
                    <a:pt x="26" y="13"/>
                    <a:pt x="35" y="5"/>
                  </a:cubicBezTo>
                  <a:cubicBezTo>
                    <a:pt x="39" y="2"/>
                    <a:pt x="42" y="0"/>
                    <a:pt x="43" y="0"/>
                  </a:cubicBezTo>
                  <a:close/>
                  <a:moveTo>
                    <a:pt x="21" y="25"/>
                  </a:moveTo>
                  <a:cubicBezTo>
                    <a:pt x="68" y="25"/>
                    <a:pt x="68" y="25"/>
                    <a:pt x="68" y="25"/>
                  </a:cubicBezTo>
                  <a:cubicBezTo>
                    <a:pt x="70" y="25"/>
                    <a:pt x="71" y="26"/>
                    <a:pt x="71" y="28"/>
                  </a:cubicBezTo>
                  <a:cubicBezTo>
                    <a:pt x="71" y="30"/>
                    <a:pt x="70" y="31"/>
                    <a:pt x="6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80" y="42"/>
                    <a:pt x="80" y="42"/>
                    <a:pt x="80" y="42"/>
                  </a:cubicBezTo>
                  <a:cubicBezTo>
                    <a:pt x="82" y="42"/>
                    <a:pt x="83" y="43"/>
                    <a:pt x="83" y="46"/>
                  </a:cubicBezTo>
                  <a:cubicBezTo>
                    <a:pt x="83" y="48"/>
                    <a:pt x="82" y="49"/>
                    <a:pt x="80" y="49"/>
                  </a:cubicBezTo>
                  <a:cubicBezTo>
                    <a:pt x="48" y="49"/>
                    <a:pt x="48" y="49"/>
                    <a:pt x="48" y="49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59" y="73"/>
                    <a:pt x="59" y="72"/>
                    <a:pt x="60" y="70"/>
                  </a:cubicBezTo>
                  <a:cubicBezTo>
                    <a:pt x="64" y="64"/>
                    <a:pt x="67" y="59"/>
                    <a:pt x="70" y="53"/>
                  </a:cubicBezTo>
                  <a:cubicBezTo>
                    <a:pt x="71" y="51"/>
                    <a:pt x="73" y="50"/>
                    <a:pt x="75" y="51"/>
                  </a:cubicBezTo>
                  <a:cubicBezTo>
                    <a:pt x="76" y="52"/>
                    <a:pt x="77" y="54"/>
                    <a:pt x="76" y="56"/>
                  </a:cubicBezTo>
                  <a:cubicBezTo>
                    <a:pt x="72" y="65"/>
                    <a:pt x="69" y="70"/>
                    <a:pt x="66" y="73"/>
                  </a:cubicBezTo>
                  <a:cubicBezTo>
                    <a:pt x="65" y="74"/>
                    <a:pt x="65" y="74"/>
                    <a:pt x="64" y="74"/>
                  </a:cubicBezTo>
                  <a:cubicBezTo>
                    <a:pt x="84" y="74"/>
                    <a:pt x="84" y="74"/>
                    <a:pt x="84" y="74"/>
                  </a:cubicBezTo>
                  <a:cubicBezTo>
                    <a:pt x="86" y="74"/>
                    <a:pt x="87" y="75"/>
                    <a:pt x="87" y="77"/>
                  </a:cubicBezTo>
                  <a:cubicBezTo>
                    <a:pt x="87" y="79"/>
                    <a:pt x="86" y="81"/>
                    <a:pt x="84" y="81"/>
                  </a:cubicBezTo>
                  <a:cubicBezTo>
                    <a:pt x="6" y="81"/>
                    <a:pt x="6" y="81"/>
                    <a:pt x="6" y="81"/>
                  </a:cubicBezTo>
                  <a:cubicBezTo>
                    <a:pt x="3" y="81"/>
                    <a:pt x="2" y="79"/>
                    <a:pt x="2" y="77"/>
                  </a:cubicBezTo>
                  <a:cubicBezTo>
                    <a:pt x="2" y="75"/>
                    <a:pt x="3" y="74"/>
                    <a:pt x="6" y="74"/>
                  </a:cubicBezTo>
                  <a:cubicBezTo>
                    <a:pt x="40" y="74"/>
                    <a:pt x="40" y="74"/>
                    <a:pt x="40" y="74"/>
                  </a:cubicBezTo>
                  <a:cubicBezTo>
                    <a:pt x="40" y="49"/>
                    <a:pt x="40" y="49"/>
                    <a:pt x="40" y="49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7" y="49"/>
                    <a:pt x="6" y="48"/>
                    <a:pt x="6" y="46"/>
                  </a:cubicBezTo>
                  <a:cubicBezTo>
                    <a:pt x="6" y="43"/>
                    <a:pt x="7" y="42"/>
                    <a:pt x="9" y="42"/>
                  </a:cubicBezTo>
                  <a:cubicBezTo>
                    <a:pt x="40" y="42"/>
                    <a:pt x="40" y="42"/>
                    <a:pt x="40" y="42"/>
                  </a:cubicBezTo>
                  <a:cubicBezTo>
                    <a:pt x="40" y="31"/>
                    <a:pt x="40" y="31"/>
                    <a:pt x="40" y="31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19" y="31"/>
                    <a:pt x="18" y="30"/>
                    <a:pt x="18" y="28"/>
                  </a:cubicBezTo>
                  <a:cubicBezTo>
                    <a:pt x="18" y="26"/>
                    <a:pt x="19" y="25"/>
                    <a:pt x="21" y="25"/>
                  </a:cubicBezTo>
                  <a:close/>
                  <a:moveTo>
                    <a:pt x="20" y="54"/>
                  </a:moveTo>
                  <a:cubicBezTo>
                    <a:pt x="23" y="58"/>
                    <a:pt x="25" y="63"/>
                    <a:pt x="27" y="67"/>
                  </a:cubicBezTo>
                  <a:cubicBezTo>
                    <a:pt x="28" y="69"/>
                    <a:pt x="28" y="71"/>
                    <a:pt x="26" y="72"/>
                  </a:cubicBezTo>
                  <a:cubicBezTo>
                    <a:pt x="24" y="73"/>
                    <a:pt x="23" y="73"/>
                    <a:pt x="21" y="71"/>
                  </a:cubicBezTo>
                  <a:cubicBezTo>
                    <a:pt x="19" y="67"/>
                    <a:pt x="17" y="62"/>
                    <a:pt x="14" y="57"/>
                  </a:cubicBezTo>
                  <a:cubicBezTo>
                    <a:pt x="12" y="55"/>
                    <a:pt x="13" y="54"/>
                    <a:pt x="14" y="53"/>
                  </a:cubicBezTo>
                  <a:cubicBezTo>
                    <a:pt x="16" y="52"/>
                    <a:pt x="18" y="52"/>
                    <a:pt x="20" y="54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49D45AAA-2D22-4BDC-BECF-BE096787AF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68400" y="895350"/>
              <a:ext cx="136525" cy="139700"/>
            </a:xfrm>
            <a:custGeom>
              <a:avLst/>
              <a:gdLst>
                <a:gd name="T0" fmla="*/ 39 w 83"/>
                <a:gd name="T1" fmla="*/ 1 h 85"/>
                <a:gd name="T2" fmla="*/ 39 w 83"/>
                <a:gd name="T3" fmla="*/ 7 h 85"/>
                <a:gd name="T4" fmla="*/ 0 w 83"/>
                <a:gd name="T5" fmla="*/ 4 h 85"/>
                <a:gd name="T6" fmla="*/ 6 w 83"/>
                <a:gd name="T7" fmla="*/ 35 h 85"/>
                <a:gd name="T8" fmla="*/ 42 w 83"/>
                <a:gd name="T9" fmla="*/ 41 h 85"/>
                <a:gd name="T10" fmla="*/ 28 w 83"/>
                <a:gd name="T11" fmla="*/ 80 h 85"/>
                <a:gd name="T12" fmla="*/ 30 w 83"/>
                <a:gd name="T13" fmla="*/ 74 h 85"/>
                <a:gd name="T14" fmla="*/ 36 w 83"/>
                <a:gd name="T15" fmla="*/ 42 h 85"/>
                <a:gd name="T16" fmla="*/ 8 w 83"/>
                <a:gd name="T17" fmla="*/ 40 h 85"/>
                <a:gd name="T18" fmla="*/ 6 w 83"/>
                <a:gd name="T19" fmla="*/ 79 h 85"/>
                <a:gd name="T20" fmla="*/ 0 w 83"/>
                <a:gd name="T21" fmla="*/ 79 h 85"/>
                <a:gd name="T22" fmla="*/ 6 w 83"/>
                <a:gd name="T23" fmla="*/ 35 h 85"/>
                <a:gd name="T24" fmla="*/ 32 w 83"/>
                <a:gd name="T25" fmla="*/ 11 h 85"/>
                <a:gd name="T26" fmla="*/ 37 w 83"/>
                <a:gd name="T27" fmla="*/ 23 h 85"/>
                <a:gd name="T28" fmla="*/ 9 w 83"/>
                <a:gd name="T29" fmla="*/ 29 h 85"/>
                <a:gd name="T30" fmla="*/ 4 w 83"/>
                <a:gd name="T31" fmla="*/ 17 h 85"/>
                <a:gd name="T32" fmla="*/ 10 w 83"/>
                <a:gd name="T33" fmla="*/ 56 h 85"/>
                <a:gd name="T34" fmla="*/ 23 w 83"/>
                <a:gd name="T35" fmla="*/ 53 h 85"/>
                <a:gd name="T36" fmla="*/ 31 w 83"/>
                <a:gd name="T37" fmla="*/ 41 h 85"/>
                <a:gd name="T38" fmla="*/ 31 w 83"/>
                <a:gd name="T39" fmla="*/ 48 h 85"/>
                <a:gd name="T40" fmla="*/ 32 w 83"/>
                <a:gd name="T41" fmla="*/ 56 h 85"/>
                <a:gd name="T42" fmla="*/ 32 w 83"/>
                <a:gd name="T43" fmla="*/ 61 h 85"/>
                <a:gd name="T44" fmla="*/ 24 w 83"/>
                <a:gd name="T45" fmla="*/ 76 h 85"/>
                <a:gd name="T46" fmla="*/ 18 w 83"/>
                <a:gd name="T47" fmla="*/ 76 h 85"/>
                <a:gd name="T48" fmla="*/ 10 w 83"/>
                <a:gd name="T49" fmla="*/ 61 h 85"/>
                <a:gd name="T50" fmla="*/ 10 w 83"/>
                <a:gd name="T51" fmla="*/ 56 h 85"/>
                <a:gd name="T52" fmla="*/ 17 w 83"/>
                <a:gd name="T53" fmla="*/ 46 h 85"/>
                <a:gd name="T54" fmla="*/ 17 w 83"/>
                <a:gd name="T55" fmla="*/ 55 h 85"/>
                <a:gd name="T56" fmla="*/ 11 w 83"/>
                <a:gd name="T57" fmla="*/ 50 h 85"/>
                <a:gd name="T58" fmla="*/ 11 w 83"/>
                <a:gd name="T59" fmla="*/ 42 h 85"/>
                <a:gd name="T60" fmla="*/ 30 w 83"/>
                <a:gd name="T61" fmla="*/ 17 h 85"/>
                <a:gd name="T62" fmla="*/ 10 w 83"/>
                <a:gd name="T63" fmla="*/ 19 h 85"/>
                <a:gd name="T64" fmla="*/ 12 w 83"/>
                <a:gd name="T65" fmla="*/ 23 h 85"/>
                <a:gd name="T66" fmla="*/ 31 w 83"/>
                <a:gd name="T67" fmla="*/ 21 h 85"/>
                <a:gd name="T68" fmla="*/ 30 w 83"/>
                <a:gd name="T69" fmla="*/ 17 h 85"/>
                <a:gd name="T70" fmla="*/ 66 w 83"/>
                <a:gd name="T71" fmla="*/ 11 h 85"/>
                <a:gd name="T72" fmla="*/ 79 w 83"/>
                <a:gd name="T73" fmla="*/ 16 h 85"/>
                <a:gd name="T74" fmla="*/ 75 w 83"/>
                <a:gd name="T75" fmla="*/ 54 h 85"/>
                <a:gd name="T76" fmla="*/ 66 w 83"/>
                <a:gd name="T77" fmla="*/ 73 h 85"/>
                <a:gd name="T78" fmla="*/ 71 w 83"/>
                <a:gd name="T79" fmla="*/ 63 h 85"/>
                <a:gd name="T80" fmla="*/ 77 w 83"/>
                <a:gd name="T81" fmla="*/ 61 h 85"/>
                <a:gd name="T82" fmla="*/ 81 w 83"/>
                <a:gd name="T83" fmla="*/ 84 h 85"/>
                <a:gd name="T84" fmla="*/ 75 w 83"/>
                <a:gd name="T85" fmla="*/ 77 h 85"/>
                <a:gd name="T86" fmla="*/ 44 w 83"/>
                <a:gd name="T87" fmla="*/ 78 h 85"/>
                <a:gd name="T88" fmla="*/ 59 w 83"/>
                <a:gd name="T89" fmla="*/ 73 h 85"/>
                <a:gd name="T90" fmla="*/ 52 w 83"/>
                <a:gd name="T91" fmla="*/ 54 h 85"/>
                <a:gd name="T92" fmla="*/ 46 w 83"/>
                <a:gd name="T93" fmla="*/ 16 h 85"/>
                <a:gd name="T94" fmla="*/ 59 w 83"/>
                <a:gd name="T95" fmla="*/ 11 h 85"/>
                <a:gd name="T96" fmla="*/ 62 w 83"/>
                <a:gd name="T97" fmla="*/ 0 h 85"/>
                <a:gd name="T98" fmla="*/ 55 w 83"/>
                <a:gd name="T99" fmla="*/ 17 h 85"/>
                <a:gd name="T100" fmla="*/ 52 w 83"/>
                <a:gd name="T101" fmla="*/ 46 h 85"/>
                <a:gd name="T102" fmla="*/ 59 w 83"/>
                <a:gd name="T103" fmla="*/ 47 h 85"/>
                <a:gd name="T104" fmla="*/ 55 w 83"/>
                <a:gd name="T105" fmla="*/ 17 h 85"/>
                <a:gd name="T106" fmla="*/ 66 w 83"/>
                <a:gd name="T107" fmla="*/ 17 h 85"/>
                <a:gd name="T108" fmla="*/ 71 w 83"/>
                <a:gd name="T109" fmla="*/ 47 h 85"/>
                <a:gd name="T110" fmla="*/ 73 w 83"/>
                <a:gd name="T111" fmla="*/ 2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3" h="85">
                  <a:moveTo>
                    <a:pt x="4" y="1"/>
                  </a:moveTo>
                  <a:cubicBezTo>
                    <a:pt x="39" y="1"/>
                    <a:pt x="39" y="1"/>
                    <a:pt x="39" y="1"/>
                  </a:cubicBezTo>
                  <a:cubicBezTo>
                    <a:pt x="41" y="1"/>
                    <a:pt x="42" y="2"/>
                    <a:pt x="42" y="4"/>
                  </a:cubicBezTo>
                  <a:cubicBezTo>
                    <a:pt x="42" y="6"/>
                    <a:pt x="41" y="7"/>
                    <a:pt x="39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1" y="7"/>
                    <a:pt x="0" y="6"/>
                    <a:pt x="0" y="4"/>
                  </a:cubicBezTo>
                  <a:cubicBezTo>
                    <a:pt x="0" y="2"/>
                    <a:pt x="1" y="1"/>
                    <a:pt x="4" y="1"/>
                  </a:cubicBezTo>
                  <a:close/>
                  <a:moveTo>
                    <a:pt x="6" y="35"/>
                  </a:moveTo>
                  <a:cubicBezTo>
                    <a:pt x="35" y="35"/>
                    <a:pt x="35" y="35"/>
                    <a:pt x="35" y="35"/>
                  </a:cubicBezTo>
                  <a:cubicBezTo>
                    <a:pt x="40" y="35"/>
                    <a:pt x="43" y="37"/>
                    <a:pt x="42" y="41"/>
                  </a:cubicBezTo>
                  <a:cubicBezTo>
                    <a:pt x="42" y="74"/>
                    <a:pt x="42" y="74"/>
                    <a:pt x="42" y="74"/>
                  </a:cubicBezTo>
                  <a:cubicBezTo>
                    <a:pt x="42" y="81"/>
                    <a:pt x="37" y="82"/>
                    <a:pt x="28" y="80"/>
                  </a:cubicBezTo>
                  <a:cubicBezTo>
                    <a:pt x="26" y="79"/>
                    <a:pt x="26" y="78"/>
                    <a:pt x="26" y="76"/>
                  </a:cubicBezTo>
                  <a:cubicBezTo>
                    <a:pt x="27" y="74"/>
                    <a:pt x="28" y="74"/>
                    <a:pt x="30" y="74"/>
                  </a:cubicBezTo>
                  <a:cubicBezTo>
                    <a:pt x="34" y="76"/>
                    <a:pt x="36" y="76"/>
                    <a:pt x="36" y="73"/>
                  </a:cubicBezTo>
                  <a:cubicBezTo>
                    <a:pt x="36" y="42"/>
                    <a:pt x="36" y="42"/>
                    <a:pt x="36" y="42"/>
                  </a:cubicBezTo>
                  <a:cubicBezTo>
                    <a:pt x="36" y="41"/>
                    <a:pt x="36" y="40"/>
                    <a:pt x="35" y="40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6" y="40"/>
                    <a:pt x="5" y="41"/>
                    <a:pt x="6" y="43"/>
                  </a:cubicBezTo>
                  <a:cubicBezTo>
                    <a:pt x="6" y="79"/>
                    <a:pt x="6" y="79"/>
                    <a:pt x="6" y="79"/>
                  </a:cubicBezTo>
                  <a:cubicBezTo>
                    <a:pt x="5" y="81"/>
                    <a:pt x="4" y="82"/>
                    <a:pt x="3" y="82"/>
                  </a:cubicBezTo>
                  <a:cubicBezTo>
                    <a:pt x="1" y="82"/>
                    <a:pt x="0" y="81"/>
                    <a:pt x="0" y="79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37"/>
                    <a:pt x="2" y="35"/>
                    <a:pt x="6" y="35"/>
                  </a:cubicBezTo>
                  <a:close/>
                  <a:moveTo>
                    <a:pt x="9" y="11"/>
                  </a:moveTo>
                  <a:cubicBezTo>
                    <a:pt x="32" y="11"/>
                    <a:pt x="32" y="11"/>
                    <a:pt x="32" y="11"/>
                  </a:cubicBezTo>
                  <a:cubicBezTo>
                    <a:pt x="36" y="11"/>
                    <a:pt x="38" y="13"/>
                    <a:pt x="37" y="17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8" y="28"/>
                    <a:pt x="36" y="30"/>
                    <a:pt x="32" y="29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5" y="29"/>
                    <a:pt x="4" y="27"/>
                    <a:pt x="4" y="23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3" y="13"/>
                    <a:pt x="5" y="11"/>
                    <a:pt x="9" y="11"/>
                  </a:cubicBezTo>
                  <a:close/>
                  <a:moveTo>
                    <a:pt x="10" y="56"/>
                  </a:moveTo>
                  <a:cubicBezTo>
                    <a:pt x="22" y="56"/>
                    <a:pt x="22" y="56"/>
                    <a:pt x="22" y="56"/>
                  </a:cubicBezTo>
                  <a:cubicBezTo>
                    <a:pt x="22" y="55"/>
                    <a:pt x="22" y="54"/>
                    <a:pt x="23" y="53"/>
                  </a:cubicBezTo>
                  <a:cubicBezTo>
                    <a:pt x="24" y="50"/>
                    <a:pt x="26" y="46"/>
                    <a:pt x="27" y="43"/>
                  </a:cubicBezTo>
                  <a:cubicBezTo>
                    <a:pt x="28" y="41"/>
                    <a:pt x="29" y="41"/>
                    <a:pt x="31" y="41"/>
                  </a:cubicBezTo>
                  <a:cubicBezTo>
                    <a:pt x="33" y="42"/>
                    <a:pt x="33" y="44"/>
                    <a:pt x="33" y="46"/>
                  </a:cubicBezTo>
                  <a:cubicBezTo>
                    <a:pt x="32" y="47"/>
                    <a:pt x="32" y="47"/>
                    <a:pt x="31" y="48"/>
                  </a:cubicBezTo>
                  <a:cubicBezTo>
                    <a:pt x="30" y="52"/>
                    <a:pt x="29" y="54"/>
                    <a:pt x="28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3" y="56"/>
                    <a:pt x="34" y="57"/>
                    <a:pt x="34" y="59"/>
                  </a:cubicBezTo>
                  <a:cubicBezTo>
                    <a:pt x="34" y="61"/>
                    <a:pt x="33" y="61"/>
                    <a:pt x="32" y="61"/>
                  </a:cubicBezTo>
                  <a:cubicBezTo>
                    <a:pt x="24" y="61"/>
                    <a:pt x="24" y="61"/>
                    <a:pt x="24" y="61"/>
                  </a:cubicBezTo>
                  <a:cubicBezTo>
                    <a:pt x="24" y="76"/>
                    <a:pt x="24" y="76"/>
                    <a:pt x="24" y="76"/>
                  </a:cubicBezTo>
                  <a:cubicBezTo>
                    <a:pt x="23" y="77"/>
                    <a:pt x="22" y="78"/>
                    <a:pt x="20" y="78"/>
                  </a:cubicBezTo>
                  <a:cubicBezTo>
                    <a:pt x="19" y="78"/>
                    <a:pt x="18" y="77"/>
                    <a:pt x="18" y="76"/>
                  </a:cubicBezTo>
                  <a:cubicBezTo>
                    <a:pt x="18" y="61"/>
                    <a:pt x="18" y="61"/>
                    <a:pt x="18" y="61"/>
                  </a:cubicBezTo>
                  <a:cubicBezTo>
                    <a:pt x="10" y="61"/>
                    <a:pt x="10" y="61"/>
                    <a:pt x="10" y="61"/>
                  </a:cubicBezTo>
                  <a:cubicBezTo>
                    <a:pt x="8" y="61"/>
                    <a:pt x="7" y="61"/>
                    <a:pt x="7" y="59"/>
                  </a:cubicBezTo>
                  <a:cubicBezTo>
                    <a:pt x="7" y="57"/>
                    <a:pt x="8" y="56"/>
                    <a:pt x="10" y="56"/>
                  </a:cubicBezTo>
                  <a:close/>
                  <a:moveTo>
                    <a:pt x="15" y="43"/>
                  </a:moveTo>
                  <a:cubicBezTo>
                    <a:pt x="15" y="44"/>
                    <a:pt x="16" y="45"/>
                    <a:pt x="17" y="46"/>
                  </a:cubicBezTo>
                  <a:cubicBezTo>
                    <a:pt x="17" y="48"/>
                    <a:pt x="18" y="49"/>
                    <a:pt x="19" y="51"/>
                  </a:cubicBezTo>
                  <a:cubicBezTo>
                    <a:pt x="19" y="53"/>
                    <a:pt x="19" y="54"/>
                    <a:pt x="17" y="55"/>
                  </a:cubicBezTo>
                  <a:cubicBezTo>
                    <a:pt x="15" y="56"/>
                    <a:pt x="13" y="55"/>
                    <a:pt x="13" y="53"/>
                  </a:cubicBezTo>
                  <a:cubicBezTo>
                    <a:pt x="12" y="52"/>
                    <a:pt x="12" y="51"/>
                    <a:pt x="11" y="50"/>
                  </a:cubicBezTo>
                  <a:cubicBezTo>
                    <a:pt x="11" y="48"/>
                    <a:pt x="10" y="47"/>
                    <a:pt x="10" y="46"/>
                  </a:cubicBezTo>
                  <a:cubicBezTo>
                    <a:pt x="9" y="44"/>
                    <a:pt x="9" y="43"/>
                    <a:pt x="11" y="42"/>
                  </a:cubicBezTo>
                  <a:cubicBezTo>
                    <a:pt x="13" y="41"/>
                    <a:pt x="14" y="41"/>
                    <a:pt x="15" y="43"/>
                  </a:cubicBezTo>
                  <a:close/>
                  <a:moveTo>
                    <a:pt x="30" y="17"/>
                  </a:moveTo>
                  <a:cubicBezTo>
                    <a:pt x="11" y="17"/>
                    <a:pt x="11" y="17"/>
                    <a:pt x="11" y="17"/>
                  </a:cubicBezTo>
                  <a:cubicBezTo>
                    <a:pt x="10" y="17"/>
                    <a:pt x="9" y="18"/>
                    <a:pt x="10" y="19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10" y="23"/>
                    <a:pt x="10" y="23"/>
                    <a:pt x="12" y="23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31" y="23"/>
                    <a:pt x="31" y="23"/>
                    <a:pt x="31" y="21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1" y="18"/>
                    <a:pt x="31" y="17"/>
                    <a:pt x="30" y="17"/>
                  </a:cubicBezTo>
                  <a:close/>
                  <a:moveTo>
                    <a:pt x="66" y="3"/>
                  </a:moveTo>
                  <a:cubicBezTo>
                    <a:pt x="66" y="11"/>
                    <a:pt x="66" y="11"/>
                    <a:pt x="66" y="11"/>
                  </a:cubicBezTo>
                  <a:cubicBezTo>
                    <a:pt x="74" y="11"/>
                    <a:pt x="74" y="11"/>
                    <a:pt x="74" y="11"/>
                  </a:cubicBezTo>
                  <a:cubicBezTo>
                    <a:pt x="78" y="11"/>
                    <a:pt x="79" y="12"/>
                    <a:pt x="79" y="16"/>
                  </a:cubicBezTo>
                  <a:cubicBezTo>
                    <a:pt x="79" y="48"/>
                    <a:pt x="79" y="48"/>
                    <a:pt x="79" y="48"/>
                  </a:cubicBezTo>
                  <a:cubicBezTo>
                    <a:pt x="79" y="52"/>
                    <a:pt x="78" y="54"/>
                    <a:pt x="75" y="54"/>
                  </a:cubicBezTo>
                  <a:cubicBezTo>
                    <a:pt x="66" y="54"/>
                    <a:pt x="66" y="54"/>
                    <a:pt x="66" y="54"/>
                  </a:cubicBezTo>
                  <a:cubicBezTo>
                    <a:pt x="66" y="73"/>
                    <a:pt x="66" y="73"/>
                    <a:pt x="66" y="73"/>
                  </a:cubicBezTo>
                  <a:cubicBezTo>
                    <a:pt x="74" y="72"/>
                    <a:pt x="74" y="72"/>
                    <a:pt x="74" y="72"/>
                  </a:cubicBezTo>
                  <a:cubicBezTo>
                    <a:pt x="72" y="67"/>
                    <a:pt x="71" y="64"/>
                    <a:pt x="71" y="63"/>
                  </a:cubicBezTo>
                  <a:cubicBezTo>
                    <a:pt x="70" y="61"/>
                    <a:pt x="71" y="60"/>
                    <a:pt x="73" y="59"/>
                  </a:cubicBezTo>
                  <a:cubicBezTo>
                    <a:pt x="75" y="59"/>
                    <a:pt x="76" y="59"/>
                    <a:pt x="77" y="61"/>
                  </a:cubicBezTo>
                  <a:cubicBezTo>
                    <a:pt x="80" y="69"/>
                    <a:pt x="82" y="76"/>
                    <a:pt x="83" y="81"/>
                  </a:cubicBezTo>
                  <a:cubicBezTo>
                    <a:pt x="83" y="83"/>
                    <a:pt x="83" y="84"/>
                    <a:pt x="81" y="84"/>
                  </a:cubicBezTo>
                  <a:cubicBezTo>
                    <a:pt x="79" y="85"/>
                    <a:pt x="77" y="84"/>
                    <a:pt x="77" y="82"/>
                  </a:cubicBezTo>
                  <a:cubicBezTo>
                    <a:pt x="77" y="82"/>
                    <a:pt x="76" y="80"/>
                    <a:pt x="75" y="77"/>
                  </a:cubicBezTo>
                  <a:cubicBezTo>
                    <a:pt x="58" y="79"/>
                    <a:pt x="48" y="81"/>
                    <a:pt x="48" y="81"/>
                  </a:cubicBezTo>
                  <a:cubicBezTo>
                    <a:pt x="46" y="81"/>
                    <a:pt x="44" y="80"/>
                    <a:pt x="44" y="78"/>
                  </a:cubicBezTo>
                  <a:cubicBezTo>
                    <a:pt x="44" y="76"/>
                    <a:pt x="45" y="75"/>
                    <a:pt x="47" y="74"/>
                  </a:cubicBezTo>
                  <a:cubicBezTo>
                    <a:pt x="48" y="74"/>
                    <a:pt x="52" y="74"/>
                    <a:pt x="59" y="73"/>
                  </a:cubicBezTo>
                  <a:cubicBezTo>
                    <a:pt x="59" y="54"/>
                    <a:pt x="59" y="54"/>
                    <a:pt x="59" y="54"/>
                  </a:cubicBezTo>
                  <a:cubicBezTo>
                    <a:pt x="52" y="54"/>
                    <a:pt x="52" y="54"/>
                    <a:pt x="52" y="54"/>
                  </a:cubicBezTo>
                  <a:cubicBezTo>
                    <a:pt x="48" y="54"/>
                    <a:pt x="45" y="52"/>
                    <a:pt x="46" y="49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6" y="12"/>
                    <a:pt x="48" y="11"/>
                    <a:pt x="52" y="11"/>
                  </a:cubicBezTo>
                  <a:cubicBezTo>
                    <a:pt x="59" y="11"/>
                    <a:pt x="59" y="11"/>
                    <a:pt x="59" y="11"/>
                  </a:cubicBezTo>
                  <a:cubicBezTo>
                    <a:pt x="59" y="3"/>
                    <a:pt x="59" y="3"/>
                    <a:pt x="59" y="3"/>
                  </a:cubicBezTo>
                  <a:cubicBezTo>
                    <a:pt x="59" y="1"/>
                    <a:pt x="60" y="0"/>
                    <a:pt x="62" y="0"/>
                  </a:cubicBezTo>
                  <a:cubicBezTo>
                    <a:pt x="65" y="0"/>
                    <a:pt x="66" y="1"/>
                    <a:pt x="66" y="3"/>
                  </a:cubicBezTo>
                  <a:close/>
                  <a:moveTo>
                    <a:pt x="55" y="17"/>
                  </a:moveTo>
                  <a:cubicBezTo>
                    <a:pt x="53" y="17"/>
                    <a:pt x="52" y="18"/>
                    <a:pt x="52" y="20"/>
                  </a:cubicBezTo>
                  <a:cubicBezTo>
                    <a:pt x="52" y="46"/>
                    <a:pt x="52" y="46"/>
                    <a:pt x="52" y="46"/>
                  </a:cubicBezTo>
                  <a:cubicBezTo>
                    <a:pt x="52" y="47"/>
                    <a:pt x="53" y="48"/>
                    <a:pt x="54" y="47"/>
                  </a:cubicBezTo>
                  <a:cubicBezTo>
                    <a:pt x="59" y="47"/>
                    <a:pt x="59" y="47"/>
                    <a:pt x="59" y="47"/>
                  </a:cubicBezTo>
                  <a:cubicBezTo>
                    <a:pt x="59" y="17"/>
                    <a:pt x="59" y="17"/>
                    <a:pt x="59" y="17"/>
                  </a:cubicBezTo>
                  <a:lnTo>
                    <a:pt x="55" y="17"/>
                  </a:lnTo>
                  <a:close/>
                  <a:moveTo>
                    <a:pt x="71" y="17"/>
                  </a:moveTo>
                  <a:cubicBezTo>
                    <a:pt x="66" y="17"/>
                    <a:pt x="66" y="17"/>
                    <a:pt x="66" y="17"/>
                  </a:cubicBezTo>
                  <a:cubicBezTo>
                    <a:pt x="66" y="47"/>
                    <a:pt x="66" y="47"/>
                    <a:pt x="66" y="47"/>
                  </a:cubicBezTo>
                  <a:cubicBezTo>
                    <a:pt x="71" y="47"/>
                    <a:pt x="71" y="47"/>
                    <a:pt x="71" y="47"/>
                  </a:cubicBezTo>
                  <a:cubicBezTo>
                    <a:pt x="72" y="48"/>
                    <a:pt x="73" y="47"/>
                    <a:pt x="73" y="46"/>
                  </a:cubicBezTo>
                  <a:cubicBezTo>
                    <a:pt x="73" y="20"/>
                    <a:pt x="73" y="20"/>
                    <a:pt x="73" y="20"/>
                  </a:cubicBezTo>
                  <a:cubicBezTo>
                    <a:pt x="73" y="18"/>
                    <a:pt x="72" y="17"/>
                    <a:pt x="71" y="17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8AD7F419-7B92-4449-BD89-C420227928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76375" y="896938"/>
              <a:ext cx="144463" cy="136525"/>
            </a:xfrm>
            <a:custGeom>
              <a:avLst/>
              <a:gdLst>
                <a:gd name="T0" fmla="*/ 34 w 88"/>
                <a:gd name="T1" fmla="*/ 0 h 83"/>
                <a:gd name="T2" fmla="*/ 38 w 88"/>
                <a:gd name="T3" fmla="*/ 2 h 83"/>
                <a:gd name="T4" fmla="*/ 36 w 88"/>
                <a:gd name="T5" fmla="*/ 6 h 83"/>
                <a:gd name="T6" fmla="*/ 25 w 88"/>
                <a:gd name="T7" fmla="*/ 8 h 83"/>
                <a:gd name="T8" fmla="*/ 25 w 88"/>
                <a:gd name="T9" fmla="*/ 23 h 83"/>
                <a:gd name="T10" fmla="*/ 37 w 88"/>
                <a:gd name="T11" fmla="*/ 23 h 83"/>
                <a:gd name="T12" fmla="*/ 37 w 88"/>
                <a:gd name="T13" fmla="*/ 30 h 83"/>
                <a:gd name="T14" fmla="*/ 25 w 88"/>
                <a:gd name="T15" fmla="*/ 30 h 83"/>
                <a:gd name="T16" fmla="*/ 25 w 88"/>
                <a:gd name="T17" fmla="*/ 32 h 83"/>
                <a:gd name="T18" fmla="*/ 39 w 88"/>
                <a:gd name="T19" fmla="*/ 49 h 83"/>
                <a:gd name="T20" fmla="*/ 38 w 88"/>
                <a:gd name="T21" fmla="*/ 54 h 83"/>
                <a:gd name="T22" fmla="*/ 34 w 88"/>
                <a:gd name="T23" fmla="*/ 53 h 83"/>
                <a:gd name="T24" fmla="*/ 25 w 88"/>
                <a:gd name="T25" fmla="*/ 41 h 83"/>
                <a:gd name="T26" fmla="*/ 25 w 88"/>
                <a:gd name="T27" fmla="*/ 79 h 83"/>
                <a:gd name="T28" fmla="*/ 22 w 88"/>
                <a:gd name="T29" fmla="*/ 82 h 83"/>
                <a:gd name="T30" fmla="*/ 19 w 88"/>
                <a:gd name="T31" fmla="*/ 79 h 83"/>
                <a:gd name="T32" fmla="*/ 19 w 88"/>
                <a:gd name="T33" fmla="*/ 42 h 83"/>
                <a:gd name="T34" fmla="*/ 7 w 88"/>
                <a:gd name="T35" fmla="*/ 59 h 83"/>
                <a:gd name="T36" fmla="*/ 1 w 88"/>
                <a:gd name="T37" fmla="*/ 59 h 83"/>
                <a:gd name="T38" fmla="*/ 2 w 88"/>
                <a:gd name="T39" fmla="*/ 54 h 83"/>
                <a:gd name="T40" fmla="*/ 18 w 88"/>
                <a:gd name="T41" fmla="*/ 30 h 83"/>
                <a:gd name="T42" fmla="*/ 5 w 88"/>
                <a:gd name="T43" fmla="*/ 30 h 83"/>
                <a:gd name="T44" fmla="*/ 5 w 88"/>
                <a:gd name="T45" fmla="*/ 23 h 83"/>
                <a:gd name="T46" fmla="*/ 19 w 88"/>
                <a:gd name="T47" fmla="*/ 23 h 83"/>
                <a:gd name="T48" fmla="*/ 19 w 88"/>
                <a:gd name="T49" fmla="*/ 9 h 83"/>
                <a:gd name="T50" fmla="*/ 7 w 88"/>
                <a:gd name="T51" fmla="*/ 10 h 83"/>
                <a:gd name="T52" fmla="*/ 6 w 88"/>
                <a:gd name="T53" fmla="*/ 3 h 83"/>
                <a:gd name="T54" fmla="*/ 34 w 88"/>
                <a:gd name="T55" fmla="*/ 0 h 83"/>
                <a:gd name="T56" fmla="*/ 76 w 88"/>
                <a:gd name="T57" fmla="*/ 4 h 83"/>
                <a:gd name="T58" fmla="*/ 76 w 88"/>
                <a:gd name="T59" fmla="*/ 52 h 83"/>
                <a:gd name="T60" fmla="*/ 81 w 88"/>
                <a:gd name="T61" fmla="*/ 51 h 83"/>
                <a:gd name="T62" fmla="*/ 84 w 88"/>
                <a:gd name="T63" fmla="*/ 50 h 83"/>
                <a:gd name="T64" fmla="*/ 85 w 88"/>
                <a:gd name="T65" fmla="*/ 58 h 83"/>
                <a:gd name="T66" fmla="*/ 76 w 88"/>
                <a:gd name="T67" fmla="*/ 59 h 83"/>
                <a:gd name="T68" fmla="*/ 76 w 88"/>
                <a:gd name="T69" fmla="*/ 80 h 83"/>
                <a:gd name="T70" fmla="*/ 72 w 88"/>
                <a:gd name="T71" fmla="*/ 83 h 83"/>
                <a:gd name="T72" fmla="*/ 69 w 88"/>
                <a:gd name="T73" fmla="*/ 80 h 83"/>
                <a:gd name="T74" fmla="*/ 69 w 88"/>
                <a:gd name="T75" fmla="*/ 60 h 83"/>
                <a:gd name="T76" fmla="*/ 37 w 88"/>
                <a:gd name="T77" fmla="*/ 65 h 83"/>
                <a:gd name="T78" fmla="*/ 33 w 88"/>
                <a:gd name="T79" fmla="*/ 62 h 83"/>
                <a:gd name="T80" fmla="*/ 36 w 88"/>
                <a:gd name="T81" fmla="*/ 58 h 83"/>
                <a:gd name="T82" fmla="*/ 42 w 88"/>
                <a:gd name="T83" fmla="*/ 57 h 83"/>
                <a:gd name="T84" fmla="*/ 69 w 88"/>
                <a:gd name="T85" fmla="*/ 53 h 83"/>
                <a:gd name="T86" fmla="*/ 69 w 88"/>
                <a:gd name="T87" fmla="*/ 5 h 83"/>
                <a:gd name="T88" fmla="*/ 72 w 88"/>
                <a:gd name="T89" fmla="*/ 2 h 83"/>
                <a:gd name="T90" fmla="*/ 76 w 88"/>
                <a:gd name="T91" fmla="*/ 4 h 83"/>
                <a:gd name="T92" fmla="*/ 47 w 88"/>
                <a:gd name="T93" fmla="*/ 26 h 83"/>
                <a:gd name="T94" fmla="*/ 60 w 88"/>
                <a:gd name="T95" fmla="*/ 40 h 83"/>
                <a:gd name="T96" fmla="*/ 59 w 88"/>
                <a:gd name="T97" fmla="*/ 45 h 83"/>
                <a:gd name="T98" fmla="*/ 55 w 88"/>
                <a:gd name="T99" fmla="*/ 45 h 83"/>
                <a:gd name="T100" fmla="*/ 42 w 88"/>
                <a:gd name="T101" fmla="*/ 31 h 83"/>
                <a:gd name="T102" fmla="*/ 42 w 88"/>
                <a:gd name="T103" fmla="*/ 26 h 83"/>
                <a:gd name="T104" fmla="*/ 47 w 88"/>
                <a:gd name="T105" fmla="*/ 26 h 83"/>
                <a:gd name="T106" fmla="*/ 51 w 88"/>
                <a:gd name="T107" fmla="*/ 5 h 83"/>
                <a:gd name="T108" fmla="*/ 65 w 88"/>
                <a:gd name="T109" fmla="*/ 21 h 83"/>
                <a:gd name="T110" fmla="*/ 64 w 88"/>
                <a:gd name="T111" fmla="*/ 26 h 83"/>
                <a:gd name="T112" fmla="*/ 60 w 88"/>
                <a:gd name="T113" fmla="*/ 25 h 83"/>
                <a:gd name="T114" fmla="*/ 46 w 88"/>
                <a:gd name="T115" fmla="*/ 10 h 83"/>
                <a:gd name="T116" fmla="*/ 46 w 88"/>
                <a:gd name="T117" fmla="*/ 5 h 83"/>
                <a:gd name="T118" fmla="*/ 51 w 88"/>
                <a:gd name="T119" fmla="*/ 5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8" h="83">
                  <a:moveTo>
                    <a:pt x="34" y="0"/>
                  </a:moveTo>
                  <a:cubicBezTo>
                    <a:pt x="36" y="0"/>
                    <a:pt x="38" y="0"/>
                    <a:pt x="38" y="2"/>
                  </a:cubicBezTo>
                  <a:cubicBezTo>
                    <a:pt x="39" y="4"/>
                    <a:pt x="38" y="6"/>
                    <a:pt x="36" y="6"/>
                  </a:cubicBezTo>
                  <a:cubicBezTo>
                    <a:pt x="33" y="7"/>
                    <a:pt x="29" y="8"/>
                    <a:pt x="25" y="8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41" y="26"/>
                    <a:pt x="41" y="28"/>
                    <a:pt x="37" y="30"/>
                  </a:cubicBezTo>
                  <a:cubicBezTo>
                    <a:pt x="25" y="30"/>
                    <a:pt x="25" y="30"/>
                    <a:pt x="25" y="30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31" y="38"/>
                    <a:pt x="36" y="43"/>
                    <a:pt x="39" y="49"/>
                  </a:cubicBezTo>
                  <a:cubicBezTo>
                    <a:pt x="40" y="51"/>
                    <a:pt x="40" y="53"/>
                    <a:pt x="38" y="54"/>
                  </a:cubicBezTo>
                  <a:cubicBezTo>
                    <a:pt x="36" y="56"/>
                    <a:pt x="35" y="55"/>
                    <a:pt x="34" y="53"/>
                  </a:cubicBezTo>
                  <a:cubicBezTo>
                    <a:pt x="32" y="50"/>
                    <a:pt x="29" y="46"/>
                    <a:pt x="25" y="41"/>
                  </a:cubicBezTo>
                  <a:cubicBezTo>
                    <a:pt x="25" y="79"/>
                    <a:pt x="25" y="79"/>
                    <a:pt x="25" y="79"/>
                  </a:cubicBezTo>
                  <a:cubicBezTo>
                    <a:pt x="25" y="80"/>
                    <a:pt x="24" y="81"/>
                    <a:pt x="22" y="82"/>
                  </a:cubicBezTo>
                  <a:cubicBezTo>
                    <a:pt x="20" y="81"/>
                    <a:pt x="19" y="80"/>
                    <a:pt x="19" y="79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5" y="49"/>
                    <a:pt x="11" y="54"/>
                    <a:pt x="7" y="59"/>
                  </a:cubicBezTo>
                  <a:cubicBezTo>
                    <a:pt x="5" y="61"/>
                    <a:pt x="3" y="61"/>
                    <a:pt x="1" y="59"/>
                  </a:cubicBezTo>
                  <a:cubicBezTo>
                    <a:pt x="0" y="58"/>
                    <a:pt x="0" y="56"/>
                    <a:pt x="2" y="54"/>
                  </a:cubicBezTo>
                  <a:cubicBezTo>
                    <a:pt x="9" y="48"/>
                    <a:pt x="14" y="40"/>
                    <a:pt x="18" y="30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1" y="28"/>
                    <a:pt x="1" y="25"/>
                    <a:pt x="5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5" y="10"/>
                    <a:pt x="11" y="10"/>
                    <a:pt x="7" y="10"/>
                  </a:cubicBezTo>
                  <a:cubicBezTo>
                    <a:pt x="3" y="9"/>
                    <a:pt x="3" y="6"/>
                    <a:pt x="6" y="3"/>
                  </a:cubicBezTo>
                  <a:cubicBezTo>
                    <a:pt x="15" y="3"/>
                    <a:pt x="25" y="2"/>
                    <a:pt x="34" y="0"/>
                  </a:cubicBezTo>
                  <a:close/>
                  <a:moveTo>
                    <a:pt x="76" y="4"/>
                  </a:moveTo>
                  <a:cubicBezTo>
                    <a:pt x="76" y="52"/>
                    <a:pt x="76" y="52"/>
                    <a:pt x="76" y="52"/>
                  </a:cubicBezTo>
                  <a:cubicBezTo>
                    <a:pt x="77" y="51"/>
                    <a:pt x="79" y="51"/>
                    <a:pt x="81" y="51"/>
                  </a:cubicBezTo>
                  <a:cubicBezTo>
                    <a:pt x="83" y="51"/>
                    <a:pt x="84" y="50"/>
                    <a:pt x="84" y="50"/>
                  </a:cubicBezTo>
                  <a:cubicBezTo>
                    <a:pt x="88" y="53"/>
                    <a:pt x="88" y="55"/>
                    <a:pt x="85" y="58"/>
                  </a:cubicBezTo>
                  <a:cubicBezTo>
                    <a:pt x="80" y="58"/>
                    <a:pt x="77" y="59"/>
                    <a:pt x="76" y="59"/>
                  </a:cubicBezTo>
                  <a:cubicBezTo>
                    <a:pt x="76" y="80"/>
                    <a:pt x="76" y="80"/>
                    <a:pt x="76" y="80"/>
                  </a:cubicBezTo>
                  <a:cubicBezTo>
                    <a:pt x="75" y="82"/>
                    <a:pt x="74" y="83"/>
                    <a:pt x="72" y="83"/>
                  </a:cubicBezTo>
                  <a:cubicBezTo>
                    <a:pt x="70" y="83"/>
                    <a:pt x="69" y="82"/>
                    <a:pt x="69" y="80"/>
                  </a:cubicBezTo>
                  <a:cubicBezTo>
                    <a:pt x="69" y="60"/>
                    <a:pt x="69" y="60"/>
                    <a:pt x="69" y="60"/>
                  </a:cubicBezTo>
                  <a:cubicBezTo>
                    <a:pt x="54" y="63"/>
                    <a:pt x="43" y="64"/>
                    <a:pt x="37" y="65"/>
                  </a:cubicBezTo>
                  <a:cubicBezTo>
                    <a:pt x="35" y="65"/>
                    <a:pt x="34" y="64"/>
                    <a:pt x="33" y="62"/>
                  </a:cubicBezTo>
                  <a:cubicBezTo>
                    <a:pt x="33" y="60"/>
                    <a:pt x="34" y="58"/>
                    <a:pt x="36" y="58"/>
                  </a:cubicBezTo>
                  <a:cubicBezTo>
                    <a:pt x="37" y="58"/>
                    <a:pt x="39" y="57"/>
                    <a:pt x="42" y="57"/>
                  </a:cubicBezTo>
                  <a:cubicBezTo>
                    <a:pt x="53" y="55"/>
                    <a:pt x="62" y="54"/>
                    <a:pt x="69" y="53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69" y="3"/>
                    <a:pt x="70" y="2"/>
                    <a:pt x="72" y="2"/>
                  </a:cubicBezTo>
                  <a:cubicBezTo>
                    <a:pt x="74" y="2"/>
                    <a:pt x="75" y="3"/>
                    <a:pt x="76" y="4"/>
                  </a:cubicBezTo>
                  <a:close/>
                  <a:moveTo>
                    <a:pt x="47" y="26"/>
                  </a:moveTo>
                  <a:cubicBezTo>
                    <a:pt x="52" y="30"/>
                    <a:pt x="56" y="34"/>
                    <a:pt x="60" y="40"/>
                  </a:cubicBezTo>
                  <a:cubicBezTo>
                    <a:pt x="61" y="42"/>
                    <a:pt x="61" y="44"/>
                    <a:pt x="59" y="45"/>
                  </a:cubicBezTo>
                  <a:cubicBezTo>
                    <a:pt x="57" y="47"/>
                    <a:pt x="56" y="46"/>
                    <a:pt x="55" y="45"/>
                  </a:cubicBezTo>
                  <a:cubicBezTo>
                    <a:pt x="51" y="39"/>
                    <a:pt x="47" y="35"/>
                    <a:pt x="42" y="31"/>
                  </a:cubicBezTo>
                  <a:cubicBezTo>
                    <a:pt x="41" y="30"/>
                    <a:pt x="40" y="28"/>
                    <a:pt x="42" y="26"/>
                  </a:cubicBezTo>
                  <a:cubicBezTo>
                    <a:pt x="43" y="25"/>
                    <a:pt x="45" y="25"/>
                    <a:pt x="47" y="26"/>
                  </a:cubicBezTo>
                  <a:close/>
                  <a:moveTo>
                    <a:pt x="51" y="5"/>
                  </a:moveTo>
                  <a:cubicBezTo>
                    <a:pt x="56" y="10"/>
                    <a:pt x="61" y="15"/>
                    <a:pt x="65" y="21"/>
                  </a:cubicBezTo>
                  <a:cubicBezTo>
                    <a:pt x="66" y="23"/>
                    <a:pt x="66" y="25"/>
                    <a:pt x="64" y="26"/>
                  </a:cubicBezTo>
                  <a:cubicBezTo>
                    <a:pt x="63" y="27"/>
                    <a:pt x="61" y="27"/>
                    <a:pt x="60" y="25"/>
                  </a:cubicBezTo>
                  <a:cubicBezTo>
                    <a:pt x="56" y="20"/>
                    <a:pt x="51" y="15"/>
                    <a:pt x="46" y="10"/>
                  </a:cubicBezTo>
                  <a:cubicBezTo>
                    <a:pt x="45" y="9"/>
                    <a:pt x="44" y="7"/>
                    <a:pt x="46" y="5"/>
                  </a:cubicBezTo>
                  <a:cubicBezTo>
                    <a:pt x="47" y="4"/>
                    <a:pt x="49" y="4"/>
                    <a:pt x="51" y="5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" name="Freeform 11">
              <a:extLst>
                <a:ext uri="{FF2B5EF4-FFF2-40B4-BE49-F238E27FC236}">
                  <a16:creationId xmlns:a16="http://schemas.microsoft.com/office/drawing/2014/main" id="{401B95EE-8FF9-4F6F-A3F3-FB517AB2AD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44650" y="896938"/>
              <a:ext cx="144463" cy="134937"/>
            </a:xfrm>
            <a:custGeom>
              <a:avLst/>
              <a:gdLst>
                <a:gd name="T0" fmla="*/ 20 w 88"/>
                <a:gd name="T1" fmla="*/ 17 h 82"/>
                <a:gd name="T2" fmla="*/ 30 w 88"/>
                <a:gd name="T3" fmla="*/ 20 h 82"/>
                <a:gd name="T4" fmla="*/ 20 w 88"/>
                <a:gd name="T5" fmla="*/ 23 h 82"/>
                <a:gd name="T6" fmla="*/ 26 w 88"/>
                <a:gd name="T7" fmla="*/ 38 h 82"/>
                <a:gd name="T8" fmla="*/ 30 w 88"/>
                <a:gd name="T9" fmla="*/ 43 h 82"/>
                <a:gd name="T10" fmla="*/ 20 w 88"/>
                <a:gd name="T11" fmla="*/ 75 h 82"/>
                <a:gd name="T12" fmla="*/ 3 w 88"/>
                <a:gd name="T13" fmla="*/ 76 h 82"/>
                <a:gd name="T14" fmla="*/ 13 w 88"/>
                <a:gd name="T15" fmla="*/ 72 h 82"/>
                <a:gd name="T16" fmla="*/ 9 w 88"/>
                <a:gd name="T17" fmla="*/ 52 h 82"/>
                <a:gd name="T18" fmla="*/ 0 w 88"/>
                <a:gd name="T19" fmla="*/ 52 h 82"/>
                <a:gd name="T20" fmla="*/ 5 w 88"/>
                <a:gd name="T21" fmla="*/ 47 h 82"/>
                <a:gd name="T22" fmla="*/ 13 w 88"/>
                <a:gd name="T23" fmla="*/ 23 h 82"/>
                <a:gd name="T24" fmla="*/ 2 w 88"/>
                <a:gd name="T25" fmla="*/ 20 h 82"/>
                <a:gd name="T26" fmla="*/ 13 w 88"/>
                <a:gd name="T27" fmla="*/ 17 h 82"/>
                <a:gd name="T28" fmla="*/ 17 w 88"/>
                <a:gd name="T29" fmla="*/ 1 h 82"/>
                <a:gd name="T30" fmla="*/ 58 w 88"/>
                <a:gd name="T31" fmla="*/ 3 h 82"/>
                <a:gd name="T32" fmla="*/ 81 w 88"/>
                <a:gd name="T33" fmla="*/ 8 h 82"/>
                <a:gd name="T34" fmla="*/ 81 w 88"/>
                <a:gd name="T35" fmla="*/ 15 h 82"/>
                <a:gd name="T36" fmla="*/ 58 w 88"/>
                <a:gd name="T37" fmla="*/ 28 h 82"/>
                <a:gd name="T38" fmla="*/ 80 w 88"/>
                <a:gd name="T39" fmla="*/ 38 h 82"/>
                <a:gd name="T40" fmla="*/ 85 w 88"/>
                <a:gd name="T41" fmla="*/ 75 h 82"/>
                <a:gd name="T42" fmla="*/ 82 w 88"/>
                <a:gd name="T43" fmla="*/ 82 h 82"/>
                <a:gd name="T44" fmla="*/ 29 w 88"/>
                <a:gd name="T45" fmla="*/ 81 h 82"/>
                <a:gd name="T46" fmla="*/ 26 w 88"/>
                <a:gd name="T47" fmla="*/ 74 h 82"/>
                <a:gd name="T48" fmla="*/ 34 w 88"/>
                <a:gd name="T49" fmla="*/ 40 h 82"/>
                <a:gd name="T50" fmla="*/ 33 w 88"/>
                <a:gd name="T51" fmla="*/ 35 h 82"/>
                <a:gd name="T52" fmla="*/ 34 w 88"/>
                <a:gd name="T53" fmla="*/ 28 h 82"/>
                <a:gd name="T54" fmla="*/ 51 w 88"/>
                <a:gd name="T55" fmla="*/ 15 h 82"/>
                <a:gd name="T56" fmla="*/ 28 w 88"/>
                <a:gd name="T57" fmla="*/ 12 h 82"/>
                <a:gd name="T58" fmla="*/ 51 w 88"/>
                <a:gd name="T59" fmla="*/ 8 h 82"/>
                <a:gd name="T60" fmla="*/ 55 w 88"/>
                <a:gd name="T61" fmla="*/ 0 h 82"/>
                <a:gd name="T62" fmla="*/ 70 w 88"/>
                <a:gd name="T63" fmla="*/ 35 h 82"/>
                <a:gd name="T64" fmla="*/ 40 w 88"/>
                <a:gd name="T65" fmla="*/ 36 h 82"/>
                <a:gd name="T66" fmla="*/ 72 w 88"/>
                <a:gd name="T67" fmla="*/ 38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8" h="82">
                  <a:moveTo>
                    <a:pt x="20" y="4"/>
                  </a:moveTo>
                  <a:cubicBezTo>
                    <a:pt x="20" y="17"/>
                    <a:pt x="20" y="17"/>
                    <a:pt x="20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9" y="17"/>
                    <a:pt x="30" y="18"/>
                    <a:pt x="30" y="20"/>
                  </a:cubicBezTo>
                  <a:cubicBezTo>
                    <a:pt x="30" y="22"/>
                    <a:pt x="29" y="23"/>
                    <a:pt x="27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2" y="40"/>
                    <a:pt x="24" y="39"/>
                    <a:pt x="26" y="38"/>
                  </a:cubicBezTo>
                  <a:cubicBezTo>
                    <a:pt x="28" y="37"/>
                    <a:pt x="29" y="38"/>
                    <a:pt x="30" y="39"/>
                  </a:cubicBezTo>
                  <a:cubicBezTo>
                    <a:pt x="31" y="41"/>
                    <a:pt x="31" y="42"/>
                    <a:pt x="30" y="43"/>
                  </a:cubicBezTo>
                  <a:cubicBezTo>
                    <a:pt x="28" y="44"/>
                    <a:pt x="25" y="46"/>
                    <a:pt x="20" y="48"/>
                  </a:cubicBezTo>
                  <a:cubicBezTo>
                    <a:pt x="20" y="75"/>
                    <a:pt x="20" y="75"/>
                    <a:pt x="20" y="75"/>
                  </a:cubicBezTo>
                  <a:cubicBezTo>
                    <a:pt x="19" y="80"/>
                    <a:pt x="15" y="82"/>
                    <a:pt x="6" y="80"/>
                  </a:cubicBezTo>
                  <a:cubicBezTo>
                    <a:pt x="4" y="80"/>
                    <a:pt x="3" y="78"/>
                    <a:pt x="3" y="76"/>
                  </a:cubicBezTo>
                  <a:cubicBezTo>
                    <a:pt x="4" y="74"/>
                    <a:pt x="5" y="73"/>
                    <a:pt x="7" y="74"/>
                  </a:cubicBezTo>
                  <a:cubicBezTo>
                    <a:pt x="12" y="75"/>
                    <a:pt x="14" y="75"/>
                    <a:pt x="13" y="72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13" y="51"/>
                    <a:pt x="11" y="52"/>
                    <a:pt x="9" y="52"/>
                  </a:cubicBezTo>
                  <a:cubicBezTo>
                    <a:pt x="7" y="53"/>
                    <a:pt x="5" y="54"/>
                    <a:pt x="5" y="54"/>
                  </a:cubicBezTo>
                  <a:cubicBezTo>
                    <a:pt x="2" y="55"/>
                    <a:pt x="1" y="54"/>
                    <a:pt x="0" y="52"/>
                  </a:cubicBezTo>
                  <a:cubicBezTo>
                    <a:pt x="0" y="50"/>
                    <a:pt x="0" y="49"/>
                    <a:pt x="2" y="48"/>
                  </a:cubicBezTo>
                  <a:cubicBezTo>
                    <a:pt x="3" y="48"/>
                    <a:pt x="4" y="48"/>
                    <a:pt x="5" y="47"/>
                  </a:cubicBezTo>
                  <a:cubicBezTo>
                    <a:pt x="8" y="46"/>
                    <a:pt x="11" y="45"/>
                    <a:pt x="13" y="44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3" y="23"/>
                    <a:pt x="2" y="22"/>
                    <a:pt x="2" y="20"/>
                  </a:cubicBezTo>
                  <a:cubicBezTo>
                    <a:pt x="2" y="18"/>
                    <a:pt x="3" y="17"/>
                    <a:pt x="5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2"/>
                    <a:pt x="14" y="1"/>
                    <a:pt x="17" y="1"/>
                  </a:cubicBezTo>
                  <a:cubicBezTo>
                    <a:pt x="19" y="1"/>
                    <a:pt x="20" y="2"/>
                    <a:pt x="20" y="4"/>
                  </a:cubicBezTo>
                  <a:close/>
                  <a:moveTo>
                    <a:pt x="58" y="3"/>
                  </a:moveTo>
                  <a:cubicBezTo>
                    <a:pt x="58" y="8"/>
                    <a:pt x="58" y="8"/>
                    <a:pt x="58" y="8"/>
                  </a:cubicBezTo>
                  <a:cubicBezTo>
                    <a:pt x="81" y="8"/>
                    <a:pt x="81" y="8"/>
                    <a:pt x="81" y="8"/>
                  </a:cubicBezTo>
                  <a:cubicBezTo>
                    <a:pt x="83" y="9"/>
                    <a:pt x="84" y="10"/>
                    <a:pt x="85" y="12"/>
                  </a:cubicBezTo>
                  <a:cubicBezTo>
                    <a:pt x="84" y="14"/>
                    <a:pt x="83" y="15"/>
                    <a:pt x="81" y="15"/>
                  </a:cubicBezTo>
                  <a:cubicBezTo>
                    <a:pt x="58" y="15"/>
                    <a:pt x="58" y="15"/>
                    <a:pt x="58" y="15"/>
                  </a:cubicBezTo>
                  <a:cubicBezTo>
                    <a:pt x="58" y="28"/>
                    <a:pt x="58" y="28"/>
                    <a:pt x="58" y="28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80" y="29"/>
                    <a:pt x="82" y="32"/>
                    <a:pt x="80" y="38"/>
                  </a:cubicBezTo>
                  <a:cubicBezTo>
                    <a:pt x="76" y="48"/>
                    <a:pt x="70" y="56"/>
                    <a:pt x="62" y="63"/>
                  </a:cubicBezTo>
                  <a:cubicBezTo>
                    <a:pt x="69" y="68"/>
                    <a:pt x="77" y="72"/>
                    <a:pt x="85" y="75"/>
                  </a:cubicBezTo>
                  <a:cubicBezTo>
                    <a:pt x="87" y="76"/>
                    <a:pt x="88" y="77"/>
                    <a:pt x="87" y="80"/>
                  </a:cubicBezTo>
                  <a:cubicBezTo>
                    <a:pt x="86" y="82"/>
                    <a:pt x="84" y="82"/>
                    <a:pt x="82" y="82"/>
                  </a:cubicBezTo>
                  <a:cubicBezTo>
                    <a:pt x="74" y="78"/>
                    <a:pt x="65" y="74"/>
                    <a:pt x="56" y="68"/>
                  </a:cubicBezTo>
                  <a:cubicBezTo>
                    <a:pt x="48" y="73"/>
                    <a:pt x="39" y="77"/>
                    <a:pt x="29" y="81"/>
                  </a:cubicBezTo>
                  <a:cubicBezTo>
                    <a:pt x="26" y="81"/>
                    <a:pt x="25" y="81"/>
                    <a:pt x="24" y="78"/>
                  </a:cubicBezTo>
                  <a:cubicBezTo>
                    <a:pt x="23" y="76"/>
                    <a:pt x="24" y="75"/>
                    <a:pt x="26" y="74"/>
                  </a:cubicBezTo>
                  <a:cubicBezTo>
                    <a:pt x="36" y="71"/>
                    <a:pt x="44" y="68"/>
                    <a:pt x="50" y="63"/>
                  </a:cubicBezTo>
                  <a:cubicBezTo>
                    <a:pt x="45" y="59"/>
                    <a:pt x="40" y="51"/>
                    <a:pt x="34" y="40"/>
                  </a:cubicBezTo>
                  <a:cubicBezTo>
                    <a:pt x="33" y="38"/>
                    <a:pt x="33" y="37"/>
                    <a:pt x="35" y="35"/>
                  </a:cubicBezTo>
                  <a:cubicBezTo>
                    <a:pt x="33" y="35"/>
                    <a:pt x="33" y="35"/>
                    <a:pt x="33" y="35"/>
                  </a:cubicBezTo>
                  <a:cubicBezTo>
                    <a:pt x="32" y="35"/>
                    <a:pt x="31" y="34"/>
                    <a:pt x="30" y="32"/>
                  </a:cubicBezTo>
                  <a:cubicBezTo>
                    <a:pt x="31" y="29"/>
                    <a:pt x="32" y="28"/>
                    <a:pt x="34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15"/>
                    <a:pt x="51" y="15"/>
                    <a:pt x="5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29" y="15"/>
                    <a:pt x="28" y="14"/>
                    <a:pt x="28" y="12"/>
                  </a:cubicBezTo>
                  <a:cubicBezTo>
                    <a:pt x="28" y="10"/>
                    <a:pt x="29" y="9"/>
                    <a:pt x="31" y="8"/>
                  </a:cubicBezTo>
                  <a:cubicBezTo>
                    <a:pt x="51" y="8"/>
                    <a:pt x="51" y="8"/>
                    <a:pt x="51" y="8"/>
                  </a:cubicBezTo>
                  <a:cubicBezTo>
                    <a:pt x="51" y="3"/>
                    <a:pt x="51" y="3"/>
                    <a:pt x="51" y="3"/>
                  </a:cubicBezTo>
                  <a:cubicBezTo>
                    <a:pt x="51" y="1"/>
                    <a:pt x="52" y="0"/>
                    <a:pt x="55" y="0"/>
                  </a:cubicBezTo>
                  <a:cubicBezTo>
                    <a:pt x="57" y="0"/>
                    <a:pt x="58" y="1"/>
                    <a:pt x="58" y="3"/>
                  </a:cubicBezTo>
                  <a:close/>
                  <a:moveTo>
                    <a:pt x="70" y="35"/>
                  </a:moveTo>
                  <a:cubicBezTo>
                    <a:pt x="39" y="35"/>
                    <a:pt x="39" y="35"/>
                    <a:pt x="39" y="35"/>
                  </a:cubicBezTo>
                  <a:cubicBezTo>
                    <a:pt x="39" y="36"/>
                    <a:pt x="39" y="36"/>
                    <a:pt x="40" y="36"/>
                  </a:cubicBezTo>
                  <a:cubicBezTo>
                    <a:pt x="47" y="47"/>
                    <a:pt x="52" y="55"/>
                    <a:pt x="56" y="58"/>
                  </a:cubicBezTo>
                  <a:cubicBezTo>
                    <a:pt x="63" y="52"/>
                    <a:pt x="68" y="46"/>
                    <a:pt x="72" y="38"/>
                  </a:cubicBezTo>
                  <a:cubicBezTo>
                    <a:pt x="72" y="37"/>
                    <a:pt x="72" y="36"/>
                    <a:pt x="70" y="35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6" name="组合 25">
            <a:extLst>
              <a:ext uri="{FF2B5EF4-FFF2-40B4-BE49-F238E27FC236}">
                <a16:creationId xmlns:a16="http://schemas.microsoft.com/office/drawing/2014/main" id="{99D829EC-C36B-4CA3-9BE3-6780CFDDBBC6}"/>
              </a:ext>
            </a:extLst>
          </p:cNvPr>
          <p:cNvGrpSpPr/>
          <p:nvPr userDrawn="1"/>
        </p:nvGrpSpPr>
        <p:grpSpPr>
          <a:xfrm>
            <a:off x="794753" y="3848730"/>
            <a:ext cx="5694681" cy="45719"/>
            <a:chOff x="777184" y="3817770"/>
            <a:chExt cx="5694681" cy="45719"/>
          </a:xfrm>
        </p:grpSpPr>
        <p:sp>
          <p:nvSpPr>
            <p:cNvPr id="27" name="矩形 26">
              <a:extLst>
                <a:ext uri="{FF2B5EF4-FFF2-40B4-BE49-F238E27FC236}">
                  <a16:creationId xmlns:a16="http://schemas.microsoft.com/office/drawing/2014/main" id="{4DC8BD2C-12C3-4B7E-8826-6FEAB8F88E63}"/>
                </a:ext>
              </a:extLst>
            </p:cNvPr>
            <p:cNvSpPr/>
            <p:nvPr/>
          </p:nvSpPr>
          <p:spPr>
            <a:xfrm>
              <a:off x="777184" y="3817770"/>
              <a:ext cx="857551" cy="45719"/>
            </a:xfrm>
            <a:prstGeom prst="rect">
              <a:avLst/>
            </a:prstGeom>
            <a:solidFill>
              <a:srgbClr val="EA550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28" name="直接连接符 27">
              <a:extLst>
                <a:ext uri="{FF2B5EF4-FFF2-40B4-BE49-F238E27FC236}">
                  <a16:creationId xmlns:a16="http://schemas.microsoft.com/office/drawing/2014/main" id="{165F6411-ABE2-4E63-9F45-30B6C5ECC943}"/>
                </a:ext>
              </a:extLst>
            </p:cNvPr>
            <p:cNvCxnSpPr>
              <a:cxnSpLocks/>
            </p:cNvCxnSpPr>
            <p:nvPr/>
          </p:nvCxnSpPr>
          <p:spPr>
            <a:xfrm>
              <a:off x="1606260" y="3837412"/>
              <a:ext cx="4865605" cy="0"/>
            </a:xfrm>
            <a:prstGeom prst="line">
              <a:avLst/>
            </a:prstGeom>
            <a:ln w="22225">
              <a:gradFill flip="none" rotWithShape="1">
                <a:gsLst>
                  <a:gs pos="0">
                    <a:schemeClr val="accent1">
                      <a:lumMod val="5000"/>
                      <a:lumOff val="95000"/>
                      <a:alpha val="0"/>
                    </a:schemeClr>
                  </a:gs>
                  <a:gs pos="54000">
                    <a:schemeClr val="accent1">
                      <a:lumMod val="45000"/>
                      <a:lumOff val="55000"/>
                    </a:schemeClr>
                  </a:gs>
                  <a:gs pos="83000">
                    <a:srgbClr val="FB832D"/>
                  </a:gs>
                  <a:gs pos="100000">
                    <a:srgbClr val="EA5504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文本占位符 31">
            <a:extLst>
              <a:ext uri="{FF2B5EF4-FFF2-40B4-BE49-F238E27FC236}">
                <a16:creationId xmlns:a16="http://schemas.microsoft.com/office/drawing/2014/main" id="{0DDD23E1-10C5-4442-9B53-96C56ADFDB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9824" y="1727200"/>
            <a:ext cx="7241433" cy="2802791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zh-CN" altLang="en-US" sz="5400" b="1" kern="2300" spc="240" dirty="0" smtClean="0">
                <a:ln w="15875">
                  <a:solidFill>
                    <a:schemeClr val="accent1"/>
                  </a:solidFill>
                </a:ln>
                <a:noFill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>
              <a:buNone/>
              <a:defRPr/>
            </a:lvl2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zh-CN" altLang="en-US"/>
              <a:t>平安集团</a:t>
            </a:r>
            <a:endParaRPr lang="en-US" altLang="zh-CN" dirty="0"/>
          </a:p>
        </p:txBody>
      </p:sp>
      <p:sp>
        <p:nvSpPr>
          <p:cNvPr id="31" name="文本占位符 2">
            <a:extLst>
              <a:ext uri="{FF2B5EF4-FFF2-40B4-BE49-F238E27FC236}">
                <a16:creationId xmlns:a16="http://schemas.microsoft.com/office/drawing/2014/main" id="{AEB28908-397D-4B97-A785-8674D339D1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8248" y="5553571"/>
            <a:ext cx="4612632" cy="24828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SzPct val="80000"/>
              <a:buFont typeface="+mj-ea"/>
              <a:buNone/>
              <a:defRPr lang="en-US" altLang="zh-CN" sz="14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</a:lstStyle>
          <a:p>
            <a:pPr marL="0" indent="0">
              <a:buNone/>
            </a:pP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Speaker name and title</a:t>
            </a:r>
          </a:p>
        </p:txBody>
      </p:sp>
      <p:sp>
        <p:nvSpPr>
          <p:cNvPr id="34" name="文本占位符 2">
            <a:extLst>
              <a:ext uri="{FF2B5EF4-FFF2-40B4-BE49-F238E27FC236}">
                <a16:creationId xmlns:a16="http://schemas.microsoft.com/office/drawing/2014/main" id="{DF42A7A6-D264-4215-A141-EC63B17186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8248" y="5848201"/>
            <a:ext cx="4612632" cy="24828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SzPct val="80000"/>
              <a:buFont typeface="+mj-ea"/>
              <a:buNone/>
              <a:defRPr lang="en-US" altLang="zh-CN" sz="14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</a:lstStyle>
          <a:p>
            <a:pPr marL="0" indent="0">
              <a:buNone/>
            </a:pPr>
            <a:r>
              <a:rPr lang="en-US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D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ate &amp; Time</a:t>
            </a:r>
            <a:endParaRPr lang="en-US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19729594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-目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D417E8E6-3288-488B-9F49-870BBEEA320E}"/>
              </a:ext>
            </a:extLst>
          </p:cNvPr>
          <p:cNvSpPr/>
          <p:nvPr userDrawn="1"/>
        </p:nvSpPr>
        <p:spPr>
          <a:xfrm>
            <a:off x="0" y="1"/>
            <a:ext cx="12185496" cy="6855118"/>
          </a:xfrm>
          <a:prstGeom prst="rect">
            <a:avLst/>
          </a:prstGeom>
          <a:gradFill flip="none" rotWithShape="1">
            <a:gsLst>
              <a:gs pos="36000">
                <a:srgbClr val="FEF6F4">
                  <a:alpha val="96000"/>
                </a:srgbClr>
              </a:gs>
              <a:gs pos="68000">
                <a:srgbClr val="FFFCFB">
                  <a:alpha val="80000"/>
                </a:srgbClr>
              </a:gs>
              <a:gs pos="85000">
                <a:schemeClr val="bg1">
                  <a:alpha val="76000"/>
                </a:schemeClr>
              </a:gs>
              <a:gs pos="0">
                <a:srgbClr val="FDEEE9"/>
              </a:gs>
              <a:gs pos="100000">
                <a:schemeClr val="bg1">
                  <a:alpha val="76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6BB6A7DE-3032-4C6D-9C49-1D9332B1D7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9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45" b="45"/>
          <a:stretch/>
        </p:blipFill>
        <p:spPr>
          <a:xfrm>
            <a:off x="-21525" y="0"/>
            <a:ext cx="5710001" cy="6858000"/>
          </a:xfrm>
          <a:custGeom>
            <a:avLst/>
            <a:gdLst>
              <a:gd name="connsiteX0" fmla="*/ 0 w 5710001"/>
              <a:gd name="connsiteY0" fmla="*/ 0 h 6858000"/>
              <a:gd name="connsiteX1" fmla="*/ 5710001 w 5710001"/>
              <a:gd name="connsiteY1" fmla="*/ 0 h 6858000"/>
              <a:gd name="connsiteX2" fmla="*/ 2629113 w 5710001"/>
              <a:gd name="connsiteY2" fmla="*/ 6858000 h 6858000"/>
              <a:gd name="connsiteX3" fmla="*/ 0 w 571000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10001" h="6858000">
                <a:moveTo>
                  <a:pt x="0" y="0"/>
                </a:moveTo>
                <a:lnTo>
                  <a:pt x="5710001" y="0"/>
                </a:lnTo>
                <a:lnTo>
                  <a:pt x="2629113" y="6858000"/>
                </a:lnTo>
                <a:lnTo>
                  <a:pt x="0" y="6858000"/>
                </a:lnTo>
                <a:close/>
              </a:path>
            </a:pathLst>
          </a:custGeom>
        </p:spPr>
      </p:pic>
      <p:grpSp>
        <p:nvGrpSpPr>
          <p:cNvPr id="4" name="组合 3">
            <a:extLst>
              <a:ext uri="{FF2B5EF4-FFF2-40B4-BE49-F238E27FC236}">
                <a16:creationId xmlns:a16="http://schemas.microsoft.com/office/drawing/2014/main" id="{3392E1CB-C212-4D01-BBC5-DAF34DD84B60}"/>
              </a:ext>
            </a:extLst>
          </p:cNvPr>
          <p:cNvGrpSpPr/>
          <p:nvPr userDrawn="1"/>
        </p:nvGrpSpPr>
        <p:grpSpPr>
          <a:xfrm>
            <a:off x="5634689" y="1816496"/>
            <a:ext cx="5884211" cy="45719"/>
            <a:chOff x="2913325" y="3817770"/>
            <a:chExt cx="5884211" cy="45719"/>
          </a:xfrm>
        </p:grpSpPr>
        <p:sp>
          <p:nvSpPr>
            <p:cNvPr id="5" name="矩形 4">
              <a:extLst>
                <a:ext uri="{FF2B5EF4-FFF2-40B4-BE49-F238E27FC236}">
                  <a16:creationId xmlns:a16="http://schemas.microsoft.com/office/drawing/2014/main" id="{DBBCED8E-DD2C-4A6C-BF24-D1484D15D50B}"/>
                </a:ext>
              </a:extLst>
            </p:cNvPr>
            <p:cNvSpPr/>
            <p:nvPr/>
          </p:nvSpPr>
          <p:spPr>
            <a:xfrm>
              <a:off x="7939985" y="3817770"/>
              <a:ext cx="857551" cy="45719"/>
            </a:xfrm>
            <a:prstGeom prst="rect">
              <a:avLst/>
            </a:prstGeom>
            <a:solidFill>
              <a:srgbClr val="EA550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6" name="直接连接符 5">
              <a:extLst>
                <a:ext uri="{FF2B5EF4-FFF2-40B4-BE49-F238E27FC236}">
                  <a16:creationId xmlns:a16="http://schemas.microsoft.com/office/drawing/2014/main" id="{3639B40E-5A43-46F9-A4A8-78D9752D8D7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913325" y="3837412"/>
              <a:ext cx="5026660" cy="0"/>
            </a:xfrm>
            <a:prstGeom prst="line">
              <a:avLst/>
            </a:prstGeom>
            <a:ln w="22225">
              <a:gradFill flip="none" rotWithShape="1">
                <a:gsLst>
                  <a:gs pos="0">
                    <a:schemeClr val="accent1">
                      <a:lumMod val="5000"/>
                      <a:lumOff val="95000"/>
                      <a:alpha val="0"/>
                    </a:schemeClr>
                  </a:gs>
                  <a:gs pos="54000">
                    <a:srgbClr val="FFC000"/>
                  </a:gs>
                  <a:gs pos="83000">
                    <a:srgbClr val="FB832D"/>
                  </a:gs>
                  <a:gs pos="100000">
                    <a:srgbClr val="EA5504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平行四边形 14">
            <a:extLst>
              <a:ext uri="{FF2B5EF4-FFF2-40B4-BE49-F238E27FC236}">
                <a16:creationId xmlns:a16="http://schemas.microsoft.com/office/drawing/2014/main" id="{455F160C-8C10-4364-A551-13BC05DBB657}"/>
              </a:ext>
            </a:extLst>
          </p:cNvPr>
          <p:cNvSpPr/>
          <p:nvPr userDrawn="1"/>
        </p:nvSpPr>
        <p:spPr>
          <a:xfrm>
            <a:off x="2361533" y="3506350"/>
            <a:ext cx="1967851" cy="3348769"/>
          </a:xfrm>
          <a:prstGeom prst="parallelogram">
            <a:avLst>
              <a:gd name="adj" fmla="val 77370"/>
            </a:avLst>
          </a:prstGeom>
          <a:solidFill>
            <a:srgbClr val="005E3C">
              <a:alpha val="1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35F0F7E0-A785-4AF2-A4AD-0367AEC0F71C}"/>
              </a:ext>
            </a:extLst>
          </p:cNvPr>
          <p:cNvSpPr txBox="1"/>
          <p:nvPr userDrawn="1"/>
        </p:nvSpPr>
        <p:spPr>
          <a:xfrm>
            <a:off x="5976559" y="1014366"/>
            <a:ext cx="112338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600" i="1" kern="100" spc="6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目录</a:t>
            </a:r>
            <a:endParaRPr lang="en-US" altLang="zh-CN" sz="3600" i="1" kern="100" spc="6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CF2C417C-4EC4-4CF7-B005-D4FA7C578479}"/>
              </a:ext>
            </a:extLst>
          </p:cNvPr>
          <p:cNvSpPr txBox="1"/>
          <p:nvPr userDrawn="1"/>
        </p:nvSpPr>
        <p:spPr>
          <a:xfrm>
            <a:off x="6976933" y="1249012"/>
            <a:ext cx="182088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000" i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rPr>
              <a:t> / CONTENTS</a:t>
            </a:r>
            <a:endParaRPr lang="zh-CN" altLang="en-US" sz="2000" i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DF64B5BD-72A2-44E8-9369-5A69944432D6}"/>
              </a:ext>
            </a:extLst>
          </p:cNvPr>
          <p:cNvSpPr/>
          <p:nvPr userDrawn="1"/>
        </p:nvSpPr>
        <p:spPr>
          <a:xfrm>
            <a:off x="0" y="0"/>
            <a:ext cx="5688476" cy="6858000"/>
          </a:xfrm>
          <a:custGeom>
            <a:avLst/>
            <a:gdLst>
              <a:gd name="connsiteX0" fmla="*/ 0 w 5688476"/>
              <a:gd name="connsiteY0" fmla="*/ 0 h 6858000"/>
              <a:gd name="connsiteX1" fmla="*/ 5688476 w 5688476"/>
              <a:gd name="connsiteY1" fmla="*/ 0 h 6858000"/>
              <a:gd name="connsiteX2" fmla="*/ 5688476 w 5688476"/>
              <a:gd name="connsiteY2" fmla="*/ 6858000 h 6858000"/>
              <a:gd name="connsiteX3" fmla="*/ 0 w 5688476"/>
              <a:gd name="connsiteY3" fmla="*/ 6858000 h 6858000"/>
              <a:gd name="connsiteX4" fmla="*/ 0 w 5688476"/>
              <a:gd name="connsiteY4" fmla="*/ 0 h 6858000"/>
              <a:gd name="connsiteX0" fmla="*/ 0 w 5688476"/>
              <a:gd name="connsiteY0" fmla="*/ 0 h 6858000"/>
              <a:gd name="connsiteX1" fmla="*/ 5688476 w 5688476"/>
              <a:gd name="connsiteY1" fmla="*/ 0 h 6858000"/>
              <a:gd name="connsiteX2" fmla="*/ 2586461 w 5688476"/>
              <a:gd name="connsiteY2" fmla="*/ 6858000 h 6858000"/>
              <a:gd name="connsiteX3" fmla="*/ 0 w 5688476"/>
              <a:gd name="connsiteY3" fmla="*/ 6858000 h 6858000"/>
              <a:gd name="connsiteX4" fmla="*/ 0 w 5688476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88476" h="6858000">
                <a:moveTo>
                  <a:pt x="0" y="0"/>
                </a:moveTo>
                <a:lnTo>
                  <a:pt x="5688476" y="0"/>
                </a:lnTo>
                <a:lnTo>
                  <a:pt x="2586461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7000">
                <a:srgbClr val="FDF1ED">
                  <a:alpha val="18000"/>
                </a:srgbClr>
              </a:gs>
              <a:gs pos="27000">
                <a:srgbClr val="FEF8F6">
                  <a:alpha val="18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44819173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0"/>
          </p:nvPr>
        </p:nvSpPr>
        <p:spPr>
          <a:xfrm>
            <a:off x="11287844" y="6289488"/>
            <a:ext cx="526143" cy="365125"/>
          </a:xfrm>
        </p:spPr>
        <p:txBody>
          <a:bodyPr/>
          <a:lstStyle/>
          <a:p>
            <a:fld id="{09321FF8-95CF-4FCD-B001-FA7673DD6BBC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8429068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-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8"/>
          <p:cNvSpPr>
            <a:spLocks noGrp="1"/>
          </p:cNvSpPr>
          <p:nvPr>
            <p:ph type="sldNum" sz="quarter" idx="10"/>
          </p:nvPr>
        </p:nvSpPr>
        <p:spPr>
          <a:xfrm>
            <a:off x="11287844" y="6289488"/>
            <a:ext cx="526143" cy="365125"/>
          </a:xfrm>
        </p:spPr>
        <p:txBody>
          <a:bodyPr/>
          <a:lstStyle/>
          <a:p>
            <a:fld id="{09321FF8-95CF-4FCD-B001-FA7673DD6BBC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4790563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-章节隔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CC340E75-C342-4CD7-B557-C52C0A06B467}"/>
              </a:ext>
            </a:extLst>
          </p:cNvPr>
          <p:cNvSpPr/>
          <p:nvPr userDrawn="1"/>
        </p:nvSpPr>
        <p:spPr>
          <a:xfrm>
            <a:off x="0" y="1"/>
            <a:ext cx="12185496" cy="6855118"/>
          </a:xfrm>
          <a:prstGeom prst="rect">
            <a:avLst/>
          </a:prstGeom>
          <a:gradFill flip="none" rotWithShape="1">
            <a:gsLst>
              <a:gs pos="6000">
                <a:srgbClr val="FEF6F4"/>
              </a:gs>
              <a:gs pos="23000">
                <a:srgbClr val="FFFCFB">
                  <a:alpha val="80000"/>
                </a:srgbClr>
              </a:gs>
              <a:gs pos="55000">
                <a:schemeClr val="bg1">
                  <a:alpha val="76000"/>
                </a:schemeClr>
              </a:gs>
              <a:gs pos="0">
                <a:srgbClr val="FDEEE9"/>
              </a:gs>
              <a:gs pos="87000">
                <a:schemeClr val="bg1">
                  <a:alpha val="76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1" name="文本占位符 29">
            <a:extLst>
              <a:ext uri="{FF2B5EF4-FFF2-40B4-BE49-F238E27FC236}">
                <a16:creationId xmlns:a16="http://schemas.microsoft.com/office/drawing/2014/main" id="{4B722C23-4323-464F-B097-6DA4E5F2EB0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53621" y="2190334"/>
            <a:ext cx="3282643" cy="46166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buNone/>
              <a:defRPr lang="zh-CN" altLang="en-US" sz="2400" b="1" kern="1800" spc="11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lvl="0"/>
            <a:r>
              <a:rPr lang="zh-CN" altLang="en-US" dirty="0"/>
              <a:t>章节标题</a:t>
            </a:r>
          </a:p>
        </p:txBody>
      </p:sp>
      <p:grpSp>
        <p:nvGrpSpPr>
          <p:cNvPr id="22" name="组合 21">
            <a:extLst>
              <a:ext uri="{FF2B5EF4-FFF2-40B4-BE49-F238E27FC236}">
                <a16:creationId xmlns:a16="http://schemas.microsoft.com/office/drawing/2014/main" id="{1D456F23-D2E3-4EAA-A88D-436EB4BE3C3C}"/>
              </a:ext>
            </a:extLst>
          </p:cNvPr>
          <p:cNvGrpSpPr/>
          <p:nvPr/>
        </p:nvGrpSpPr>
        <p:grpSpPr>
          <a:xfrm>
            <a:off x="701506" y="2698605"/>
            <a:ext cx="2784066" cy="45719"/>
            <a:chOff x="777185" y="3817770"/>
            <a:chExt cx="2784066" cy="45719"/>
          </a:xfrm>
        </p:grpSpPr>
        <p:sp>
          <p:nvSpPr>
            <p:cNvPr id="25" name="矩形 24">
              <a:extLst>
                <a:ext uri="{FF2B5EF4-FFF2-40B4-BE49-F238E27FC236}">
                  <a16:creationId xmlns:a16="http://schemas.microsoft.com/office/drawing/2014/main" id="{22452FB9-A07C-4642-BDD1-9E95CEFABFA2}"/>
                </a:ext>
              </a:extLst>
            </p:cNvPr>
            <p:cNvSpPr/>
            <p:nvPr/>
          </p:nvSpPr>
          <p:spPr>
            <a:xfrm>
              <a:off x="777185" y="3817770"/>
              <a:ext cx="644526" cy="45719"/>
            </a:xfrm>
            <a:prstGeom prst="rect">
              <a:avLst/>
            </a:prstGeom>
            <a:solidFill>
              <a:srgbClr val="EA550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26" name="直接连接符 25">
              <a:extLst>
                <a:ext uri="{FF2B5EF4-FFF2-40B4-BE49-F238E27FC236}">
                  <a16:creationId xmlns:a16="http://schemas.microsoft.com/office/drawing/2014/main" id="{223553F2-316C-45BE-9552-AF8BF6D866CA}"/>
                </a:ext>
              </a:extLst>
            </p:cNvPr>
            <p:cNvCxnSpPr>
              <a:cxnSpLocks/>
            </p:cNvCxnSpPr>
            <p:nvPr/>
          </p:nvCxnSpPr>
          <p:spPr>
            <a:xfrm>
              <a:off x="1398615" y="3840629"/>
              <a:ext cx="2162636" cy="0"/>
            </a:xfrm>
            <a:prstGeom prst="line">
              <a:avLst/>
            </a:prstGeom>
            <a:ln w="22225">
              <a:gradFill flip="none" rotWithShape="1">
                <a:gsLst>
                  <a:gs pos="0">
                    <a:schemeClr val="accent1">
                      <a:lumMod val="5000"/>
                      <a:lumOff val="95000"/>
                      <a:alpha val="0"/>
                    </a:schemeClr>
                  </a:gs>
                  <a:gs pos="54000">
                    <a:srgbClr val="FFC000"/>
                  </a:gs>
                  <a:gs pos="83000">
                    <a:srgbClr val="FB832D"/>
                  </a:gs>
                  <a:gs pos="100000">
                    <a:srgbClr val="EA5504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637AF2DB-08D4-4B62-92BE-6260638792FC}"/>
              </a:ext>
            </a:extLst>
          </p:cNvPr>
          <p:cNvSpPr/>
          <p:nvPr userDrawn="1"/>
        </p:nvSpPr>
        <p:spPr>
          <a:xfrm>
            <a:off x="5552100" y="0"/>
            <a:ext cx="6672969" cy="6855118"/>
          </a:xfrm>
          <a:custGeom>
            <a:avLst/>
            <a:gdLst>
              <a:gd name="connsiteX0" fmla="*/ 3417208 w 6672969"/>
              <a:gd name="connsiteY0" fmla="*/ 0 h 6855118"/>
              <a:gd name="connsiteX1" fmla="*/ 6672969 w 6672969"/>
              <a:gd name="connsiteY1" fmla="*/ 0 h 6855118"/>
              <a:gd name="connsiteX2" fmla="*/ 6672969 w 6672969"/>
              <a:gd name="connsiteY2" fmla="*/ 6855118 h 6855118"/>
              <a:gd name="connsiteX3" fmla="*/ 0 w 6672969"/>
              <a:gd name="connsiteY3" fmla="*/ 6855118 h 685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72969" h="6855118">
                <a:moveTo>
                  <a:pt x="3417208" y="0"/>
                </a:moveTo>
                <a:lnTo>
                  <a:pt x="6672969" y="0"/>
                </a:lnTo>
                <a:lnTo>
                  <a:pt x="6672969" y="6855118"/>
                </a:lnTo>
                <a:lnTo>
                  <a:pt x="0" y="685511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C81E0A6F-D010-42EE-814A-37321A3261A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506720" y="1399720"/>
            <a:ext cx="6685280" cy="5458280"/>
          </a:xfrm>
          <a:custGeom>
            <a:avLst/>
            <a:gdLst>
              <a:gd name="connsiteX0" fmla="*/ 2932311 w 6685280"/>
              <a:gd name="connsiteY0" fmla="*/ 2241 h 5458280"/>
              <a:gd name="connsiteX1" fmla="*/ 3027680 w 6685280"/>
              <a:gd name="connsiteY1" fmla="*/ 2360 h 5458280"/>
              <a:gd name="connsiteX2" fmla="*/ 3769360 w 6685280"/>
              <a:gd name="connsiteY2" fmla="*/ 12520 h 5458280"/>
              <a:gd name="connsiteX3" fmla="*/ 4084320 w 6685280"/>
              <a:gd name="connsiteY3" fmla="*/ 286840 h 5458280"/>
              <a:gd name="connsiteX4" fmla="*/ 6685280 w 6685280"/>
              <a:gd name="connsiteY4" fmla="*/ 5458280 h 5458280"/>
              <a:gd name="connsiteX5" fmla="*/ 4201160 w 6685280"/>
              <a:gd name="connsiteY5" fmla="*/ 5458280 h 5458280"/>
              <a:gd name="connsiteX6" fmla="*/ 4201160 w 6685280"/>
              <a:gd name="connsiteY6" fmla="*/ 4110784 h 5458280"/>
              <a:gd name="connsiteX7" fmla="*/ 4072917 w 6685280"/>
              <a:gd name="connsiteY7" fmla="*/ 3982541 h 5458280"/>
              <a:gd name="connsiteX8" fmla="*/ 2637763 w 6685280"/>
              <a:gd name="connsiteY8" fmla="*/ 3982541 h 5458280"/>
              <a:gd name="connsiteX9" fmla="*/ 2509520 w 6685280"/>
              <a:gd name="connsiteY9" fmla="*/ 4110784 h 5458280"/>
              <a:gd name="connsiteX10" fmla="*/ 2509520 w 6685280"/>
              <a:gd name="connsiteY10" fmla="*/ 5458280 h 5458280"/>
              <a:gd name="connsiteX11" fmla="*/ 0 w 6685280"/>
              <a:gd name="connsiteY11" fmla="*/ 5458280 h 5458280"/>
              <a:gd name="connsiteX12" fmla="*/ 2604770 w 6685280"/>
              <a:gd name="connsiteY12" fmla="*/ 341450 h 5458280"/>
              <a:gd name="connsiteX13" fmla="*/ 2932311 w 6685280"/>
              <a:gd name="connsiteY13" fmla="*/ 2241 h 5458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685280" h="5458280">
                <a:moveTo>
                  <a:pt x="2932311" y="2241"/>
                </a:moveTo>
                <a:cubicBezTo>
                  <a:pt x="2960826" y="-716"/>
                  <a:pt x="2992437" y="-815"/>
                  <a:pt x="3027680" y="2360"/>
                </a:cubicBezTo>
                <a:lnTo>
                  <a:pt x="3769360" y="12520"/>
                </a:lnTo>
                <a:cubicBezTo>
                  <a:pt x="3889587" y="4900"/>
                  <a:pt x="3948853" y="31570"/>
                  <a:pt x="4084320" y="286840"/>
                </a:cubicBezTo>
                <a:lnTo>
                  <a:pt x="6685280" y="5458280"/>
                </a:lnTo>
                <a:lnTo>
                  <a:pt x="4201160" y="5458280"/>
                </a:lnTo>
                <a:lnTo>
                  <a:pt x="4201160" y="4110784"/>
                </a:lnTo>
                <a:cubicBezTo>
                  <a:pt x="4201160" y="4039957"/>
                  <a:pt x="4143744" y="3982541"/>
                  <a:pt x="4072917" y="3982541"/>
                </a:cubicBezTo>
                <a:lnTo>
                  <a:pt x="2637763" y="3982541"/>
                </a:lnTo>
                <a:cubicBezTo>
                  <a:pt x="2566936" y="3982541"/>
                  <a:pt x="2509520" y="4039957"/>
                  <a:pt x="2509520" y="4110784"/>
                </a:cubicBezTo>
                <a:lnTo>
                  <a:pt x="2509520" y="5458280"/>
                </a:lnTo>
                <a:lnTo>
                  <a:pt x="0" y="5458280"/>
                </a:lnTo>
                <a:lnTo>
                  <a:pt x="2604770" y="341450"/>
                </a:lnTo>
                <a:cubicBezTo>
                  <a:pt x="2684780" y="183653"/>
                  <a:pt x="2732703" y="22938"/>
                  <a:pt x="2932311" y="2241"/>
                </a:cubicBezTo>
                <a:close/>
              </a:path>
            </a:pathLst>
          </a:custGeom>
        </p:spPr>
      </p:pic>
      <p:grpSp>
        <p:nvGrpSpPr>
          <p:cNvPr id="10" name="组合 9">
            <a:extLst>
              <a:ext uri="{FF2B5EF4-FFF2-40B4-BE49-F238E27FC236}">
                <a16:creationId xmlns:a16="http://schemas.microsoft.com/office/drawing/2014/main" id="{0020F146-754E-45C9-ADAC-BF54F07F106F}"/>
              </a:ext>
            </a:extLst>
          </p:cNvPr>
          <p:cNvGrpSpPr/>
          <p:nvPr userDrawn="1"/>
        </p:nvGrpSpPr>
        <p:grpSpPr>
          <a:xfrm>
            <a:off x="9753600" y="566798"/>
            <a:ext cx="1765300" cy="294216"/>
            <a:chOff x="660400" y="492126"/>
            <a:chExt cx="3257550" cy="542924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F2E06553-3635-43E4-BC90-6C5A21A4F4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0400" y="492126"/>
              <a:ext cx="3257550" cy="285750"/>
            </a:xfrm>
            <a:custGeom>
              <a:avLst/>
              <a:gdLst>
                <a:gd name="T0" fmla="*/ 1282 w 1998"/>
                <a:gd name="T1" fmla="*/ 16 h 174"/>
                <a:gd name="T2" fmla="*/ 1247 w 1998"/>
                <a:gd name="T3" fmla="*/ 166 h 174"/>
                <a:gd name="T4" fmla="*/ 1376 w 1998"/>
                <a:gd name="T5" fmla="*/ 167 h 174"/>
                <a:gd name="T6" fmla="*/ 1409 w 1998"/>
                <a:gd name="T7" fmla="*/ 17 h 174"/>
                <a:gd name="T8" fmla="*/ 1184 w 1998"/>
                <a:gd name="T9" fmla="*/ 166 h 174"/>
                <a:gd name="T10" fmla="*/ 1214 w 1998"/>
                <a:gd name="T11" fmla="*/ 13 h 174"/>
                <a:gd name="T12" fmla="*/ 1122 w 1998"/>
                <a:gd name="T13" fmla="*/ 41 h 174"/>
                <a:gd name="T14" fmla="*/ 1007 w 1998"/>
                <a:gd name="T15" fmla="*/ 17 h 174"/>
                <a:gd name="T16" fmla="*/ 1042 w 1998"/>
                <a:gd name="T17" fmla="*/ 122 h 174"/>
                <a:gd name="T18" fmla="*/ 1994 w 1998"/>
                <a:gd name="T19" fmla="*/ 13 h 174"/>
                <a:gd name="T20" fmla="*/ 1863 w 1998"/>
                <a:gd name="T21" fmla="*/ 13 h 174"/>
                <a:gd name="T22" fmla="*/ 1840 w 1998"/>
                <a:gd name="T23" fmla="*/ 170 h 174"/>
                <a:gd name="T24" fmla="*/ 1971 w 1998"/>
                <a:gd name="T25" fmla="*/ 170 h 174"/>
                <a:gd name="T26" fmla="*/ 1994 w 1998"/>
                <a:gd name="T27" fmla="*/ 13 h 174"/>
                <a:gd name="T28" fmla="*/ 1488 w 1998"/>
                <a:gd name="T29" fmla="*/ 172 h 174"/>
                <a:gd name="T30" fmla="*/ 1513 w 1998"/>
                <a:gd name="T31" fmla="*/ 104 h 174"/>
                <a:gd name="T32" fmla="*/ 1471 w 1998"/>
                <a:gd name="T33" fmla="*/ 142 h 174"/>
                <a:gd name="T34" fmla="*/ 1562 w 1998"/>
                <a:gd name="T35" fmla="*/ 44 h 174"/>
                <a:gd name="T36" fmla="*/ 1596 w 1998"/>
                <a:gd name="T37" fmla="*/ 58 h 174"/>
                <a:gd name="T38" fmla="*/ 767 w 1998"/>
                <a:gd name="T39" fmla="*/ 112 h 174"/>
                <a:gd name="T40" fmla="*/ 894 w 1998"/>
                <a:gd name="T41" fmla="*/ 65 h 174"/>
                <a:gd name="T42" fmla="*/ 832 w 1998"/>
                <a:gd name="T43" fmla="*/ 51 h 174"/>
                <a:gd name="T44" fmla="*/ 731 w 1998"/>
                <a:gd name="T45" fmla="*/ 48 h 174"/>
                <a:gd name="T46" fmla="*/ 692 w 1998"/>
                <a:gd name="T47" fmla="*/ 85 h 174"/>
                <a:gd name="T48" fmla="*/ 767 w 1998"/>
                <a:gd name="T49" fmla="*/ 138 h 174"/>
                <a:gd name="T50" fmla="*/ 700 w 1998"/>
                <a:gd name="T51" fmla="*/ 170 h 174"/>
                <a:gd name="T52" fmla="*/ 859 w 1998"/>
                <a:gd name="T53" fmla="*/ 170 h 174"/>
                <a:gd name="T54" fmla="*/ 859 w 1998"/>
                <a:gd name="T55" fmla="*/ 146 h 174"/>
                <a:gd name="T56" fmla="*/ 894 w 1998"/>
                <a:gd name="T57" fmla="*/ 89 h 174"/>
                <a:gd name="T58" fmla="*/ 1740 w 1998"/>
                <a:gd name="T59" fmla="*/ 13 h 174"/>
                <a:gd name="T60" fmla="*/ 1663 w 1998"/>
                <a:gd name="T61" fmla="*/ 170 h 174"/>
                <a:gd name="T62" fmla="*/ 1816 w 1998"/>
                <a:gd name="T63" fmla="*/ 170 h 174"/>
                <a:gd name="T64" fmla="*/ 597 w 1998"/>
                <a:gd name="T65" fmla="*/ 98 h 174"/>
                <a:gd name="T66" fmla="*/ 654 w 1998"/>
                <a:gd name="T67" fmla="*/ 46 h 174"/>
                <a:gd name="T68" fmla="*/ 416 w 1998"/>
                <a:gd name="T69" fmla="*/ 28 h 174"/>
                <a:gd name="T70" fmla="*/ 239 w 1998"/>
                <a:gd name="T71" fmla="*/ 148 h 174"/>
                <a:gd name="T72" fmla="*/ 423 w 1998"/>
                <a:gd name="T73" fmla="*/ 6 h 174"/>
                <a:gd name="T74" fmla="*/ 872 w 1998"/>
                <a:gd name="T75" fmla="*/ 34 h 174"/>
                <a:gd name="T76" fmla="*/ 897 w 1998"/>
                <a:gd name="T77" fmla="*/ 32 h 174"/>
                <a:gd name="T78" fmla="*/ 782 w 1998"/>
                <a:gd name="T79" fmla="*/ 0 h 174"/>
                <a:gd name="T80" fmla="*/ 693 w 1998"/>
                <a:gd name="T81" fmla="*/ 45 h 174"/>
                <a:gd name="T82" fmla="*/ 179 w 1998"/>
                <a:gd name="T83" fmla="*/ 49 h 174"/>
                <a:gd name="T84" fmla="*/ 88 w 1998"/>
                <a:gd name="T85" fmla="*/ 49 h 174"/>
                <a:gd name="T86" fmla="*/ 118 w 1998"/>
                <a:gd name="T87" fmla="*/ 1 h 174"/>
                <a:gd name="T88" fmla="*/ 0 w 1998"/>
                <a:gd name="T89" fmla="*/ 46 h 174"/>
                <a:gd name="T90" fmla="*/ 91 w 1998"/>
                <a:gd name="T91" fmla="*/ 174 h 174"/>
                <a:gd name="T92" fmla="*/ 210 w 1998"/>
                <a:gd name="T93" fmla="*/ 118 h 174"/>
                <a:gd name="T94" fmla="*/ 379 w 1998"/>
                <a:gd name="T95" fmla="*/ 112 h 174"/>
                <a:gd name="T96" fmla="*/ 357 w 1998"/>
                <a:gd name="T97" fmla="*/ 75 h 174"/>
                <a:gd name="T98" fmla="*/ 284 w 1998"/>
                <a:gd name="T99" fmla="*/ 61 h 174"/>
                <a:gd name="T100" fmla="*/ 328 w 1998"/>
                <a:gd name="T101" fmla="*/ 93 h 174"/>
                <a:gd name="T102" fmla="*/ 401 w 1998"/>
                <a:gd name="T103" fmla="*/ 104 h 174"/>
                <a:gd name="T104" fmla="*/ 512 w 1998"/>
                <a:gd name="T105" fmla="*/ 46 h 174"/>
                <a:gd name="T106" fmla="*/ 669 w 1998"/>
                <a:gd name="T107" fmla="*/ 115 h 174"/>
                <a:gd name="T108" fmla="*/ 666 w 1998"/>
                <a:gd name="T109" fmla="*/ 14 h 174"/>
                <a:gd name="T110" fmla="*/ 479 w 1998"/>
                <a:gd name="T111" fmla="*/ 33 h 174"/>
                <a:gd name="T112" fmla="*/ 469 w 1998"/>
                <a:gd name="T113" fmla="*/ 135 h 174"/>
                <a:gd name="T114" fmla="*/ 583 w 1998"/>
                <a:gd name="T115" fmla="*/ 174 h 174"/>
                <a:gd name="T116" fmla="*/ 673 w 1998"/>
                <a:gd name="T117" fmla="*/ 119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98" h="174">
                  <a:moveTo>
                    <a:pt x="1405" y="13"/>
                  </a:moveTo>
                  <a:cubicBezTo>
                    <a:pt x="1382" y="13"/>
                    <a:pt x="1382" y="13"/>
                    <a:pt x="1382" y="13"/>
                  </a:cubicBezTo>
                  <a:cubicBezTo>
                    <a:pt x="1379" y="13"/>
                    <a:pt x="1378" y="15"/>
                    <a:pt x="1378" y="17"/>
                  </a:cubicBezTo>
                  <a:cubicBezTo>
                    <a:pt x="1378" y="125"/>
                    <a:pt x="1378" y="125"/>
                    <a:pt x="1378" y="125"/>
                  </a:cubicBezTo>
                  <a:cubicBezTo>
                    <a:pt x="1365" y="111"/>
                    <a:pt x="1284" y="18"/>
                    <a:pt x="1282" y="16"/>
                  </a:cubicBezTo>
                  <a:cubicBezTo>
                    <a:pt x="1279" y="13"/>
                    <a:pt x="1276" y="13"/>
                    <a:pt x="1275" y="13"/>
                  </a:cubicBezTo>
                  <a:cubicBezTo>
                    <a:pt x="1275" y="13"/>
                    <a:pt x="1275" y="13"/>
                    <a:pt x="1275" y="13"/>
                  </a:cubicBezTo>
                  <a:cubicBezTo>
                    <a:pt x="1251" y="13"/>
                    <a:pt x="1251" y="13"/>
                    <a:pt x="1251" y="13"/>
                  </a:cubicBezTo>
                  <a:cubicBezTo>
                    <a:pt x="1249" y="13"/>
                    <a:pt x="1247" y="15"/>
                    <a:pt x="1247" y="17"/>
                  </a:cubicBezTo>
                  <a:cubicBezTo>
                    <a:pt x="1247" y="166"/>
                    <a:pt x="1247" y="166"/>
                    <a:pt x="1247" y="166"/>
                  </a:cubicBezTo>
                  <a:cubicBezTo>
                    <a:pt x="1247" y="168"/>
                    <a:pt x="1249" y="170"/>
                    <a:pt x="1251" y="170"/>
                  </a:cubicBezTo>
                  <a:cubicBezTo>
                    <a:pt x="1275" y="170"/>
                    <a:pt x="1275" y="170"/>
                    <a:pt x="1275" y="170"/>
                  </a:cubicBezTo>
                  <a:cubicBezTo>
                    <a:pt x="1277" y="170"/>
                    <a:pt x="1279" y="168"/>
                    <a:pt x="1279" y="166"/>
                  </a:cubicBezTo>
                  <a:cubicBezTo>
                    <a:pt x="1279" y="57"/>
                    <a:pt x="1279" y="57"/>
                    <a:pt x="1279" y="57"/>
                  </a:cubicBezTo>
                  <a:cubicBezTo>
                    <a:pt x="1287" y="67"/>
                    <a:pt x="1373" y="165"/>
                    <a:pt x="1376" y="167"/>
                  </a:cubicBezTo>
                  <a:cubicBezTo>
                    <a:pt x="1378" y="169"/>
                    <a:pt x="1381" y="170"/>
                    <a:pt x="1383" y="170"/>
                  </a:cubicBezTo>
                  <a:cubicBezTo>
                    <a:pt x="1383" y="170"/>
                    <a:pt x="1383" y="170"/>
                    <a:pt x="1383" y="170"/>
                  </a:cubicBezTo>
                  <a:cubicBezTo>
                    <a:pt x="1405" y="170"/>
                    <a:pt x="1405" y="170"/>
                    <a:pt x="1405" y="170"/>
                  </a:cubicBezTo>
                  <a:cubicBezTo>
                    <a:pt x="1407" y="170"/>
                    <a:pt x="1409" y="168"/>
                    <a:pt x="1409" y="166"/>
                  </a:cubicBezTo>
                  <a:cubicBezTo>
                    <a:pt x="1409" y="17"/>
                    <a:pt x="1409" y="17"/>
                    <a:pt x="1409" y="17"/>
                  </a:cubicBezTo>
                  <a:cubicBezTo>
                    <a:pt x="1409" y="15"/>
                    <a:pt x="1407" y="13"/>
                    <a:pt x="1405" y="13"/>
                  </a:cubicBezTo>
                  <a:moveTo>
                    <a:pt x="1214" y="13"/>
                  </a:moveTo>
                  <a:cubicBezTo>
                    <a:pt x="1188" y="13"/>
                    <a:pt x="1188" y="13"/>
                    <a:pt x="1188" y="13"/>
                  </a:cubicBezTo>
                  <a:cubicBezTo>
                    <a:pt x="1186" y="13"/>
                    <a:pt x="1184" y="15"/>
                    <a:pt x="1184" y="17"/>
                  </a:cubicBezTo>
                  <a:cubicBezTo>
                    <a:pt x="1184" y="166"/>
                    <a:pt x="1184" y="166"/>
                    <a:pt x="1184" y="166"/>
                  </a:cubicBezTo>
                  <a:cubicBezTo>
                    <a:pt x="1184" y="168"/>
                    <a:pt x="1186" y="170"/>
                    <a:pt x="1188" y="170"/>
                  </a:cubicBezTo>
                  <a:cubicBezTo>
                    <a:pt x="1214" y="170"/>
                    <a:pt x="1214" y="170"/>
                    <a:pt x="1214" y="170"/>
                  </a:cubicBezTo>
                  <a:cubicBezTo>
                    <a:pt x="1216" y="170"/>
                    <a:pt x="1218" y="168"/>
                    <a:pt x="1218" y="166"/>
                  </a:cubicBezTo>
                  <a:cubicBezTo>
                    <a:pt x="1218" y="17"/>
                    <a:pt x="1218" y="17"/>
                    <a:pt x="1218" y="17"/>
                  </a:cubicBezTo>
                  <a:cubicBezTo>
                    <a:pt x="1218" y="15"/>
                    <a:pt x="1216" y="13"/>
                    <a:pt x="1214" y="13"/>
                  </a:cubicBezTo>
                  <a:moveTo>
                    <a:pt x="1125" y="91"/>
                  </a:moveTo>
                  <a:cubicBezTo>
                    <a:pt x="1125" y="93"/>
                    <a:pt x="1124" y="94"/>
                    <a:pt x="1122" y="94"/>
                  </a:cubicBezTo>
                  <a:cubicBezTo>
                    <a:pt x="1042" y="94"/>
                    <a:pt x="1042" y="94"/>
                    <a:pt x="1042" y="94"/>
                  </a:cubicBezTo>
                  <a:cubicBezTo>
                    <a:pt x="1042" y="41"/>
                    <a:pt x="1042" y="41"/>
                    <a:pt x="1042" y="41"/>
                  </a:cubicBezTo>
                  <a:cubicBezTo>
                    <a:pt x="1122" y="41"/>
                    <a:pt x="1122" y="41"/>
                    <a:pt x="1122" y="41"/>
                  </a:cubicBezTo>
                  <a:cubicBezTo>
                    <a:pt x="1124" y="41"/>
                    <a:pt x="1125" y="42"/>
                    <a:pt x="1125" y="44"/>
                  </a:cubicBezTo>
                  <a:lnTo>
                    <a:pt x="1125" y="91"/>
                  </a:lnTo>
                  <a:close/>
                  <a:moveTo>
                    <a:pt x="1108" y="13"/>
                  </a:moveTo>
                  <a:cubicBezTo>
                    <a:pt x="1011" y="13"/>
                    <a:pt x="1011" y="13"/>
                    <a:pt x="1011" y="13"/>
                  </a:cubicBezTo>
                  <a:cubicBezTo>
                    <a:pt x="1009" y="13"/>
                    <a:pt x="1007" y="15"/>
                    <a:pt x="1007" y="17"/>
                  </a:cubicBezTo>
                  <a:cubicBezTo>
                    <a:pt x="1007" y="166"/>
                    <a:pt x="1007" y="166"/>
                    <a:pt x="1007" y="166"/>
                  </a:cubicBezTo>
                  <a:cubicBezTo>
                    <a:pt x="1007" y="168"/>
                    <a:pt x="1009" y="170"/>
                    <a:pt x="1011" y="170"/>
                  </a:cubicBezTo>
                  <a:cubicBezTo>
                    <a:pt x="1038" y="170"/>
                    <a:pt x="1038" y="170"/>
                    <a:pt x="1038" y="170"/>
                  </a:cubicBezTo>
                  <a:cubicBezTo>
                    <a:pt x="1040" y="170"/>
                    <a:pt x="1042" y="168"/>
                    <a:pt x="1042" y="166"/>
                  </a:cubicBezTo>
                  <a:cubicBezTo>
                    <a:pt x="1042" y="122"/>
                    <a:pt x="1042" y="122"/>
                    <a:pt x="1042" y="122"/>
                  </a:cubicBezTo>
                  <a:cubicBezTo>
                    <a:pt x="1108" y="122"/>
                    <a:pt x="1108" y="122"/>
                    <a:pt x="1108" y="122"/>
                  </a:cubicBezTo>
                  <a:cubicBezTo>
                    <a:pt x="1137" y="122"/>
                    <a:pt x="1161" y="104"/>
                    <a:pt x="1161" y="78"/>
                  </a:cubicBezTo>
                  <a:cubicBezTo>
                    <a:pt x="1161" y="61"/>
                    <a:pt x="1161" y="61"/>
                    <a:pt x="1161" y="61"/>
                  </a:cubicBezTo>
                  <a:cubicBezTo>
                    <a:pt x="1161" y="34"/>
                    <a:pt x="1137" y="13"/>
                    <a:pt x="1108" y="13"/>
                  </a:cubicBezTo>
                  <a:moveTo>
                    <a:pt x="1994" y="13"/>
                  </a:moveTo>
                  <a:cubicBezTo>
                    <a:pt x="1970" y="13"/>
                    <a:pt x="1970" y="13"/>
                    <a:pt x="1970" y="13"/>
                  </a:cubicBezTo>
                  <a:cubicBezTo>
                    <a:pt x="1968" y="13"/>
                    <a:pt x="1967" y="15"/>
                    <a:pt x="1967" y="17"/>
                  </a:cubicBezTo>
                  <a:cubicBezTo>
                    <a:pt x="1967" y="125"/>
                    <a:pt x="1967" y="125"/>
                    <a:pt x="1967" y="125"/>
                  </a:cubicBezTo>
                  <a:cubicBezTo>
                    <a:pt x="1954" y="111"/>
                    <a:pt x="1872" y="18"/>
                    <a:pt x="1870" y="16"/>
                  </a:cubicBezTo>
                  <a:cubicBezTo>
                    <a:pt x="1868" y="13"/>
                    <a:pt x="1865" y="13"/>
                    <a:pt x="1863" y="13"/>
                  </a:cubicBezTo>
                  <a:cubicBezTo>
                    <a:pt x="1863" y="13"/>
                    <a:pt x="1863" y="13"/>
                    <a:pt x="1863" y="13"/>
                  </a:cubicBezTo>
                  <a:cubicBezTo>
                    <a:pt x="1840" y="13"/>
                    <a:pt x="1840" y="13"/>
                    <a:pt x="1840" y="13"/>
                  </a:cubicBezTo>
                  <a:cubicBezTo>
                    <a:pt x="1838" y="13"/>
                    <a:pt x="1836" y="15"/>
                    <a:pt x="1836" y="17"/>
                  </a:cubicBezTo>
                  <a:cubicBezTo>
                    <a:pt x="1836" y="166"/>
                    <a:pt x="1836" y="166"/>
                    <a:pt x="1836" y="166"/>
                  </a:cubicBezTo>
                  <a:cubicBezTo>
                    <a:pt x="1836" y="168"/>
                    <a:pt x="1838" y="170"/>
                    <a:pt x="1840" y="170"/>
                  </a:cubicBezTo>
                  <a:cubicBezTo>
                    <a:pt x="1864" y="170"/>
                    <a:pt x="1864" y="170"/>
                    <a:pt x="1864" y="170"/>
                  </a:cubicBezTo>
                  <a:cubicBezTo>
                    <a:pt x="1866" y="170"/>
                    <a:pt x="1867" y="168"/>
                    <a:pt x="1867" y="166"/>
                  </a:cubicBezTo>
                  <a:cubicBezTo>
                    <a:pt x="1867" y="57"/>
                    <a:pt x="1867" y="57"/>
                    <a:pt x="1867" y="57"/>
                  </a:cubicBezTo>
                  <a:cubicBezTo>
                    <a:pt x="1876" y="67"/>
                    <a:pt x="1962" y="165"/>
                    <a:pt x="1964" y="167"/>
                  </a:cubicBezTo>
                  <a:cubicBezTo>
                    <a:pt x="1967" y="169"/>
                    <a:pt x="1969" y="170"/>
                    <a:pt x="1971" y="170"/>
                  </a:cubicBezTo>
                  <a:cubicBezTo>
                    <a:pt x="1971" y="170"/>
                    <a:pt x="1971" y="170"/>
                    <a:pt x="1971" y="170"/>
                  </a:cubicBezTo>
                  <a:cubicBezTo>
                    <a:pt x="1994" y="170"/>
                    <a:pt x="1994" y="170"/>
                    <a:pt x="1994" y="170"/>
                  </a:cubicBezTo>
                  <a:cubicBezTo>
                    <a:pt x="1996" y="170"/>
                    <a:pt x="1998" y="168"/>
                    <a:pt x="1998" y="166"/>
                  </a:cubicBezTo>
                  <a:cubicBezTo>
                    <a:pt x="1998" y="17"/>
                    <a:pt x="1998" y="17"/>
                    <a:pt x="1998" y="17"/>
                  </a:cubicBezTo>
                  <a:cubicBezTo>
                    <a:pt x="1998" y="15"/>
                    <a:pt x="1996" y="13"/>
                    <a:pt x="1994" y="13"/>
                  </a:cubicBezTo>
                  <a:moveTo>
                    <a:pt x="1542" y="11"/>
                  </a:moveTo>
                  <a:cubicBezTo>
                    <a:pt x="1488" y="11"/>
                    <a:pt x="1488" y="11"/>
                    <a:pt x="1488" y="11"/>
                  </a:cubicBezTo>
                  <a:cubicBezTo>
                    <a:pt x="1458" y="11"/>
                    <a:pt x="1434" y="32"/>
                    <a:pt x="1434" y="58"/>
                  </a:cubicBezTo>
                  <a:cubicBezTo>
                    <a:pt x="1434" y="124"/>
                    <a:pt x="1434" y="124"/>
                    <a:pt x="1434" y="124"/>
                  </a:cubicBezTo>
                  <a:cubicBezTo>
                    <a:pt x="1434" y="150"/>
                    <a:pt x="1458" y="172"/>
                    <a:pt x="1488" y="172"/>
                  </a:cubicBezTo>
                  <a:cubicBezTo>
                    <a:pt x="1542" y="172"/>
                    <a:pt x="1542" y="172"/>
                    <a:pt x="1542" y="172"/>
                  </a:cubicBezTo>
                  <a:cubicBezTo>
                    <a:pt x="1572" y="172"/>
                    <a:pt x="1596" y="150"/>
                    <a:pt x="1596" y="124"/>
                  </a:cubicBezTo>
                  <a:cubicBezTo>
                    <a:pt x="1596" y="82"/>
                    <a:pt x="1596" y="82"/>
                    <a:pt x="1596" y="82"/>
                  </a:cubicBezTo>
                  <a:cubicBezTo>
                    <a:pt x="1513" y="82"/>
                    <a:pt x="1513" y="82"/>
                    <a:pt x="1513" y="82"/>
                  </a:cubicBezTo>
                  <a:cubicBezTo>
                    <a:pt x="1513" y="104"/>
                    <a:pt x="1513" y="104"/>
                    <a:pt x="1513" y="104"/>
                  </a:cubicBezTo>
                  <a:cubicBezTo>
                    <a:pt x="1513" y="106"/>
                    <a:pt x="1515" y="108"/>
                    <a:pt x="1517" y="108"/>
                  </a:cubicBezTo>
                  <a:cubicBezTo>
                    <a:pt x="1562" y="108"/>
                    <a:pt x="1562" y="108"/>
                    <a:pt x="1562" y="108"/>
                  </a:cubicBezTo>
                  <a:cubicBezTo>
                    <a:pt x="1562" y="138"/>
                    <a:pt x="1562" y="138"/>
                    <a:pt x="1562" y="138"/>
                  </a:cubicBezTo>
                  <a:cubicBezTo>
                    <a:pt x="1562" y="140"/>
                    <a:pt x="1560" y="142"/>
                    <a:pt x="1558" y="142"/>
                  </a:cubicBezTo>
                  <a:cubicBezTo>
                    <a:pt x="1471" y="142"/>
                    <a:pt x="1471" y="142"/>
                    <a:pt x="1471" y="142"/>
                  </a:cubicBezTo>
                  <a:cubicBezTo>
                    <a:pt x="1469" y="142"/>
                    <a:pt x="1468" y="140"/>
                    <a:pt x="1468" y="138"/>
                  </a:cubicBezTo>
                  <a:cubicBezTo>
                    <a:pt x="1468" y="44"/>
                    <a:pt x="1468" y="44"/>
                    <a:pt x="1468" y="44"/>
                  </a:cubicBezTo>
                  <a:cubicBezTo>
                    <a:pt x="1468" y="42"/>
                    <a:pt x="1469" y="41"/>
                    <a:pt x="1471" y="41"/>
                  </a:cubicBezTo>
                  <a:cubicBezTo>
                    <a:pt x="1558" y="41"/>
                    <a:pt x="1558" y="41"/>
                    <a:pt x="1558" y="41"/>
                  </a:cubicBezTo>
                  <a:cubicBezTo>
                    <a:pt x="1560" y="41"/>
                    <a:pt x="1562" y="42"/>
                    <a:pt x="1562" y="44"/>
                  </a:cubicBezTo>
                  <a:cubicBezTo>
                    <a:pt x="1562" y="62"/>
                    <a:pt x="1562" y="62"/>
                    <a:pt x="1562" y="62"/>
                  </a:cubicBezTo>
                  <a:cubicBezTo>
                    <a:pt x="1562" y="64"/>
                    <a:pt x="1564" y="66"/>
                    <a:pt x="1566" y="66"/>
                  </a:cubicBezTo>
                  <a:cubicBezTo>
                    <a:pt x="1592" y="66"/>
                    <a:pt x="1592" y="66"/>
                    <a:pt x="1592" y="66"/>
                  </a:cubicBezTo>
                  <a:cubicBezTo>
                    <a:pt x="1594" y="66"/>
                    <a:pt x="1596" y="64"/>
                    <a:pt x="1596" y="62"/>
                  </a:cubicBezTo>
                  <a:cubicBezTo>
                    <a:pt x="1596" y="58"/>
                    <a:pt x="1596" y="58"/>
                    <a:pt x="1596" y="58"/>
                  </a:cubicBezTo>
                  <a:cubicBezTo>
                    <a:pt x="1596" y="32"/>
                    <a:pt x="1572" y="11"/>
                    <a:pt x="1542" y="11"/>
                  </a:cubicBezTo>
                  <a:moveTo>
                    <a:pt x="832" y="96"/>
                  </a:moveTo>
                  <a:cubicBezTo>
                    <a:pt x="832" y="103"/>
                    <a:pt x="831" y="108"/>
                    <a:pt x="823" y="112"/>
                  </a:cubicBezTo>
                  <a:cubicBezTo>
                    <a:pt x="816" y="115"/>
                    <a:pt x="805" y="121"/>
                    <a:pt x="795" y="125"/>
                  </a:cubicBezTo>
                  <a:cubicBezTo>
                    <a:pt x="785" y="121"/>
                    <a:pt x="774" y="115"/>
                    <a:pt x="767" y="112"/>
                  </a:cubicBezTo>
                  <a:cubicBezTo>
                    <a:pt x="758" y="108"/>
                    <a:pt x="757" y="103"/>
                    <a:pt x="757" y="96"/>
                  </a:cubicBezTo>
                  <a:cubicBezTo>
                    <a:pt x="757" y="89"/>
                    <a:pt x="757" y="89"/>
                    <a:pt x="757" y="89"/>
                  </a:cubicBezTo>
                  <a:cubicBezTo>
                    <a:pt x="832" y="89"/>
                    <a:pt x="832" y="89"/>
                    <a:pt x="832" y="89"/>
                  </a:cubicBezTo>
                  <a:lnTo>
                    <a:pt x="832" y="96"/>
                  </a:lnTo>
                  <a:close/>
                  <a:moveTo>
                    <a:pt x="894" y="65"/>
                  </a:moveTo>
                  <a:cubicBezTo>
                    <a:pt x="862" y="65"/>
                    <a:pt x="862" y="65"/>
                    <a:pt x="862" y="65"/>
                  </a:cubicBezTo>
                  <a:cubicBezTo>
                    <a:pt x="862" y="51"/>
                    <a:pt x="862" y="51"/>
                    <a:pt x="862" y="51"/>
                  </a:cubicBezTo>
                  <a:cubicBezTo>
                    <a:pt x="862" y="49"/>
                    <a:pt x="860" y="48"/>
                    <a:pt x="858" y="48"/>
                  </a:cubicBezTo>
                  <a:cubicBezTo>
                    <a:pt x="836" y="48"/>
                    <a:pt x="836" y="48"/>
                    <a:pt x="836" y="48"/>
                  </a:cubicBezTo>
                  <a:cubicBezTo>
                    <a:pt x="834" y="48"/>
                    <a:pt x="832" y="49"/>
                    <a:pt x="832" y="51"/>
                  </a:cubicBezTo>
                  <a:cubicBezTo>
                    <a:pt x="832" y="65"/>
                    <a:pt x="832" y="65"/>
                    <a:pt x="832" y="65"/>
                  </a:cubicBezTo>
                  <a:cubicBezTo>
                    <a:pt x="757" y="65"/>
                    <a:pt x="757" y="65"/>
                    <a:pt x="757" y="65"/>
                  </a:cubicBezTo>
                  <a:cubicBezTo>
                    <a:pt x="757" y="51"/>
                    <a:pt x="757" y="51"/>
                    <a:pt x="757" y="51"/>
                  </a:cubicBezTo>
                  <a:cubicBezTo>
                    <a:pt x="757" y="49"/>
                    <a:pt x="755" y="48"/>
                    <a:pt x="753" y="48"/>
                  </a:cubicBezTo>
                  <a:cubicBezTo>
                    <a:pt x="731" y="48"/>
                    <a:pt x="731" y="48"/>
                    <a:pt x="731" y="48"/>
                  </a:cubicBezTo>
                  <a:cubicBezTo>
                    <a:pt x="729" y="48"/>
                    <a:pt x="728" y="49"/>
                    <a:pt x="728" y="51"/>
                  </a:cubicBezTo>
                  <a:cubicBezTo>
                    <a:pt x="728" y="65"/>
                    <a:pt x="728" y="65"/>
                    <a:pt x="728" y="65"/>
                  </a:cubicBezTo>
                  <a:cubicBezTo>
                    <a:pt x="695" y="65"/>
                    <a:pt x="695" y="65"/>
                    <a:pt x="695" y="65"/>
                  </a:cubicBezTo>
                  <a:cubicBezTo>
                    <a:pt x="693" y="65"/>
                    <a:pt x="692" y="67"/>
                    <a:pt x="692" y="69"/>
                  </a:cubicBezTo>
                  <a:cubicBezTo>
                    <a:pt x="692" y="85"/>
                    <a:pt x="692" y="85"/>
                    <a:pt x="692" y="85"/>
                  </a:cubicBezTo>
                  <a:cubicBezTo>
                    <a:pt x="692" y="87"/>
                    <a:pt x="693" y="89"/>
                    <a:pt x="695" y="89"/>
                  </a:cubicBezTo>
                  <a:cubicBezTo>
                    <a:pt x="727" y="89"/>
                    <a:pt x="727" y="89"/>
                    <a:pt x="727" y="89"/>
                  </a:cubicBezTo>
                  <a:cubicBezTo>
                    <a:pt x="727" y="99"/>
                    <a:pt x="727" y="99"/>
                    <a:pt x="727" y="99"/>
                  </a:cubicBezTo>
                  <a:cubicBezTo>
                    <a:pt x="727" y="111"/>
                    <a:pt x="733" y="122"/>
                    <a:pt x="747" y="129"/>
                  </a:cubicBezTo>
                  <a:cubicBezTo>
                    <a:pt x="753" y="132"/>
                    <a:pt x="760" y="135"/>
                    <a:pt x="767" y="138"/>
                  </a:cubicBezTo>
                  <a:cubicBezTo>
                    <a:pt x="754" y="143"/>
                    <a:pt x="743" y="146"/>
                    <a:pt x="731" y="146"/>
                  </a:cubicBezTo>
                  <a:cubicBezTo>
                    <a:pt x="700" y="146"/>
                    <a:pt x="700" y="146"/>
                    <a:pt x="700" y="146"/>
                  </a:cubicBezTo>
                  <a:cubicBezTo>
                    <a:pt x="698" y="146"/>
                    <a:pt x="696" y="148"/>
                    <a:pt x="696" y="150"/>
                  </a:cubicBezTo>
                  <a:cubicBezTo>
                    <a:pt x="696" y="166"/>
                    <a:pt x="696" y="166"/>
                    <a:pt x="696" y="166"/>
                  </a:cubicBezTo>
                  <a:cubicBezTo>
                    <a:pt x="696" y="168"/>
                    <a:pt x="698" y="170"/>
                    <a:pt x="700" y="170"/>
                  </a:cubicBezTo>
                  <a:cubicBezTo>
                    <a:pt x="730" y="170"/>
                    <a:pt x="730" y="170"/>
                    <a:pt x="730" y="170"/>
                  </a:cubicBezTo>
                  <a:cubicBezTo>
                    <a:pt x="742" y="170"/>
                    <a:pt x="757" y="167"/>
                    <a:pt x="769" y="162"/>
                  </a:cubicBezTo>
                  <a:cubicBezTo>
                    <a:pt x="774" y="161"/>
                    <a:pt x="784" y="156"/>
                    <a:pt x="795" y="151"/>
                  </a:cubicBezTo>
                  <a:cubicBezTo>
                    <a:pt x="806" y="156"/>
                    <a:pt x="815" y="161"/>
                    <a:pt x="820" y="162"/>
                  </a:cubicBezTo>
                  <a:cubicBezTo>
                    <a:pt x="833" y="167"/>
                    <a:pt x="847" y="170"/>
                    <a:pt x="859" y="170"/>
                  </a:cubicBezTo>
                  <a:cubicBezTo>
                    <a:pt x="889" y="170"/>
                    <a:pt x="889" y="170"/>
                    <a:pt x="889" y="170"/>
                  </a:cubicBezTo>
                  <a:cubicBezTo>
                    <a:pt x="891" y="170"/>
                    <a:pt x="893" y="168"/>
                    <a:pt x="893" y="166"/>
                  </a:cubicBezTo>
                  <a:cubicBezTo>
                    <a:pt x="893" y="150"/>
                    <a:pt x="893" y="150"/>
                    <a:pt x="893" y="150"/>
                  </a:cubicBezTo>
                  <a:cubicBezTo>
                    <a:pt x="893" y="148"/>
                    <a:pt x="891" y="146"/>
                    <a:pt x="889" y="146"/>
                  </a:cubicBezTo>
                  <a:cubicBezTo>
                    <a:pt x="859" y="146"/>
                    <a:pt x="859" y="146"/>
                    <a:pt x="859" y="146"/>
                  </a:cubicBezTo>
                  <a:cubicBezTo>
                    <a:pt x="847" y="146"/>
                    <a:pt x="835" y="143"/>
                    <a:pt x="823" y="138"/>
                  </a:cubicBezTo>
                  <a:cubicBezTo>
                    <a:pt x="830" y="135"/>
                    <a:pt x="837" y="132"/>
                    <a:pt x="842" y="129"/>
                  </a:cubicBezTo>
                  <a:cubicBezTo>
                    <a:pt x="857" y="122"/>
                    <a:pt x="862" y="111"/>
                    <a:pt x="862" y="99"/>
                  </a:cubicBezTo>
                  <a:cubicBezTo>
                    <a:pt x="862" y="89"/>
                    <a:pt x="862" y="89"/>
                    <a:pt x="862" y="89"/>
                  </a:cubicBezTo>
                  <a:cubicBezTo>
                    <a:pt x="894" y="89"/>
                    <a:pt x="894" y="89"/>
                    <a:pt x="894" y="89"/>
                  </a:cubicBezTo>
                  <a:cubicBezTo>
                    <a:pt x="896" y="89"/>
                    <a:pt x="898" y="87"/>
                    <a:pt x="898" y="85"/>
                  </a:cubicBezTo>
                  <a:cubicBezTo>
                    <a:pt x="898" y="69"/>
                    <a:pt x="898" y="69"/>
                    <a:pt x="898" y="69"/>
                  </a:cubicBezTo>
                  <a:cubicBezTo>
                    <a:pt x="898" y="67"/>
                    <a:pt x="896" y="65"/>
                    <a:pt x="894" y="65"/>
                  </a:cubicBezTo>
                  <a:moveTo>
                    <a:pt x="1747" y="17"/>
                  </a:moveTo>
                  <a:cubicBezTo>
                    <a:pt x="1745" y="14"/>
                    <a:pt x="1743" y="13"/>
                    <a:pt x="1740" y="13"/>
                  </a:cubicBezTo>
                  <a:cubicBezTo>
                    <a:pt x="1716" y="13"/>
                    <a:pt x="1716" y="13"/>
                    <a:pt x="1716" y="13"/>
                  </a:cubicBezTo>
                  <a:cubicBezTo>
                    <a:pt x="1713" y="13"/>
                    <a:pt x="1711" y="14"/>
                    <a:pt x="1710" y="17"/>
                  </a:cubicBezTo>
                  <a:cubicBezTo>
                    <a:pt x="1636" y="162"/>
                    <a:pt x="1636" y="162"/>
                    <a:pt x="1636" y="162"/>
                  </a:cubicBezTo>
                  <a:cubicBezTo>
                    <a:pt x="1634" y="167"/>
                    <a:pt x="1636" y="170"/>
                    <a:pt x="1640" y="170"/>
                  </a:cubicBezTo>
                  <a:cubicBezTo>
                    <a:pt x="1663" y="170"/>
                    <a:pt x="1663" y="170"/>
                    <a:pt x="1663" y="170"/>
                  </a:cubicBezTo>
                  <a:cubicBezTo>
                    <a:pt x="1667" y="170"/>
                    <a:pt x="1668" y="169"/>
                    <a:pt x="1670" y="165"/>
                  </a:cubicBezTo>
                  <a:cubicBezTo>
                    <a:pt x="1728" y="49"/>
                    <a:pt x="1728" y="49"/>
                    <a:pt x="1728" y="49"/>
                  </a:cubicBezTo>
                  <a:cubicBezTo>
                    <a:pt x="1786" y="165"/>
                    <a:pt x="1786" y="165"/>
                    <a:pt x="1786" y="165"/>
                  </a:cubicBezTo>
                  <a:cubicBezTo>
                    <a:pt x="1788" y="169"/>
                    <a:pt x="1789" y="170"/>
                    <a:pt x="1793" y="170"/>
                  </a:cubicBezTo>
                  <a:cubicBezTo>
                    <a:pt x="1816" y="170"/>
                    <a:pt x="1816" y="170"/>
                    <a:pt x="1816" y="170"/>
                  </a:cubicBezTo>
                  <a:cubicBezTo>
                    <a:pt x="1820" y="170"/>
                    <a:pt x="1823" y="167"/>
                    <a:pt x="1820" y="162"/>
                  </a:cubicBezTo>
                  <a:lnTo>
                    <a:pt x="1747" y="17"/>
                  </a:lnTo>
                  <a:close/>
                  <a:moveTo>
                    <a:pt x="629" y="46"/>
                  </a:moveTo>
                  <a:cubicBezTo>
                    <a:pt x="626" y="46"/>
                    <a:pt x="623" y="48"/>
                    <a:pt x="622" y="49"/>
                  </a:cubicBezTo>
                  <a:cubicBezTo>
                    <a:pt x="597" y="98"/>
                    <a:pt x="597" y="98"/>
                    <a:pt x="597" y="98"/>
                  </a:cubicBezTo>
                  <a:cubicBezTo>
                    <a:pt x="596" y="100"/>
                    <a:pt x="597" y="102"/>
                    <a:pt x="599" y="102"/>
                  </a:cubicBezTo>
                  <a:cubicBezTo>
                    <a:pt x="625" y="102"/>
                    <a:pt x="625" y="102"/>
                    <a:pt x="625" y="102"/>
                  </a:cubicBezTo>
                  <a:cubicBezTo>
                    <a:pt x="628" y="102"/>
                    <a:pt x="630" y="100"/>
                    <a:pt x="631" y="98"/>
                  </a:cubicBezTo>
                  <a:cubicBezTo>
                    <a:pt x="656" y="49"/>
                    <a:pt x="656" y="49"/>
                    <a:pt x="656" y="49"/>
                  </a:cubicBezTo>
                  <a:cubicBezTo>
                    <a:pt x="657" y="48"/>
                    <a:pt x="656" y="46"/>
                    <a:pt x="654" y="46"/>
                  </a:cubicBezTo>
                  <a:lnTo>
                    <a:pt x="629" y="46"/>
                  </a:lnTo>
                  <a:close/>
                  <a:moveTo>
                    <a:pt x="416" y="146"/>
                  </a:moveTo>
                  <a:cubicBezTo>
                    <a:pt x="269" y="146"/>
                    <a:pt x="269" y="146"/>
                    <a:pt x="269" y="146"/>
                  </a:cubicBezTo>
                  <a:cubicBezTo>
                    <a:pt x="269" y="28"/>
                    <a:pt x="269" y="28"/>
                    <a:pt x="269" y="28"/>
                  </a:cubicBezTo>
                  <a:cubicBezTo>
                    <a:pt x="416" y="28"/>
                    <a:pt x="416" y="28"/>
                    <a:pt x="416" y="28"/>
                  </a:cubicBezTo>
                  <a:lnTo>
                    <a:pt x="416" y="146"/>
                  </a:lnTo>
                  <a:close/>
                  <a:moveTo>
                    <a:pt x="423" y="6"/>
                  </a:moveTo>
                  <a:cubicBezTo>
                    <a:pt x="261" y="6"/>
                    <a:pt x="261" y="6"/>
                    <a:pt x="261" y="6"/>
                  </a:cubicBezTo>
                  <a:cubicBezTo>
                    <a:pt x="249" y="6"/>
                    <a:pt x="239" y="16"/>
                    <a:pt x="239" y="28"/>
                  </a:cubicBezTo>
                  <a:cubicBezTo>
                    <a:pt x="239" y="148"/>
                    <a:pt x="239" y="148"/>
                    <a:pt x="239" y="148"/>
                  </a:cubicBezTo>
                  <a:cubicBezTo>
                    <a:pt x="239" y="160"/>
                    <a:pt x="249" y="169"/>
                    <a:pt x="261" y="169"/>
                  </a:cubicBezTo>
                  <a:cubicBezTo>
                    <a:pt x="423" y="169"/>
                    <a:pt x="423" y="169"/>
                    <a:pt x="423" y="169"/>
                  </a:cubicBezTo>
                  <a:cubicBezTo>
                    <a:pt x="435" y="169"/>
                    <a:pt x="445" y="160"/>
                    <a:pt x="445" y="148"/>
                  </a:cubicBezTo>
                  <a:cubicBezTo>
                    <a:pt x="445" y="28"/>
                    <a:pt x="445" y="28"/>
                    <a:pt x="445" y="28"/>
                  </a:cubicBezTo>
                  <a:cubicBezTo>
                    <a:pt x="445" y="16"/>
                    <a:pt x="435" y="6"/>
                    <a:pt x="423" y="6"/>
                  </a:cubicBezTo>
                  <a:moveTo>
                    <a:pt x="697" y="49"/>
                  </a:moveTo>
                  <a:cubicBezTo>
                    <a:pt x="714" y="49"/>
                    <a:pt x="714" y="49"/>
                    <a:pt x="714" y="49"/>
                  </a:cubicBezTo>
                  <a:cubicBezTo>
                    <a:pt x="716" y="49"/>
                    <a:pt x="718" y="47"/>
                    <a:pt x="718" y="45"/>
                  </a:cubicBezTo>
                  <a:cubicBezTo>
                    <a:pt x="718" y="34"/>
                    <a:pt x="718" y="34"/>
                    <a:pt x="718" y="34"/>
                  </a:cubicBezTo>
                  <a:cubicBezTo>
                    <a:pt x="872" y="34"/>
                    <a:pt x="872" y="34"/>
                    <a:pt x="872" y="34"/>
                  </a:cubicBezTo>
                  <a:cubicBezTo>
                    <a:pt x="872" y="45"/>
                    <a:pt x="872" y="45"/>
                    <a:pt x="872" y="45"/>
                  </a:cubicBezTo>
                  <a:cubicBezTo>
                    <a:pt x="872" y="47"/>
                    <a:pt x="873" y="49"/>
                    <a:pt x="875" y="49"/>
                  </a:cubicBezTo>
                  <a:cubicBezTo>
                    <a:pt x="893" y="49"/>
                    <a:pt x="893" y="49"/>
                    <a:pt x="893" y="49"/>
                  </a:cubicBezTo>
                  <a:cubicBezTo>
                    <a:pt x="895" y="49"/>
                    <a:pt x="897" y="47"/>
                    <a:pt x="897" y="45"/>
                  </a:cubicBezTo>
                  <a:cubicBezTo>
                    <a:pt x="897" y="32"/>
                    <a:pt x="897" y="32"/>
                    <a:pt x="897" y="32"/>
                  </a:cubicBezTo>
                  <a:cubicBezTo>
                    <a:pt x="897" y="22"/>
                    <a:pt x="888" y="13"/>
                    <a:pt x="877" y="13"/>
                  </a:cubicBezTo>
                  <a:cubicBezTo>
                    <a:pt x="811" y="13"/>
                    <a:pt x="811" y="13"/>
                    <a:pt x="811" y="13"/>
                  </a:cubicBezTo>
                  <a:cubicBezTo>
                    <a:pt x="811" y="4"/>
                    <a:pt x="811" y="4"/>
                    <a:pt x="811" y="4"/>
                  </a:cubicBezTo>
                  <a:cubicBezTo>
                    <a:pt x="811" y="2"/>
                    <a:pt x="809" y="0"/>
                    <a:pt x="807" y="0"/>
                  </a:cubicBezTo>
                  <a:cubicBezTo>
                    <a:pt x="782" y="0"/>
                    <a:pt x="782" y="0"/>
                    <a:pt x="782" y="0"/>
                  </a:cubicBezTo>
                  <a:cubicBezTo>
                    <a:pt x="780" y="0"/>
                    <a:pt x="778" y="2"/>
                    <a:pt x="778" y="4"/>
                  </a:cubicBezTo>
                  <a:cubicBezTo>
                    <a:pt x="778" y="13"/>
                    <a:pt x="778" y="13"/>
                    <a:pt x="778" y="13"/>
                  </a:cubicBezTo>
                  <a:cubicBezTo>
                    <a:pt x="712" y="13"/>
                    <a:pt x="712" y="13"/>
                    <a:pt x="712" y="13"/>
                  </a:cubicBezTo>
                  <a:cubicBezTo>
                    <a:pt x="702" y="13"/>
                    <a:pt x="693" y="22"/>
                    <a:pt x="693" y="32"/>
                  </a:cubicBezTo>
                  <a:cubicBezTo>
                    <a:pt x="693" y="45"/>
                    <a:pt x="693" y="45"/>
                    <a:pt x="693" y="45"/>
                  </a:cubicBezTo>
                  <a:cubicBezTo>
                    <a:pt x="693" y="47"/>
                    <a:pt x="695" y="49"/>
                    <a:pt x="697" y="49"/>
                  </a:cubicBezTo>
                  <a:moveTo>
                    <a:pt x="179" y="115"/>
                  </a:moveTo>
                  <a:cubicBezTo>
                    <a:pt x="122" y="115"/>
                    <a:pt x="122" y="115"/>
                    <a:pt x="122" y="115"/>
                  </a:cubicBezTo>
                  <a:cubicBezTo>
                    <a:pt x="122" y="49"/>
                    <a:pt x="122" y="49"/>
                    <a:pt x="122" y="49"/>
                  </a:cubicBezTo>
                  <a:cubicBezTo>
                    <a:pt x="179" y="49"/>
                    <a:pt x="179" y="49"/>
                    <a:pt x="179" y="49"/>
                  </a:cubicBezTo>
                  <a:lnTo>
                    <a:pt x="179" y="115"/>
                  </a:lnTo>
                  <a:close/>
                  <a:moveTo>
                    <a:pt x="88" y="115"/>
                  </a:moveTo>
                  <a:cubicBezTo>
                    <a:pt x="31" y="115"/>
                    <a:pt x="31" y="115"/>
                    <a:pt x="31" y="115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88" y="49"/>
                    <a:pt x="88" y="49"/>
                    <a:pt x="88" y="49"/>
                  </a:cubicBezTo>
                  <a:lnTo>
                    <a:pt x="88" y="115"/>
                  </a:lnTo>
                  <a:close/>
                  <a:moveTo>
                    <a:pt x="188" y="2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22" y="5"/>
                    <a:pt x="122" y="5"/>
                    <a:pt x="122" y="5"/>
                  </a:cubicBezTo>
                  <a:cubicBezTo>
                    <a:pt x="122" y="3"/>
                    <a:pt x="120" y="1"/>
                    <a:pt x="118" y="1"/>
                  </a:cubicBezTo>
                  <a:cubicBezTo>
                    <a:pt x="91" y="1"/>
                    <a:pt x="91" y="1"/>
                    <a:pt x="91" y="1"/>
                  </a:cubicBezTo>
                  <a:cubicBezTo>
                    <a:pt x="89" y="1"/>
                    <a:pt x="88" y="3"/>
                    <a:pt x="88" y="5"/>
                  </a:cubicBezTo>
                  <a:cubicBezTo>
                    <a:pt x="88" y="24"/>
                    <a:pt x="88" y="24"/>
                    <a:pt x="88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10" y="24"/>
                    <a:pt x="0" y="34"/>
                    <a:pt x="0" y="46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130"/>
                    <a:pt x="10" y="140"/>
                    <a:pt x="22" y="140"/>
                  </a:cubicBezTo>
                  <a:cubicBezTo>
                    <a:pt x="88" y="140"/>
                    <a:pt x="88" y="140"/>
                    <a:pt x="88" y="140"/>
                  </a:cubicBezTo>
                  <a:cubicBezTo>
                    <a:pt x="88" y="171"/>
                    <a:pt x="88" y="171"/>
                    <a:pt x="88" y="171"/>
                  </a:cubicBezTo>
                  <a:cubicBezTo>
                    <a:pt x="88" y="173"/>
                    <a:pt x="89" y="174"/>
                    <a:pt x="91" y="174"/>
                  </a:cubicBezTo>
                  <a:cubicBezTo>
                    <a:pt x="118" y="174"/>
                    <a:pt x="118" y="174"/>
                    <a:pt x="118" y="174"/>
                  </a:cubicBezTo>
                  <a:cubicBezTo>
                    <a:pt x="120" y="174"/>
                    <a:pt x="122" y="173"/>
                    <a:pt x="122" y="171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88" y="140"/>
                    <a:pt x="188" y="140"/>
                    <a:pt x="188" y="140"/>
                  </a:cubicBezTo>
                  <a:cubicBezTo>
                    <a:pt x="200" y="140"/>
                    <a:pt x="210" y="130"/>
                    <a:pt x="210" y="118"/>
                  </a:cubicBezTo>
                  <a:cubicBezTo>
                    <a:pt x="210" y="46"/>
                    <a:pt x="210" y="46"/>
                    <a:pt x="210" y="46"/>
                  </a:cubicBezTo>
                  <a:cubicBezTo>
                    <a:pt x="210" y="34"/>
                    <a:pt x="200" y="24"/>
                    <a:pt x="188" y="24"/>
                  </a:cubicBezTo>
                  <a:moveTo>
                    <a:pt x="401" y="104"/>
                  </a:moveTo>
                  <a:cubicBezTo>
                    <a:pt x="379" y="104"/>
                    <a:pt x="379" y="104"/>
                    <a:pt x="379" y="104"/>
                  </a:cubicBezTo>
                  <a:cubicBezTo>
                    <a:pt x="379" y="112"/>
                    <a:pt x="379" y="112"/>
                    <a:pt x="379" y="112"/>
                  </a:cubicBezTo>
                  <a:cubicBezTo>
                    <a:pt x="357" y="112"/>
                    <a:pt x="357" y="112"/>
                    <a:pt x="357" y="112"/>
                  </a:cubicBezTo>
                  <a:cubicBezTo>
                    <a:pt x="357" y="93"/>
                    <a:pt x="357" y="93"/>
                    <a:pt x="357" y="93"/>
                  </a:cubicBezTo>
                  <a:cubicBezTo>
                    <a:pt x="395" y="93"/>
                    <a:pt x="395" y="93"/>
                    <a:pt x="395" y="93"/>
                  </a:cubicBezTo>
                  <a:cubicBezTo>
                    <a:pt x="395" y="75"/>
                    <a:pt x="395" y="75"/>
                    <a:pt x="395" y="75"/>
                  </a:cubicBezTo>
                  <a:cubicBezTo>
                    <a:pt x="357" y="75"/>
                    <a:pt x="357" y="75"/>
                    <a:pt x="357" y="75"/>
                  </a:cubicBezTo>
                  <a:cubicBezTo>
                    <a:pt x="357" y="61"/>
                    <a:pt x="357" y="61"/>
                    <a:pt x="357" y="61"/>
                  </a:cubicBezTo>
                  <a:cubicBezTo>
                    <a:pt x="401" y="61"/>
                    <a:pt x="401" y="61"/>
                    <a:pt x="401" y="61"/>
                  </a:cubicBezTo>
                  <a:cubicBezTo>
                    <a:pt x="401" y="41"/>
                    <a:pt x="401" y="41"/>
                    <a:pt x="401" y="41"/>
                  </a:cubicBezTo>
                  <a:cubicBezTo>
                    <a:pt x="284" y="41"/>
                    <a:pt x="284" y="41"/>
                    <a:pt x="284" y="41"/>
                  </a:cubicBezTo>
                  <a:cubicBezTo>
                    <a:pt x="284" y="61"/>
                    <a:pt x="284" y="61"/>
                    <a:pt x="284" y="61"/>
                  </a:cubicBezTo>
                  <a:cubicBezTo>
                    <a:pt x="328" y="61"/>
                    <a:pt x="328" y="61"/>
                    <a:pt x="328" y="61"/>
                  </a:cubicBezTo>
                  <a:cubicBezTo>
                    <a:pt x="328" y="75"/>
                    <a:pt x="328" y="75"/>
                    <a:pt x="328" y="75"/>
                  </a:cubicBezTo>
                  <a:cubicBezTo>
                    <a:pt x="290" y="75"/>
                    <a:pt x="290" y="75"/>
                    <a:pt x="290" y="75"/>
                  </a:cubicBezTo>
                  <a:cubicBezTo>
                    <a:pt x="290" y="93"/>
                    <a:pt x="290" y="93"/>
                    <a:pt x="290" y="93"/>
                  </a:cubicBezTo>
                  <a:cubicBezTo>
                    <a:pt x="328" y="93"/>
                    <a:pt x="328" y="93"/>
                    <a:pt x="328" y="93"/>
                  </a:cubicBezTo>
                  <a:cubicBezTo>
                    <a:pt x="328" y="112"/>
                    <a:pt x="328" y="112"/>
                    <a:pt x="328" y="112"/>
                  </a:cubicBezTo>
                  <a:cubicBezTo>
                    <a:pt x="284" y="112"/>
                    <a:pt x="284" y="112"/>
                    <a:pt x="284" y="112"/>
                  </a:cubicBezTo>
                  <a:cubicBezTo>
                    <a:pt x="284" y="132"/>
                    <a:pt x="284" y="132"/>
                    <a:pt x="284" y="132"/>
                  </a:cubicBezTo>
                  <a:cubicBezTo>
                    <a:pt x="401" y="132"/>
                    <a:pt x="401" y="132"/>
                    <a:pt x="401" y="132"/>
                  </a:cubicBezTo>
                  <a:lnTo>
                    <a:pt x="401" y="104"/>
                  </a:lnTo>
                  <a:close/>
                  <a:moveTo>
                    <a:pt x="516" y="102"/>
                  </a:moveTo>
                  <a:cubicBezTo>
                    <a:pt x="542" y="102"/>
                    <a:pt x="542" y="102"/>
                    <a:pt x="542" y="102"/>
                  </a:cubicBezTo>
                  <a:cubicBezTo>
                    <a:pt x="544" y="102"/>
                    <a:pt x="545" y="100"/>
                    <a:pt x="544" y="98"/>
                  </a:cubicBezTo>
                  <a:cubicBezTo>
                    <a:pt x="519" y="49"/>
                    <a:pt x="519" y="49"/>
                    <a:pt x="519" y="49"/>
                  </a:cubicBezTo>
                  <a:cubicBezTo>
                    <a:pt x="518" y="48"/>
                    <a:pt x="515" y="46"/>
                    <a:pt x="512" y="46"/>
                  </a:cubicBezTo>
                  <a:cubicBezTo>
                    <a:pt x="487" y="46"/>
                    <a:pt x="487" y="46"/>
                    <a:pt x="487" y="46"/>
                  </a:cubicBezTo>
                  <a:cubicBezTo>
                    <a:pt x="485" y="46"/>
                    <a:pt x="484" y="48"/>
                    <a:pt x="485" y="49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511" y="100"/>
                    <a:pt x="513" y="102"/>
                    <a:pt x="516" y="102"/>
                  </a:cubicBezTo>
                  <a:moveTo>
                    <a:pt x="669" y="115"/>
                  </a:moveTo>
                  <a:cubicBezTo>
                    <a:pt x="587" y="115"/>
                    <a:pt x="587" y="115"/>
                    <a:pt x="587" y="115"/>
                  </a:cubicBezTo>
                  <a:cubicBezTo>
                    <a:pt x="587" y="33"/>
                    <a:pt x="587" y="33"/>
                    <a:pt x="587" y="33"/>
                  </a:cubicBezTo>
                  <a:cubicBezTo>
                    <a:pt x="662" y="33"/>
                    <a:pt x="662" y="33"/>
                    <a:pt x="662" y="33"/>
                  </a:cubicBezTo>
                  <a:cubicBezTo>
                    <a:pt x="664" y="33"/>
                    <a:pt x="666" y="31"/>
                    <a:pt x="666" y="29"/>
                  </a:cubicBezTo>
                  <a:cubicBezTo>
                    <a:pt x="666" y="14"/>
                    <a:pt x="666" y="14"/>
                    <a:pt x="666" y="14"/>
                  </a:cubicBezTo>
                  <a:cubicBezTo>
                    <a:pt x="666" y="11"/>
                    <a:pt x="664" y="10"/>
                    <a:pt x="662" y="10"/>
                  </a:cubicBezTo>
                  <a:cubicBezTo>
                    <a:pt x="479" y="10"/>
                    <a:pt x="479" y="10"/>
                    <a:pt x="479" y="10"/>
                  </a:cubicBezTo>
                  <a:cubicBezTo>
                    <a:pt x="477" y="10"/>
                    <a:pt x="475" y="11"/>
                    <a:pt x="475" y="14"/>
                  </a:cubicBezTo>
                  <a:cubicBezTo>
                    <a:pt x="475" y="29"/>
                    <a:pt x="475" y="29"/>
                    <a:pt x="475" y="29"/>
                  </a:cubicBezTo>
                  <a:cubicBezTo>
                    <a:pt x="475" y="31"/>
                    <a:pt x="477" y="33"/>
                    <a:pt x="479" y="33"/>
                  </a:cubicBezTo>
                  <a:cubicBezTo>
                    <a:pt x="554" y="33"/>
                    <a:pt x="554" y="33"/>
                    <a:pt x="554" y="33"/>
                  </a:cubicBezTo>
                  <a:cubicBezTo>
                    <a:pt x="554" y="115"/>
                    <a:pt x="554" y="115"/>
                    <a:pt x="554" y="115"/>
                  </a:cubicBezTo>
                  <a:cubicBezTo>
                    <a:pt x="472" y="115"/>
                    <a:pt x="472" y="115"/>
                    <a:pt x="472" y="115"/>
                  </a:cubicBezTo>
                  <a:cubicBezTo>
                    <a:pt x="470" y="115"/>
                    <a:pt x="469" y="117"/>
                    <a:pt x="469" y="119"/>
                  </a:cubicBezTo>
                  <a:cubicBezTo>
                    <a:pt x="469" y="135"/>
                    <a:pt x="469" y="135"/>
                    <a:pt x="469" y="135"/>
                  </a:cubicBezTo>
                  <a:cubicBezTo>
                    <a:pt x="469" y="137"/>
                    <a:pt x="470" y="139"/>
                    <a:pt x="472" y="139"/>
                  </a:cubicBezTo>
                  <a:cubicBezTo>
                    <a:pt x="554" y="139"/>
                    <a:pt x="554" y="139"/>
                    <a:pt x="554" y="139"/>
                  </a:cubicBezTo>
                  <a:cubicBezTo>
                    <a:pt x="554" y="171"/>
                    <a:pt x="554" y="171"/>
                    <a:pt x="554" y="171"/>
                  </a:cubicBezTo>
                  <a:cubicBezTo>
                    <a:pt x="554" y="173"/>
                    <a:pt x="556" y="174"/>
                    <a:pt x="558" y="174"/>
                  </a:cubicBezTo>
                  <a:cubicBezTo>
                    <a:pt x="583" y="174"/>
                    <a:pt x="583" y="174"/>
                    <a:pt x="583" y="174"/>
                  </a:cubicBezTo>
                  <a:cubicBezTo>
                    <a:pt x="585" y="174"/>
                    <a:pt x="587" y="173"/>
                    <a:pt x="587" y="171"/>
                  </a:cubicBezTo>
                  <a:cubicBezTo>
                    <a:pt x="587" y="139"/>
                    <a:pt x="587" y="139"/>
                    <a:pt x="587" y="139"/>
                  </a:cubicBezTo>
                  <a:cubicBezTo>
                    <a:pt x="669" y="139"/>
                    <a:pt x="669" y="139"/>
                    <a:pt x="669" y="139"/>
                  </a:cubicBezTo>
                  <a:cubicBezTo>
                    <a:pt x="671" y="139"/>
                    <a:pt x="673" y="137"/>
                    <a:pt x="673" y="135"/>
                  </a:cubicBezTo>
                  <a:cubicBezTo>
                    <a:pt x="673" y="119"/>
                    <a:pt x="673" y="119"/>
                    <a:pt x="673" y="119"/>
                  </a:cubicBezTo>
                  <a:cubicBezTo>
                    <a:pt x="673" y="117"/>
                    <a:pt x="671" y="115"/>
                    <a:pt x="669" y="115"/>
                  </a:cubicBezTo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47E28CBA-BD84-49BB-BBF9-BC572E91662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8525" y="693738"/>
              <a:ext cx="77788" cy="76200"/>
            </a:xfrm>
            <a:custGeom>
              <a:avLst/>
              <a:gdLst>
                <a:gd name="T0" fmla="*/ 44 w 48"/>
                <a:gd name="T1" fmla="*/ 0 h 46"/>
                <a:gd name="T2" fmla="*/ 4 w 48"/>
                <a:gd name="T3" fmla="*/ 0 h 46"/>
                <a:gd name="T4" fmla="*/ 0 w 48"/>
                <a:gd name="T5" fmla="*/ 3 h 46"/>
                <a:gd name="T6" fmla="*/ 0 w 48"/>
                <a:gd name="T7" fmla="*/ 43 h 46"/>
                <a:gd name="T8" fmla="*/ 4 w 48"/>
                <a:gd name="T9" fmla="*/ 46 h 46"/>
                <a:gd name="T10" fmla="*/ 44 w 48"/>
                <a:gd name="T11" fmla="*/ 46 h 46"/>
                <a:gd name="T12" fmla="*/ 48 w 48"/>
                <a:gd name="T13" fmla="*/ 43 h 46"/>
                <a:gd name="T14" fmla="*/ 48 w 48"/>
                <a:gd name="T15" fmla="*/ 3 h 46"/>
                <a:gd name="T16" fmla="*/ 44 w 48"/>
                <a:gd name="T17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46">
                  <a:moveTo>
                    <a:pt x="4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5"/>
                    <a:pt x="2" y="46"/>
                    <a:pt x="4" y="46"/>
                  </a:cubicBezTo>
                  <a:cubicBezTo>
                    <a:pt x="44" y="46"/>
                    <a:pt x="44" y="46"/>
                    <a:pt x="44" y="46"/>
                  </a:cubicBezTo>
                  <a:cubicBezTo>
                    <a:pt x="46" y="46"/>
                    <a:pt x="48" y="45"/>
                    <a:pt x="48" y="43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1"/>
                    <a:pt x="46" y="0"/>
                    <a:pt x="44" y="0"/>
                  </a:cubicBezTo>
                </a:path>
              </a:pathLst>
            </a:custGeom>
            <a:solidFill>
              <a:srgbClr val="005E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" name="Oval 7">
              <a:extLst>
                <a:ext uri="{FF2B5EF4-FFF2-40B4-BE49-F238E27FC236}">
                  <a16:creationId xmlns:a16="http://schemas.microsoft.com/office/drawing/2014/main" id="{E34682D8-ECAB-4CDC-8827-D1D2F482C3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85888" y="952500"/>
              <a:ext cx="17463" cy="20637"/>
            </a:xfrm>
            <a:prstGeom prst="ellipse">
              <a:avLst/>
            </a:pr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D760969B-9BE9-4451-952B-F25916FBD4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1713" y="893763"/>
              <a:ext cx="142875" cy="133350"/>
            </a:xfrm>
            <a:custGeom>
              <a:avLst/>
              <a:gdLst>
                <a:gd name="T0" fmla="*/ 43 w 88"/>
                <a:gd name="T1" fmla="*/ 0 h 81"/>
                <a:gd name="T2" fmla="*/ 51 w 88"/>
                <a:gd name="T3" fmla="*/ 4 h 81"/>
                <a:gd name="T4" fmla="*/ 84 w 88"/>
                <a:gd name="T5" fmla="*/ 22 h 81"/>
                <a:gd name="T6" fmla="*/ 87 w 88"/>
                <a:gd name="T7" fmla="*/ 28 h 81"/>
                <a:gd name="T8" fmla="*/ 82 w 88"/>
                <a:gd name="T9" fmla="*/ 29 h 81"/>
                <a:gd name="T10" fmla="*/ 49 w 88"/>
                <a:gd name="T11" fmla="*/ 12 h 81"/>
                <a:gd name="T12" fmla="*/ 43 w 88"/>
                <a:gd name="T13" fmla="*/ 8 h 81"/>
                <a:gd name="T14" fmla="*/ 38 w 88"/>
                <a:gd name="T15" fmla="*/ 11 h 81"/>
                <a:gd name="T16" fmla="*/ 6 w 88"/>
                <a:gd name="T17" fmla="*/ 30 h 81"/>
                <a:gd name="T18" fmla="*/ 1 w 88"/>
                <a:gd name="T19" fmla="*/ 28 h 81"/>
                <a:gd name="T20" fmla="*/ 3 w 88"/>
                <a:gd name="T21" fmla="*/ 23 h 81"/>
                <a:gd name="T22" fmla="*/ 35 w 88"/>
                <a:gd name="T23" fmla="*/ 5 h 81"/>
                <a:gd name="T24" fmla="*/ 43 w 88"/>
                <a:gd name="T25" fmla="*/ 0 h 81"/>
                <a:gd name="T26" fmla="*/ 21 w 88"/>
                <a:gd name="T27" fmla="*/ 25 h 81"/>
                <a:gd name="T28" fmla="*/ 68 w 88"/>
                <a:gd name="T29" fmla="*/ 25 h 81"/>
                <a:gd name="T30" fmla="*/ 71 w 88"/>
                <a:gd name="T31" fmla="*/ 28 h 81"/>
                <a:gd name="T32" fmla="*/ 68 w 88"/>
                <a:gd name="T33" fmla="*/ 31 h 81"/>
                <a:gd name="T34" fmla="*/ 48 w 88"/>
                <a:gd name="T35" fmla="*/ 31 h 81"/>
                <a:gd name="T36" fmla="*/ 48 w 88"/>
                <a:gd name="T37" fmla="*/ 42 h 81"/>
                <a:gd name="T38" fmla="*/ 80 w 88"/>
                <a:gd name="T39" fmla="*/ 42 h 81"/>
                <a:gd name="T40" fmla="*/ 83 w 88"/>
                <a:gd name="T41" fmla="*/ 46 h 81"/>
                <a:gd name="T42" fmla="*/ 80 w 88"/>
                <a:gd name="T43" fmla="*/ 49 h 81"/>
                <a:gd name="T44" fmla="*/ 48 w 88"/>
                <a:gd name="T45" fmla="*/ 49 h 81"/>
                <a:gd name="T46" fmla="*/ 48 w 88"/>
                <a:gd name="T47" fmla="*/ 74 h 81"/>
                <a:gd name="T48" fmla="*/ 61 w 88"/>
                <a:gd name="T49" fmla="*/ 74 h 81"/>
                <a:gd name="T50" fmla="*/ 60 w 88"/>
                <a:gd name="T51" fmla="*/ 70 h 81"/>
                <a:gd name="T52" fmla="*/ 70 w 88"/>
                <a:gd name="T53" fmla="*/ 53 h 81"/>
                <a:gd name="T54" fmla="*/ 75 w 88"/>
                <a:gd name="T55" fmla="*/ 51 h 81"/>
                <a:gd name="T56" fmla="*/ 76 w 88"/>
                <a:gd name="T57" fmla="*/ 56 h 81"/>
                <a:gd name="T58" fmla="*/ 66 w 88"/>
                <a:gd name="T59" fmla="*/ 73 h 81"/>
                <a:gd name="T60" fmla="*/ 64 w 88"/>
                <a:gd name="T61" fmla="*/ 74 h 81"/>
                <a:gd name="T62" fmla="*/ 84 w 88"/>
                <a:gd name="T63" fmla="*/ 74 h 81"/>
                <a:gd name="T64" fmla="*/ 87 w 88"/>
                <a:gd name="T65" fmla="*/ 77 h 81"/>
                <a:gd name="T66" fmla="*/ 84 w 88"/>
                <a:gd name="T67" fmla="*/ 81 h 81"/>
                <a:gd name="T68" fmla="*/ 6 w 88"/>
                <a:gd name="T69" fmla="*/ 81 h 81"/>
                <a:gd name="T70" fmla="*/ 2 w 88"/>
                <a:gd name="T71" fmla="*/ 77 h 81"/>
                <a:gd name="T72" fmla="*/ 6 w 88"/>
                <a:gd name="T73" fmla="*/ 74 h 81"/>
                <a:gd name="T74" fmla="*/ 40 w 88"/>
                <a:gd name="T75" fmla="*/ 74 h 81"/>
                <a:gd name="T76" fmla="*/ 40 w 88"/>
                <a:gd name="T77" fmla="*/ 49 h 81"/>
                <a:gd name="T78" fmla="*/ 9 w 88"/>
                <a:gd name="T79" fmla="*/ 49 h 81"/>
                <a:gd name="T80" fmla="*/ 6 w 88"/>
                <a:gd name="T81" fmla="*/ 46 h 81"/>
                <a:gd name="T82" fmla="*/ 9 w 88"/>
                <a:gd name="T83" fmla="*/ 42 h 81"/>
                <a:gd name="T84" fmla="*/ 40 w 88"/>
                <a:gd name="T85" fmla="*/ 42 h 81"/>
                <a:gd name="T86" fmla="*/ 40 w 88"/>
                <a:gd name="T87" fmla="*/ 31 h 81"/>
                <a:gd name="T88" fmla="*/ 21 w 88"/>
                <a:gd name="T89" fmla="*/ 31 h 81"/>
                <a:gd name="T90" fmla="*/ 18 w 88"/>
                <a:gd name="T91" fmla="*/ 28 h 81"/>
                <a:gd name="T92" fmla="*/ 21 w 88"/>
                <a:gd name="T93" fmla="*/ 25 h 81"/>
                <a:gd name="T94" fmla="*/ 20 w 88"/>
                <a:gd name="T95" fmla="*/ 54 h 81"/>
                <a:gd name="T96" fmla="*/ 27 w 88"/>
                <a:gd name="T97" fmla="*/ 67 h 81"/>
                <a:gd name="T98" fmla="*/ 26 w 88"/>
                <a:gd name="T99" fmla="*/ 72 h 81"/>
                <a:gd name="T100" fmla="*/ 21 w 88"/>
                <a:gd name="T101" fmla="*/ 71 h 81"/>
                <a:gd name="T102" fmla="*/ 14 w 88"/>
                <a:gd name="T103" fmla="*/ 57 h 81"/>
                <a:gd name="T104" fmla="*/ 14 w 88"/>
                <a:gd name="T105" fmla="*/ 53 h 81"/>
                <a:gd name="T106" fmla="*/ 20 w 88"/>
                <a:gd name="T107" fmla="*/ 54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8" h="81">
                  <a:moveTo>
                    <a:pt x="43" y="0"/>
                  </a:moveTo>
                  <a:cubicBezTo>
                    <a:pt x="44" y="0"/>
                    <a:pt x="47" y="1"/>
                    <a:pt x="51" y="4"/>
                  </a:cubicBezTo>
                  <a:cubicBezTo>
                    <a:pt x="61" y="12"/>
                    <a:pt x="72" y="18"/>
                    <a:pt x="84" y="22"/>
                  </a:cubicBezTo>
                  <a:cubicBezTo>
                    <a:pt x="87" y="23"/>
                    <a:pt x="88" y="25"/>
                    <a:pt x="87" y="28"/>
                  </a:cubicBezTo>
                  <a:cubicBezTo>
                    <a:pt x="86" y="30"/>
                    <a:pt x="85" y="30"/>
                    <a:pt x="82" y="29"/>
                  </a:cubicBezTo>
                  <a:cubicBezTo>
                    <a:pt x="70" y="25"/>
                    <a:pt x="59" y="19"/>
                    <a:pt x="49" y="12"/>
                  </a:cubicBezTo>
                  <a:cubicBezTo>
                    <a:pt x="46" y="10"/>
                    <a:pt x="44" y="8"/>
                    <a:pt x="43" y="8"/>
                  </a:cubicBezTo>
                  <a:cubicBezTo>
                    <a:pt x="43" y="8"/>
                    <a:pt x="41" y="9"/>
                    <a:pt x="38" y="11"/>
                  </a:cubicBezTo>
                  <a:cubicBezTo>
                    <a:pt x="28" y="19"/>
                    <a:pt x="18" y="25"/>
                    <a:pt x="6" y="30"/>
                  </a:cubicBezTo>
                  <a:cubicBezTo>
                    <a:pt x="4" y="31"/>
                    <a:pt x="2" y="30"/>
                    <a:pt x="1" y="28"/>
                  </a:cubicBezTo>
                  <a:cubicBezTo>
                    <a:pt x="0" y="26"/>
                    <a:pt x="1" y="24"/>
                    <a:pt x="3" y="23"/>
                  </a:cubicBezTo>
                  <a:cubicBezTo>
                    <a:pt x="15" y="19"/>
                    <a:pt x="26" y="13"/>
                    <a:pt x="35" y="5"/>
                  </a:cubicBezTo>
                  <a:cubicBezTo>
                    <a:pt x="39" y="2"/>
                    <a:pt x="42" y="0"/>
                    <a:pt x="43" y="0"/>
                  </a:cubicBezTo>
                  <a:close/>
                  <a:moveTo>
                    <a:pt x="21" y="25"/>
                  </a:moveTo>
                  <a:cubicBezTo>
                    <a:pt x="68" y="25"/>
                    <a:pt x="68" y="25"/>
                    <a:pt x="68" y="25"/>
                  </a:cubicBezTo>
                  <a:cubicBezTo>
                    <a:pt x="70" y="25"/>
                    <a:pt x="71" y="26"/>
                    <a:pt x="71" y="28"/>
                  </a:cubicBezTo>
                  <a:cubicBezTo>
                    <a:pt x="71" y="30"/>
                    <a:pt x="70" y="31"/>
                    <a:pt x="6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80" y="42"/>
                    <a:pt x="80" y="42"/>
                    <a:pt x="80" y="42"/>
                  </a:cubicBezTo>
                  <a:cubicBezTo>
                    <a:pt x="82" y="42"/>
                    <a:pt x="83" y="43"/>
                    <a:pt x="83" y="46"/>
                  </a:cubicBezTo>
                  <a:cubicBezTo>
                    <a:pt x="83" y="48"/>
                    <a:pt x="82" y="49"/>
                    <a:pt x="80" y="49"/>
                  </a:cubicBezTo>
                  <a:cubicBezTo>
                    <a:pt x="48" y="49"/>
                    <a:pt x="48" y="49"/>
                    <a:pt x="48" y="49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59" y="73"/>
                    <a:pt x="59" y="72"/>
                    <a:pt x="60" y="70"/>
                  </a:cubicBezTo>
                  <a:cubicBezTo>
                    <a:pt x="64" y="64"/>
                    <a:pt x="67" y="59"/>
                    <a:pt x="70" y="53"/>
                  </a:cubicBezTo>
                  <a:cubicBezTo>
                    <a:pt x="71" y="51"/>
                    <a:pt x="73" y="50"/>
                    <a:pt x="75" y="51"/>
                  </a:cubicBezTo>
                  <a:cubicBezTo>
                    <a:pt x="76" y="52"/>
                    <a:pt x="77" y="54"/>
                    <a:pt x="76" y="56"/>
                  </a:cubicBezTo>
                  <a:cubicBezTo>
                    <a:pt x="72" y="65"/>
                    <a:pt x="69" y="70"/>
                    <a:pt x="66" y="73"/>
                  </a:cubicBezTo>
                  <a:cubicBezTo>
                    <a:pt x="65" y="74"/>
                    <a:pt x="65" y="74"/>
                    <a:pt x="64" y="74"/>
                  </a:cubicBezTo>
                  <a:cubicBezTo>
                    <a:pt x="84" y="74"/>
                    <a:pt x="84" y="74"/>
                    <a:pt x="84" y="74"/>
                  </a:cubicBezTo>
                  <a:cubicBezTo>
                    <a:pt x="86" y="74"/>
                    <a:pt x="87" y="75"/>
                    <a:pt x="87" y="77"/>
                  </a:cubicBezTo>
                  <a:cubicBezTo>
                    <a:pt x="87" y="79"/>
                    <a:pt x="86" y="81"/>
                    <a:pt x="84" y="81"/>
                  </a:cubicBezTo>
                  <a:cubicBezTo>
                    <a:pt x="6" y="81"/>
                    <a:pt x="6" y="81"/>
                    <a:pt x="6" y="81"/>
                  </a:cubicBezTo>
                  <a:cubicBezTo>
                    <a:pt x="3" y="81"/>
                    <a:pt x="2" y="79"/>
                    <a:pt x="2" y="77"/>
                  </a:cubicBezTo>
                  <a:cubicBezTo>
                    <a:pt x="2" y="75"/>
                    <a:pt x="3" y="74"/>
                    <a:pt x="6" y="74"/>
                  </a:cubicBezTo>
                  <a:cubicBezTo>
                    <a:pt x="40" y="74"/>
                    <a:pt x="40" y="74"/>
                    <a:pt x="40" y="74"/>
                  </a:cubicBezTo>
                  <a:cubicBezTo>
                    <a:pt x="40" y="49"/>
                    <a:pt x="40" y="49"/>
                    <a:pt x="40" y="49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7" y="49"/>
                    <a:pt x="6" y="48"/>
                    <a:pt x="6" y="46"/>
                  </a:cubicBezTo>
                  <a:cubicBezTo>
                    <a:pt x="6" y="43"/>
                    <a:pt x="7" y="42"/>
                    <a:pt x="9" y="42"/>
                  </a:cubicBezTo>
                  <a:cubicBezTo>
                    <a:pt x="40" y="42"/>
                    <a:pt x="40" y="42"/>
                    <a:pt x="40" y="42"/>
                  </a:cubicBezTo>
                  <a:cubicBezTo>
                    <a:pt x="40" y="31"/>
                    <a:pt x="40" y="31"/>
                    <a:pt x="40" y="31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19" y="31"/>
                    <a:pt x="18" y="30"/>
                    <a:pt x="18" y="28"/>
                  </a:cubicBezTo>
                  <a:cubicBezTo>
                    <a:pt x="18" y="26"/>
                    <a:pt x="19" y="25"/>
                    <a:pt x="21" y="25"/>
                  </a:cubicBezTo>
                  <a:close/>
                  <a:moveTo>
                    <a:pt x="20" y="54"/>
                  </a:moveTo>
                  <a:cubicBezTo>
                    <a:pt x="23" y="58"/>
                    <a:pt x="25" y="63"/>
                    <a:pt x="27" y="67"/>
                  </a:cubicBezTo>
                  <a:cubicBezTo>
                    <a:pt x="28" y="69"/>
                    <a:pt x="28" y="71"/>
                    <a:pt x="26" y="72"/>
                  </a:cubicBezTo>
                  <a:cubicBezTo>
                    <a:pt x="24" y="73"/>
                    <a:pt x="23" y="73"/>
                    <a:pt x="21" y="71"/>
                  </a:cubicBezTo>
                  <a:cubicBezTo>
                    <a:pt x="19" y="67"/>
                    <a:pt x="17" y="62"/>
                    <a:pt x="14" y="57"/>
                  </a:cubicBezTo>
                  <a:cubicBezTo>
                    <a:pt x="12" y="55"/>
                    <a:pt x="13" y="54"/>
                    <a:pt x="14" y="53"/>
                  </a:cubicBezTo>
                  <a:cubicBezTo>
                    <a:pt x="16" y="52"/>
                    <a:pt x="18" y="52"/>
                    <a:pt x="20" y="54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" name="Freeform 9">
              <a:extLst>
                <a:ext uri="{FF2B5EF4-FFF2-40B4-BE49-F238E27FC236}">
                  <a16:creationId xmlns:a16="http://schemas.microsoft.com/office/drawing/2014/main" id="{3B3DED73-D299-40C6-AF30-AF2FA04656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68400" y="895350"/>
              <a:ext cx="136525" cy="139700"/>
            </a:xfrm>
            <a:custGeom>
              <a:avLst/>
              <a:gdLst>
                <a:gd name="T0" fmla="*/ 39 w 83"/>
                <a:gd name="T1" fmla="*/ 1 h 85"/>
                <a:gd name="T2" fmla="*/ 39 w 83"/>
                <a:gd name="T3" fmla="*/ 7 h 85"/>
                <a:gd name="T4" fmla="*/ 0 w 83"/>
                <a:gd name="T5" fmla="*/ 4 h 85"/>
                <a:gd name="T6" fmla="*/ 6 w 83"/>
                <a:gd name="T7" fmla="*/ 35 h 85"/>
                <a:gd name="T8" fmla="*/ 42 w 83"/>
                <a:gd name="T9" fmla="*/ 41 h 85"/>
                <a:gd name="T10" fmla="*/ 28 w 83"/>
                <a:gd name="T11" fmla="*/ 80 h 85"/>
                <a:gd name="T12" fmla="*/ 30 w 83"/>
                <a:gd name="T13" fmla="*/ 74 h 85"/>
                <a:gd name="T14" fmla="*/ 36 w 83"/>
                <a:gd name="T15" fmla="*/ 42 h 85"/>
                <a:gd name="T16" fmla="*/ 8 w 83"/>
                <a:gd name="T17" fmla="*/ 40 h 85"/>
                <a:gd name="T18" fmla="*/ 6 w 83"/>
                <a:gd name="T19" fmla="*/ 79 h 85"/>
                <a:gd name="T20" fmla="*/ 0 w 83"/>
                <a:gd name="T21" fmla="*/ 79 h 85"/>
                <a:gd name="T22" fmla="*/ 6 w 83"/>
                <a:gd name="T23" fmla="*/ 35 h 85"/>
                <a:gd name="T24" fmla="*/ 32 w 83"/>
                <a:gd name="T25" fmla="*/ 11 h 85"/>
                <a:gd name="T26" fmla="*/ 37 w 83"/>
                <a:gd name="T27" fmla="*/ 23 h 85"/>
                <a:gd name="T28" fmla="*/ 9 w 83"/>
                <a:gd name="T29" fmla="*/ 29 h 85"/>
                <a:gd name="T30" fmla="*/ 4 w 83"/>
                <a:gd name="T31" fmla="*/ 17 h 85"/>
                <a:gd name="T32" fmla="*/ 10 w 83"/>
                <a:gd name="T33" fmla="*/ 56 h 85"/>
                <a:gd name="T34" fmla="*/ 23 w 83"/>
                <a:gd name="T35" fmla="*/ 53 h 85"/>
                <a:gd name="T36" fmla="*/ 31 w 83"/>
                <a:gd name="T37" fmla="*/ 41 h 85"/>
                <a:gd name="T38" fmla="*/ 31 w 83"/>
                <a:gd name="T39" fmla="*/ 48 h 85"/>
                <a:gd name="T40" fmla="*/ 32 w 83"/>
                <a:gd name="T41" fmla="*/ 56 h 85"/>
                <a:gd name="T42" fmla="*/ 32 w 83"/>
                <a:gd name="T43" fmla="*/ 61 h 85"/>
                <a:gd name="T44" fmla="*/ 24 w 83"/>
                <a:gd name="T45" fmla="*/ 76 h 85"/>
                <a:gd name="T46" fmla="*/ 18 w 83"/>
                <a:gd name="T47" fmla="*/ 76 h 85"/>
                <a:gd name="T48" fmla="*/ 10 w 83"/>
                <a:gd name="T49" fmla="*/ 61 h 85"/>
                <a:gd name="T50" fmla="*/ 10 w 83"/>
                <a:gd name="T51" fmla="*/ 56 h 85"/>
                <a:gd name="T52" fmla="*/ 17 w 83"/>
                <a:gd name="T53" fmla="*/ 46 h 85"/>
                <a:gd name="T54" fmla="*/ 17 w 83"/>
                <a:gd name="T55" fmla="*/ 55 h 85"/>
                <a:gd name="T56" fmla="*/ 11 w 83"/>
                <a:gd name="T57" fmla="*/ 50 h 85"/>
                <a:gd name="T58" fmla="*/ 11 w 83"/>
                <a:gd name="T59" fmla="*/ 42 h 85"/>
                <a:gd name="T60" fmla="*/ 30 w 83"/>
                <a:gd name="T61" fmla="*/ 17 h 85"/>
                <a:gd name="T62" fmla="*/ 10 w 83"/>
                <a:gd name="T63" fmla="*/ 19 h 85"/>
                <a:gd name="T64" fmla="*/ 12 w 83"/>
                <a:gd name="T65" fmla="*/ 23 h 85"/>
                <a:gd name="T66" fmla="*/ 31 w 83"/>
                <a:gd name="T67" fmla="*/ 21 h 85"/>
                <a:gd name="T68" fmla="*/ 30 w 83"/>
                <a:gd name="T69" fmla="*/ 17 h 85"/>
                <a:gd name="T70" fmla="*/ 66 w 83"/>
                <a:gd name="T71" fmla="*/ 11 h 85"/>
                <a:gd name="T72" fmla="*/ 79 w 83"/>
                <a:gd name="T73" fmla="*/ 16 h 85"/>
                <a:gd name="T74" fmla="*/ 75 w 83"/>
                <a:gd name="T75" fmla="*/ 54 h 85"/>
                <a:gd name="T76" fmla="*/ 66 w 83"/>
                <a:gd name="T77" fmla="*/ 73 h 85"/>
                <a:gd name="T78" fmla="*/ 71 w 83"/>
                <a:gd name="T79" fmla="*/ 63 h 85"/>
                <a:gd name="T80" fmla="*/ 77 w 83"/>
                <a:gd name="T81" fmla="*/ 61 h 85"/>
                <a:gd name="T82" fmla="*/ 81 w 83"/>
                <a:gd name="T83" fmla="*/ 84 h 85"/>
                <a:gd name="T84" fmla="*/ 75 w 83"/>
                <a:gd name="T85" fmla="*/ 77 h 85"/>
                <a:gd name="T86" fmla="*/ 44 w 83"/>
                <a:gd name="T87" fmla="*/ 78 h 85"/>
                <a:gd name="T88" fmla="*/ 59 w 83"/>
                <a:gd name="T89" fmla="*/ 73 h 85"/>
                <a:gd name="T90" fmla="*/ 52 w 83"/>
                <a:gd name="T91" fmla="*/ 54 h 85"/>
                <a:gd name="T92" fmla="*/ 46 w 83"/>
                <a:gd name="T93" fmla="*/ 16 h 85"/>
                <a:gd name="T94" fmla="*/ 59 w 83"/>
                <a:gd name="T95" fmla="*/ 11 h 85"/>
                <a:gd name="T96" fmla="*/ 62 w 83"/>
                <a:gd name="T97" fmla="*/ 0 h 85"/>
                <a:gd name="T98" fmla="*/ 55 w 83"/>
                <a:gd name="T99" fmla="*/ 17 h 85"/>
                <a:gd name="T100" fmla="*/ 52 w 83"/>
                <a:gd name="T101" fmla="*/ 46 h 85"/>
                <a:gd name="T102" fmla="*/ 59 w 83"/>
                <a:gd name="T103" fmla="*/ 47 h 85"/>
                <a:gd name="T104" fmla="*/ 55 w 83"/>
                <a:gd name="T105" fmla="*/ 17 h 85"/>
                <a:gd name="T106" fmla="*/ 66 w 83"/>
                <a:gd name="T107" fmla="*/ 17 h 85"/>
                <a:gd name="T108" fmla="*/ 71 w 83"/>
                <a:gd name="T109" fmla="*/ 47 h 85"/>
                <a:gd name="T110" fmla="*/ 73 w 83"/>
                <a:gd name="T111" fmla="*/ 2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3" h="85">
                  <a:moveTo>
                    <a:pt x="4" y="1"/>
                  </a:moveTo>
                  <a:cubicBezTo>
                    <a:pt x="39" y="1"/>
                    <a:pt x="39" y="1"/>
                    <a:pt x="39" y="1"/>
                  </a:cubicBezTo>
                  <a:cubicBezTo>
                    <a:pt x="41" y="1"/>
                    <a:pt x="42" y="2"/>
                    <a:pt x="42" y="4"/>
                  </a:cubicBezTo>
                  <a:cubicBezTo>
                    <a:pt x="42" y="6"/>
                    <a:pt x="41" y="7"/>
                    <a:pt x="39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1" y="7"/>
                    <a:pt x="0" y="6"/>
                    <a:pt x="0" y="4"/>
                  </a:cubicBezTo>
                  <a:cubicBezTo>
                    <a:pt x="0" y="2"/>
                    <a:pt x="1" y="1"/>
                    <a:pt x="4" y="1"/>
                  </a:cubicBezTo>
                  <a:close/>
                  <a:moveTo>
                    <a:pt x="6" y="35"/>
                  </a:moveTo>
                  <a:cubicBezTo>
                    <a:pt x="35" y="35"/>
                    <a:pt x="35" y="35"/>
                    <a:pt x="35" y="35"/>
                  </a:cubicBezTo>
                  <a:cubicBezTo>
                    <a:pt x="40" y="35"/>
                    <a:pt x="43" y="37"/>
                    <a:pt x="42" y="41"/>
                  </a:cubicBezTo>
                  <a:cubicBezTo>
                    <a:pt x="42" y="74"/>
                    <a:pt x="42" y="74"/>
                    <a:pt x="42" y="74"/>
                  </a:cubicBezTo>
                  <a:cubicBezTo>
                    <a:pt x="42" y="81"/>
                    <a:pt x="37" y="82"/>
                    <a:pt x="28" y="80"/>
                  </a:cubicBezTo>
                  <a:cubicBezTo>
                    <a:pt x="26" y="79"/>
                    <a:pt x="26" y="78"/>
                    <a:pt x="26" y="76"/>
                  </a:cubicBezTo>
                  <a:cubicBezTo>
                    <a:pt x="27" y="74"/>
                    <a:pt x="28" y="74"/>
                    <a:pt x="30" y="74"/>
                  </a:cubicBezTo>
                  <a:cubicBezTo>
                    <a:pt x="34" y="76"/>
                    <a:pt x="36" y="76"/>
                    <a:pt x="36" y="73"/>
                  </a:cubicBezTo>
                  <a:cubicBezTo>
                    <a:pt x="36" y="42"/>
                    <a:pt x="36" y="42"/>
                    <a:pt x="36" y="42"/>
                  </a:cubicBezTo>
                  <a:cubicBezTo>
                    <a:pt x="36" y="41"/>
                    <a:pt x="36" y="40"/>
                    <a:pt x="35" y="40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6" y="40"/>
                    <a:pt x="5" y="41"/>
                    <a:pt x="6" y="43"/>
                  </a:cubicBezTo>
                  <a:cubicBezTo>
                    <a:pt x="6" y="79"/>
                    <a:pt x="6" y="79"/>
                    <a:pt x="6" y="79"/>
                  </a:cubicBezTo>
                  <a:cubicBezTo>
                    <a:pt x="5" y="81"/>
                    <a:pt x="4" y="82"/>
                    <a:pt x="3" y="82"/>
                  </a:cubicBezTo>
                  <a:cubicBezTo>
                    <a:pt x="1" y="82"/>
                    <a:pt x="0" y="81"/>
                    <a:pt x="0" y="79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37"/>
                    <a:pt x="2" y="35"/>
                    <a:pt x="6" y="35"/>
                  </a:cubicBezTo>
                  <a:close/>
                  <a:moveTo>
                    <a:pt x="9" y="11"/>
                  </a:moveTo>
                  <a:cubicBezTo>
                    <a:pt x="32" y="11"/>
                    <a:pt x="32" y="11"/>
                    <a:pt x="32" y="11"/>
                  </a:cubicBezTo>
                  <a:cubicBezTo>
                    <a:pt x="36" y="11"/>
                    <a:pt x="38" y="13"/>
                    <a:pt x="37" y="17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8" y="28"/>
                    <a:pt x="36" y="30"/>
                    <a:pt x="32" y="29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5" y="29"/>
                    <a:pt x="4" y="27"/>
                    <a:pt x="4" y="23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3" y="13"/>
                    <a:pt x="5" y="11"/>
                    <a:pt x="9" y="11"/>
                  </a:cubicBezTo>
                  <a:close/>
                  <a:moveTo>
                    <a:pt x="10" y="56"/>
                  </a:moveTo>
                  <a:cubicBezTo>
                    <a:pt x="22" y="56"/>
                    <a:pt x="22" y="56"/>
                    <a:pt x="22" y="56"/>
                  </a:cubicBezTo>
                  <a:cubicBezTo>
                    <a:pt x="22" y="55"/>
                    <a:pt x="22" y="54"/>
                    <a:pt x="23" y="53"/>
                  </a:cubicBezTo>
                  <a:cubicBezTo>
                    <a:pt x="24" y="50"/>
                    <a:pt x="26" y="46"/>
                    <a:pt x="27" y="43"/>
                  </a:cubicBezTo>
                  <a:cubicBezTo>
                    <a:pt x="28" y="41"/>
                    <a:pt x="29" y="41"/>
                    <a:pt x="31" y="41"/>
                  </a:cubicBezTo>
                  <a:cubicBezTo>
                    <a:pt x="33" y="42"/>
                    <a:pt x="33" y="44"/>
                    <a:pt x="33" y="46"/>
                  </a:cubicBezTo>
                  <a:cubicBezTo>
                    <a:pt x="32" y="47"/>
                    <a:pt x="32" y="47"/>
                    <a:pt x="31" y="48"/>
                  </a:cubicBezTo>
                  <a:cubicBezTo>
                    <a:pt x="30" y="52"/>
                    <a:pt x="29" y="54"/>
                    <a:pt x="28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3" y="56"/>
                    <a:pt x="34" y="57"/>
                    <a:pt x="34" y="59"/>
                  </a:cubicBezTo>
                  <a:cubicBezTo>
                    <a:pt x="34" y="61"/>
                    <a:pt x="33" y="61"/>
                    <a:pt x="32" y="61"/>
                  </a:cubicBezTo>
                  <a:cubicBezTo>
                    <a:pt x="24" y="61"/>
                    <a:pt x="24" y="61"/>
                    <a:pt x="24" y="61"/>
                  </a:cubicBezTo>
                  <a:cubicBezTo>
                    <a:pt x="24" y="76"/>
                    <a:pt x="24" y="76"/>
                    <a:pt x="24" y="76"/>
                  </a:cubicBezTo>
                  <a:cubicBezTo>
                    <a:pt x="23" y="77"/>
                    <a:pt x="22" y="78"/>
                    <a:pt x="20" y="78"/>
                  </a:cubicBezTo>
                  <a:cubicBezTo>
                    <a:pt x="19" y="78"/>
                    <a:pt x="18" y="77"/>
                    <a:pt x="18" y="76"/>
                  </a:cubicBezTo>
                  <a:cubicBezTo>
                    <a:pt x="18" y="61"/>
                    <a:pt x="18" y="61"/>
                    <a:pt x="18" y="61"/>
                  </a:cubicBezTo>
                  <a:cubicBezTo>
                    <a:pt x="10" y="61"/>
                    <a:pt x="10" y="61"/>
                    <a:pt x="10" y="61"/>
                  </a:cubicBezTo>
                  <a:cubicBezTo>
                    <a:pt x="8" y="61"/>
                    <a:pt x="7" y="61"/>
                    <a:pt x="7" y="59"/>
                  </a:cubicBezTo>
                  <a:cubicBezTo>
                    <a:pt x="7" y="57"/>
                    <a:pt x="8" y="56"/>
                    <a:pt x="10" y="56"/>
                  </a:cubicBezTo>
                  <a:close/>
                  <a:moveTo>
                    <a:pt x="15" y="43"/>
                  </a:moveTo>
                  <a:cubicBezTo>
                    <a:pt x="15" y="44"/>
                    <a:pt x="16" y="45"/>
                    <a:pt x="17" y="46"/>
                  </a:cubicBezTo>
                  <a:cubicBezTo>
                    <a:pt x="17" y="48"/>
                    <a:pt x="18" y="49"/>
                    <a:pt x="19" y="51"/>
                  </a:cubicBezTo>
                  <a:cubicBezTo>
                    <a:pt x="19" y="53"/>
                    <a:pt x="19" y="54"/>
                    <a:pt x="17" y="55"/>
                  </a:cubicBezTo>
                  <a:cubicBezTo>
                    <a:pt x="15" y="56"/>
                    <a:pt x="13" y="55"/>
                    <a:pt x="13" y="53"/>
                  </a:cubicBezTo>
                  <a:cubicBezTo>
                    <a:pt x="12" y="52"/>
                    <a:pt x="12" y="51"/>
                    <a:pt x="11" y="50"/>
                  </a:cubicBezTo>
                  <a:cubicBezTo>
                    <a:pt x="11" y="48"/>
                    <a:pt x="10" y="47"/>
                    <a:pt x="10" y="46"/>
                  </a:cubicBezTo>
                  <a:cubicBezTo>
                    <a:pt x="9" y="44"/>
                    <a:pt x="9" y="43"/>
                    <a:pt x="11" y="42"/>
                  </a:cubicBezTo>
                  <a:cubicBezTo>
                    <a:pt x="13" y="41"/>
                    <a:pt x="14" y="41"/>
                    <a:pt x="15" y="43"/>
                  </a:cubicBezTo>
                  <a:close/>
                  <a:moveTo>
                    <a:pt x="30" y="17"/>
                  </a:moveTo>
                  <a:cubicBezTo>
                    <a:pt x="11" y="17"/>
                    <a:pt x="11" y="17"/>
                    <a:pt x="11" y="17"/>
                  </a:cubicBezTo>
                  <a:cubicBezTo>
                    <a:pt x="10" y="17"/>
                    <a:pt x="9" y="18"/>
                    <a:pt x="10" y="19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10" y="23"/>
                    <a:pt x="10" y="23"/>
                    <a:pt x="12" y="23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31" y="23"/>
                    <a:pt x="31" y="23"/>
                    <a:pt x="31" y="21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1" y="18"/>
                    <a:pt x="31" y="17"/>
                    <a:pt x="30" y="17"/>
                  </a:cubicBezTo>
                  <a:close/>
                  <a:moveTo>
                    <a:pt x="66" y="3"/>
                  </a:moveTo>
                  <a:cubicBezTo>
                    <a:pt x="66" y="11"/>
                    <a:pt x="66" y="11"/>
                    <a:pt x="66" y="11"/>
                  </a:cubicBezTo>
                  <a:cubicBezTo>
                    <a:pt x="74" y="11"/>
                    <a:pt x="74" y="11"/>
                    <a:pt x="74" y="11"/>
                  </a:cubicBezTo>
                  <a:cubicBezTo>
                    <a:pt x="78" y="11"/>
                    <a:pt x="79" y="12"/>
                    <a:pt x="79" y="16"/>
                  </a:cubicBezTo>
                  <a:cubicBezTo>
                    <a:pt x="79" y="48"/>
                    <a:pt x="79" y="48"/>
                    <a:pt x="79" y="48"/>
                  </a:cubicBezTo>
                  <a:cubicBezTo>
                    <a:pt x="79" y="52"/>
                    <a:pt x="78" y="54"/>
                    <a:pt x="75" y="54"/>
                  </a:cubicBezTo>
                  <a:cubicBezTo>
                    <a:pt x="66" y="54"/>
                    <a:pt x="66" y="54"/>
                    <a:pt x="66" y="54"/>
                  </a:cubicBezTo>
                  <a:cubicBezTo>
                    <a:pt x="66" y="73"/>
                    <a:pt x="66" y="73"/>
                    <a:pt x="66" y="73"/>
                  </a:cubicBezTo>
                  <a:cubicBezTo>
                    <a:pt x="74" y="72"/>
                    <a:pt x="74" y="72"/>
                    <a:pt x="74" y="72"/>
                  </a:cubicBezTo>
                  <a:cubicBezTo>
                    <a:pt x="72" y="67"/>
                    <a:pt x="71" y="64"/>
                    <a:pt x="71" y="63"/>
                  </a:cubicBezTo>
                  <a:cubicBezTo>
                    <a:pt x="70" y="61"/>
                    <a:pt x="71" y="60"/>
                    <a:pt x="73" y="59"/>
                  </a:cubicBezTo>
                  <a:cubicBezTo>
                    <a:pt x="75" y="59"/>
                    <a:pt x="76" y="59"/>
                    <a:pt x="77" y="61"/>
                  </a:cubicBezTo>
                  <a:cubicBezTo>
                    <a:pt x="80" y="69"/>
                    <a:pt x="82" y="76"/>
                    <a:pt x="83" y="81"/>
                  </a:cubicBezTo>
                  <a:cubicBezTo>
                    <a:pt x="83" y="83"/>
                    <a:pt x="83" y="84"/>
                    <a:pt x="81" y="84"/>
                  </a:cubicBezTo>
                  <a:cubicBezTo>
                    <a:pt x="79" y="85"/>
                    <a:pt x="77" y="84"/>
                    <a:pt x="77" y="82"/>
                  </a:cubicBezTo>
                  <a:cubicBezTo>
                    <a:pt x="77" y="82"/>
                    <a:pt x="76" y="80"/>
                    <a:pt x="75" y="77"/>
                  </a:cubicBezTo>
                  <a:cubicBezTo>
                    <a:pt x="58" y="79"/>
                    <a:pt x="48" y="81"/>
                    <a:pt x="48" y="81"/>
                  </a:cubicBezTo>
                  <a:cubicBezTo>
                    <a:pt x="46" y="81"/>
                    <a:pt x="44" y="80"/>
                    <a:pt x="44" y="78"/>
                  </a:cubicBezTo>
                  <a:cubicBezTo>
                    <a:pt x="44" y="76"/>
                    <a:pt x="45" y="75"/>
                    <a:pt x="47" y="74"/>
                  </a:cubicBezTo>
                  <a:cubicBezTo>
                    <a:pt x="48" y="74"/>
                    <a:pt x="52" y="74"/>
                    <a:pt x="59" y="73"/>
                  </a:cubicBezTo>
                  <a:cubicBezTo>
                    <a:pt x="59" y="54"/>
                    <a:pt x="59" y="54"/>
                    <a:pt x="59" y="54"/>
                  </a:cubicBezTo>
                  <a:cubicBezTo>
                    <a:pt x="52" y="54"/>
                    <a:pt x="52" y="54"/>
                    <a:pt x="52" y="54"/>
                  </a:cubicBezTo>
                  <a:cubicBezTo>
                    <a:pt x="48" y="54"/>
                    <a:pt x="45" y="52"/>
                    <a:pt x="46" y="49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6" y="12"/>
                    <a:pt x="48" y="11"/>
                    <a:pt x="52" y="11"/>
                  </a:cubicBezTo>
                  <a:cubicBezTo>
                    <a:pt x="59" y="11"/>
                    <a:pt x="59" y="11"/>
                    <a:pt x="59" y="11"/>
                  </a:cubicBezTo>
                  <a:cubicBezTo>
                    <a:pt x="59" y="3"/>
                    <a:pt x="59" y="3"/>
                    <a:pt x="59" y="3"/>
                  </a:cubicBezTo>
                  <a:cubicBezTo>
                    <a:pt x="59" y="1"/>
                    <a:pt x="60" y="0"/>
                    <a:pt x="62" y="0"/>
                  </a:cubicBezTo>
                  <a:cubicBezTo>
                    <a:pt x="65" y="0"/>
                    <a:pt x="66" y="1"/>
                    <a:pt x="66" y="3"/>
                  </a:cubicBezTo>
                  <a:close/>
                  <a:moveTo>
                    <a:pt x="55" y="17"/>
                  </a:moveTo>
                  <a:cubicBezTo>
                    <a:pt x="53" y="17"/>
                    <a:pt x="52" y="18"/>
                    <a:pt x="52" y="20"/>
                  </a:cubicBezTo>
                  <a:cubicBezTo>
                    <a:pt x="52" y="46"/>
                    <a:pt x="52" y="46"/>
                    <a:pt x="52" y="46"/>
                  </a:cubicBezTo>
                  <a:cubicBezTo>
                    <a:pt x="52" y="47"/>
                    <a:pt x="53" y="48"/>
                    <a:pt x="54" y="47"/>
                  </a:cubicBezTo>
                  <a:cubicBezTo>
                    <a:pt x="59" y="47"/>
                    <a:pt x="59" y="47"/>
                    <a:pt x="59" y="47"/>
                  </a:cubicBezTo>
                  <a:cubicBezTo>
                    <a:pt x="59" y="17"/>
                    <a:pt x="59" y="17"/>
                    <a:pt x="59" y="17"/>
                  </a:cubicBezTo>
                  <a:lnTo>
                    <a:pt x="55" y="17"/>
                  </a:lnTo>
                  <a:close/>
                  <a:moveTo>
                    <a:pt x="71" y="17"/>
                  </a:moveTo>
                  <a:cubicBezTo>
                    <a:pt x="66" y="17"/>
                    <a:pt x="66" y="17"/>
                    <a:pt x="66" y="17"/>
                  </a:cubicBezTo>
                  <a:cubicBezTo>
                    <a:pt x="66" y="47"/>
                    <a:pt x="66" y="47"/>
                    <a:pt x="66" y="47"/>
                  </a:cubicBezTo>
                  <a:cubicBezTo>
                    <a:pt x="71" y="47"/>
                    <a:pt x="71" y="47"/>
                    <a:pt x="71" y="47"/>
                  </a:cubicBezTo>
                  <a:cubicBezTo>
                    <a:pt x="72" y="48"/>
                    <a:pt x="73" y="47"/>
                    <a:pt x="73" y="46"/>
                  </a:cubicBezTo>
                  <a:cubicBezTo>
                    <a:pt x="73" y="20"/>
                    <a:pt x="73" y="20"/>
                    <a:pt x="73" y="20"/>
                  </a:cubicBezTo>
                  <a:cubicBezTo>
                    <a:pt x="73" y="18"/>
                    <a:pt x="72" y="17"/>
                    <a:pt x="71" y="17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" name="Freeform 10">
              <a:extLst>
                <a:ext uri="{FF2B5EF4-FFF2-40B4-BE49-F238E27FC236}">
                  <a16:creationId xmlns:a16="http://schemas.microsoft.com/office/drawing/2014/main" id="{80185F3D-908A-47EC-8F9C-8377A6A464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76375" y="896938"/>
              <a:ext cx="144463" cy="136525"/>
            </a:xfrm>
            <a:custGeom>
              <a:avLst/>
              <a:gdLst>
                <a:gd name="T0" fmla="*/ 34 w 88"/>
                <a:gd name="T1" fmla="*/ 0 h 83"/>
                <a:gd name="T2" fmla="*/ 38 w 88"/>
                <a:gd name="T3" fmla="*/ 2 h 83"/>
                <a:gd name="T4" fmla="*/ 36 w 88"/>
                <a:gd name="T5" fmla="*/ 6 h 83"/>
                <a:gd name="T6" fmla="*/ 25 w 88"/>
                <a:gd name="T7" fmla="*/ 8 h 83"/>
                <a:gd name="T8" fmla="*/ 25 w 88"/>
                <a:gd name="T9" fmla="*/ 23 h 83"/>
                <a:gd name="T10" fmla="*/ 37 w 88"/>
                <a:gd name="T11" fmla="*/ 23 h 83"/>
                <a:gd name="T12" fmla="*/ 37 w 88"/>
                <a:gd name="T13" fmla="*/ 30 h 83"/>
                <a:gd name="T14" fmla="*/ 25 w 88"/>
                <a:gd name="T15" fmla="*/ 30 h 83"/>
                <a:gd name="T16" fmla="*/ 25 w 88"/>
                <a:gd name="T17" fmla="*/ 32 h 83"/>
                <a:gd name="T18" fmla="*/ 39 w 88"/>
                <a:gd name="T19" fmla="*/ 49 h 83"/>
                <a:gd name="T20" fmla="*/ 38 w 88"/>
                <a:gd name="T21" fmla="*/ 54 h 83"/>
                <a:gd name="T22" fmla="*/ 34 w 88"/>
                <a:gd name="T23" fmla="*/ 53 h 83"/>
                <a:gd name="T24" fmla="*/ 25 w 88"/>
                <a:gd name="T25" fmla="*/ 41 h 83"/>
                <a:gd name="T26" fmla="*/ 25 w 88"/>
                <a:gd name="T27" fmla="*/ 79 h 83"/>
                <a:gd name="T28" fmla="*/ 22 w 88"/>
                <a:gd name="T29" fmla="*/ 82 h 83"/>
                <a:gd name="T30" fmla="*/ 19 w 88"/>
                <a:gd name="T31" fmla="*/ 79 h 83"/>
                <a:gd name="T32" fmla="*/ 19 w 88"/>
                <a:gd name="T33" fmla="*/ 42 h 83"/>
                <a:gd name="T34" fmla="*/ 7 w 88"/>
                <a:gd name="T35" fmla="*/ 59 h 83"/>
                <a:gd name="T36" fmla="*/ 1 w 88"/>
                <a:gd name="T37" fmla="*/ 59 h 83"/>
                <a:gd name="T38" fmla="*/ 2 w 88"/>
                <a:gd name="T39" fmla="*/ 54 h 83"/>
                <a:gd name="T40" fmla="*/ 18 w 88"/>
                <a:gd name="T41" fmla="*/ 30 h 83"/>
                <a:gd name="T42" fmla="*/ 5 w 88"/>
                <a:gd name="T43" fmla="*/ 30 h 83"/>
                <a:gd name="T44" fmla="*/ 5 w 88"/>
                <a:gd name="T45" fmla="*/ 23 h 83"/>
                <a:gd name="T46" fmla="*/ 19 w 88"/>
                <a:gd name="T47" fmla="*/ 23 h 83"/>
                <a:gd name="T48" fmla="*/ 19 w 88"/>
                <a:gd name="T49" fmla="*/ 9 h 83"/>
                <a:gd name="T50" fmla="*/ 7 w 88"/>
                <a:gd name="T51" fmla="*/ 10 h 83"/>
                <a:gd name="T52" fmla="*/ 6 w 88"/>
                <a:gd name="T53" fmla="*/ 3 h 83"/>
                <a:gd name="T54" fmla="*/ 34 w 88"/>
                <a:gd name="T55" fmla="*/ 0 h 83"/>
                <a:gd name="T56" fmla="*/ 76 w 88"/>
                <a:gd name="T57" fmla="*/ 4 h 83"/>
                <a:gd name="T58" fmla="*/ 76 w 88"/>
                <a:gd name="T59" fmla="*/ 52 h 83"/>
                <a:gd name="T60" fmla="*/ 81 w 88"/>
                <a:gd name="T61" fmla="*/ 51 h 83"/>
                <a:gd name="T62" fmla="*/ 84 w 88"/>
                <a:gd name="T63" fmla="*/ 50 h 83"/>
                <a:gd name="T64" fmla="*/ 85 w 88"/>
                <a:gd name="T65" fmla="*/ 58 h 83"/>
                <a:gd name="T66" fmla="*/ 76 w 88"/>
                <a:gd name="T67" fmla="*/ 59 h 83"/>
                <a:gd name="T68" fmla="*/ 76 w 88"/>
                <a:gd name="T69" fmla="*/ 80 h 83"/>
                <a:gd name="T70" fmla="*/ 72 w 88"/>
                <a:gd name="T71" fmla="*/ 83 h 83"/>
                <a:gd name="T72" fmla="*/ 69 w 88"/>
                <a:gd name="T73" fmla="*/ 80 h 83"/>
                <a:gd name="T74" fmla="*/ 69 w 88"/>
                <a:gd name="T75" fmla="*/ 60 h 83"/>
                <a:gd name="T76" fmla="*/ 37 w 88"/>
                <a:gd name="T77" fmla="*/ 65 h 83"/>
                <a:gd name="T78" fmla="*/ 33 w 88"/>
                <a:gd name="T79" fmla="*/ 62 h 83"/>
                <a:gd name="T80" fmla="*/ 36 w 88"/>
                <a:gd name="T81" fmla="*/ 58 h 83"/>
                <a:gd name="T82" fmla="*/ 42 w 88"/>
                <a:gd name="T83" fmla="*/ 57 h 83"/>
                <a:gd name="T84" fmla="*/ 69 w 88"/>
                <a:gd name="T85" fmla="*/ 53 h 83"/>
                <a:gd name="T86" fmla="*/ 69 w 88"/>
                <a:gd name="T87" fmla="*/ 5 h 83"/>
                <a:gd name="T88" fmla="*/ 72 w 88"/>
                <a:gd name="T89" fmla="*/ 2 h 83"/>
                <a:gd name="T90" fmla="*/ 76 w 88"/>
                <a:gd name="T91" fmla="*/ 4 h 83"/>
                <a:gd name="T92" fmla="*/ 47 w 88"/>
                <a:gd name="T93" fmla="*/ 26 h 83"/>
                <a:gd name="T94" fmla="*/ 60 w 88"/>
                <a:gd name="T95" fmla="*/ 40 h 83"/>
                <a:gd name="T96" fmla="*/ 59 w 88"/>
                <a:gd name="T97" fmla="*/ 45 h 83"/>
                <a:gd name="T98" fmla="*/ 55 w 88"/>
                <a:gd name="T99" fmla="*/ 45 h 83"/>
                <a:gd name="T100" fmla="*/ 42 w 88"/>
                <a:gd name="T101" fmla="*/ 31 h 83"/>
                <a:gd name="T102" fmla="*/ 42 w 88"/>
                <a:gd name="T103" fmla="*/ 26 h 83"/>
                <a:gd name="T104" fmla="*/ 47 w 88"/>
                <a:gd name="T105" fmla="*/ 26 h 83"/>
                <a:gd name="T106" fmla="*/ 51 w 88"/>
                <a:gd name="T107" fmla="*/ 5 h 83"/>
                <a:gd name="T108" fmla="*/ 65 w 88"/>
                <a:gd name="T109" fmla="*/ 21 h 83"/>
                <a:gd name="T110" fmla="*/ 64 w 88"/>
                <a:gd name="T111" fmla="*/ 26 h 83"/>
                <a:gd name="T112" fmla="*/ 60 w 88"/>
                <a:gd name="T113" fmla="*/ 25 h 83"/>
                <a:gd name="T114" fmla="*/ 46 w 88"/>
                <a:gd name="T115" fmla="*/ 10 h 83"/>
                <a:gd name="T116" fmla="*/ 46 w 88"/>
                <a:gd name="T117" fmla="*/ 5 h 83"/>
                <a:gd name="T118" fmla="*/ 51 w 88"/>
                <a:gd name="T119" fmla="*/ 5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8" h="83">
                  <a:moveTo>
                    <a:pt x="34" y="0"/>
                  </a:moveTo>
                  <a:cubicBezTo>
                    <a:pt x="36" y="0"/>
                    <a:pt x="38" y="0"/>
                    <a:pt x="38" y="2"/>
                  </a:cubicBezTo>
                  <a:cubicBezTo>
                    <a:pt x="39" y="4"/>
                    <a:pt x="38" y="6"/>
                    <a:pt x="36" y="6"/>
                  </a:cubicBezTo>
                  <a:cubicBezTo>
                    <a:pt x="33" y="7"/>
                    <a:pt x="29" y="8"/>
                    <a:pt x="25" y="8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41" y="26"/>
                    <a:pt x="41" y="28"/>
                    <a:pt x="37" y="30"/>
                  </a:cubicBezTo>
                  <a:cubicBezTo>
                    <a:pt x="25" y="30"/>
                    <a:pt x="25" y="30"/>
                    <a:pt x="25" y="30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31" y="38"/>
                    <a:pt x="36" y="43"/>
                    <a:pt x="39" y="49"/>
                  </a:cubicBezTo>
                  <a:cubicBezTo>
                    <a:pt x="40" y="51"/>
                    <a:pt x="40" y="53"/>
                    <a:pt x="38" y="54"/>
                  </a:cubicBezTo>
                  <a:cubicBezTo>
                    <a:pt x="36" y="56"/>
                    <a:pt x="35" y="55"/>
                    <a:pt x="34" y="53"/>
                  </a:cubicBezTo>
                  <a:cubicBezTo>
                    <a:pt x="32" y="50"/>
                    <a:pt x="29" y="46"/>
                    <a:pt x="25" y="41"/>
                  </a:cubicBezTo>
                  <a:cubicBezTo>
                    <a:pt x="25" y="79"/>
                    <a:pt x="25" y="79"/>
                    <a:pt x="25" y="79"/>
                  </a:cubicBezTo>
                  <a:cubicBezTo>
                    <a:pt x="25" y="80"/>
                    <a:pt x="24" y="81"/>
                    <a:pt x="22" y="82"/>
                  </a:cubicBezTo>
                  <a:cubicBezTo>
                    <a:pt x="20" y="81"/>
                    <a:pt x="19" y="80"/>
                    <a:pt x="19" y="79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5" y="49"/>
                    <a:pt x="11" y="54"/>
                    <a:pt x="7" y="59"/>
                  </a:cubicBezTo>
                  <a:cubicBezTo>
                    <a:pt x="5" y="61"/>
                    <a:pt x="3" y="61"/>
                    <a:pt x="1" y="59"/>
                  </a:cubicBezTo>
                  <a:cubicBezTo>
                    <a:pt x="0" y="58"/>
                    <a:pt x="0" y="56"/>
                    <a:pt x="2" y="54"/>
                  </a:cubicBezTo>
                  <a:cubicBezTo>
                    <a:pt x="9" y="48"/>
                    <a:pt x="14" y="40"/>
                    <a:pt x="18" y="30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1" y="28"/>
                    <a:pt x="1" y="25"/>
                    <a:pt x="5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5" y="10"/>
                    <a:pt x="11" y="10"/>
                    <a:pt x="7" y="10"/>
                  </a:cubicBezTo>
                  <a:cubicBezTo>
                    <a:pt x="3" y="9"/>
                    <a:pt x="3" y="6"/>
                    <a:pt x="6" y="3"/>
                  </a:cubicBezTo>
                  <a:cubicBezTo>
                    <a:pt x="15" y="3"/>
                    <a:pt x="25" y="2"/>
                    <a:pt x="34" y="0"/>
                  </a:cubicBezTo>
                  <a:close/>
                  <a:moveTo>
                    <a:pt x="76" y="4"/>
                  </a:moveTo>
                  <a:cubicBezTo>
                    <a:pt x="76" y="52"/>
                    <a:pt x="76" y="52"/>
                    <a:pt x="76" y="52"/>
                  </a:cubicBezTo>
                  <a:cubicBezTo>
                    <a:pt x="77" y="51"/>
                    <a:pt x="79" y="51"/>
                    <a:pt x="81" y="51"/>
                  </a:cubicBezTo>
                  <a:cubicBezTo>
                    <a:pt x="83" y="51"/>
                    <a:pt x="84" y="50"/>
                    <a:pt x="84" y="50"/>
                  </a:cubicBezTo>
                  <a:cubicBezTo>
                    <a:pt x="88" y="53"/>
                    <a:pt x="88" y="55"/>
                    <a:pt x="85" y="58"/>
                  </a:cubicBezTo>
                  <a:cubicBezTo>
                    <a:pt x="80" y="58"/>
                    <a:pt x="77" y="59"/>
                    <a:pt x="76" y="59"/>
                  </a:cubicBezTo>
                  <a:cubicBezTo>
                    <a:pt x="76" y="80"/>
                    <a:pt x="76" y="80"/>
                    <a:pt x="76" y="80"/>
                  </a:cubicBezTo>
                  <a:cubicBezTo>
                    <a:pt x="75" y="82"/>
                    <a:pt x="74" y="83"/>
                    <a:pt x="72" y="83"/>
                  </a:cubicBezTo>
                  <a:cubicBezTo>
                    <a:pt x="70" y="83"/>
                    <a:pt x="69" y="82"/>
                    <a:pt x="69" y="80"/>
                  </a:cubicBezTo>
                  <a:cubicBezTo>
                    <a:pt x="69" y="60"/>
                    <a:pt x="69" y="60"/>
                    <a:pt x="69" y="60"/>
                  </a:cubicBezTo>
                  <a:cubicBezTo>
                    <a:pt x="54" y="63"/>
                    <a:pt x="43" y="64"/>
                    <a:pt x="37" y="65"/>
                  </a:cubicBezTo>
                  <a:cubicBezTo>
                    <a:pt x="35" y="65"/>
                    <a:pt x="34" y="64"/>
                    <a:pt x="33" y="62"/>
                  </a:cubicBezTo>
                  <a:cubicBezTo>
                    <a:pt x="33" y="60"/>
                    <a:pt x="34" y="58"/>
                    <a:pt x="36" y="58"/>
                  </a:cubicBezTo>
                  <a:cubicBezTo>
                    <a:pt x="37" y="58"/>
                    <a:pt x="39" y="57"/>
                    <a:pt x="42" y="57"/>
                  </a:cubicBezTo>
                  <a:cubicBezTo>
                    <a:pt x="53" y="55"/>
                    <a:pt x="62" y="54"/>
                    <a:pt x="69" y="53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69" y="3"/>
                    <a:pt x="70" y="2"/>
                    <a:pt x="72" y="2"/>
                  </a:cubicBezTo>
                  <a:cubicBezTo>
                    <a:pt x="74" y="2"/>
                    <a:pt x="75" y="3"/>
                    <a:pt x="76" y="4"/>
                  </a:cubicBezTo>
                  <a:close/>
                  <a:moveTo>
                    <a:pt x="47" y="26"/>
                  </a:moveTo>
                  <a:cubicBezTo>
                    <a:pt x="52" y="30"/>
                    <a:pt x="56" y="34"/>
                    <a:pt x="60" y="40"/>
                  </a:cubicBezTo>
                  <a:cubicBezTo>
                    <a:pt x="61" y="42"/>
                    <a:pt x="61" y="44"/>
                    <a:pt x="59" y="45"/>
                  </a:cubicBezTo>
                  <a:cubicBezTo>
                    <a:pt x="57" y="47"/>
                    <a:pt x="56" y="46"/>
                    <a:pt x="55" y="45"/>
                  </a:cubicBezTo>
                  <a:cubicBezTo>
                    <a:pt x="51" y="39"/>
                    <a:pt x="47" y="35"/>
                    <a:pt x="42" y="31"/>
                  </a:cubicBezTo>
                  <a:cubicBezTo>
                    <a:pt x="41" y="30"/>
                    <a:pt x="40" y="28"/>
                    <a:pt x="42" y="26"/>
                  </a:cubicBezTo>
                  <a:cubicBezTo>
                    <a:pt x="43" y="25"/>
                    <a:pt x="45" y="25"/>
                    <a:pt x="47" y="26"/>
                  </a:cubicBezTo>
                  <a:close/>
                  <a:moveTo>
                    <a:pt x="51" y="5"/>
                  </a:moveTo>
                  <a:cubicBezTo>
                    <a:pt x="56" y="10"/>
                    <a:pt x="61" y="15"/>
                    <a:pt x="65" y="21"/>
                  </a:cubicBezTo>
                  <a:cubicBezTo>
                    <a:pt x="66" y="23"/>
                    <a:pt x="66" y="25"/>
                    <a:pt x="64" y="26"/>
                  </a:cubicBezTo>
                  <a:cubicBezTo>
                    <a:pt x="63" y="27"/>
                    <a:pt x="61" y="27"/>
                    <a:pt x="60" y="25"/>
                  </a:cubicBezTo>
                  <a:cubicBezTo>
                    <a:pt x="56" y="20"/>
                    <a:pt x="51" y="15"/>
                    <a:pt x="46" y="10"/>
                  </a:cubicBezTo>
                  <a:cubicBezTo>
                    <a:pt x="45" y="9"/>
                    <a:pt x="44" y="7"/>
                    <a:pt x="46" y="5"/>
                  </a:cubicBezTo>
                  <a:cubicBezTo>
                    <a:pt x="47" y="4"/>
                    <a:pt x="49" y="4"/>
                    <a:pt x="51" y="5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12FCEED1-470A-4D81-B2DA-3D184A68E3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44650" y="896938"/>
              <a:ext cx="144463" cy="134937"/>
            </a:xfrm>
            <a:custGeom>
              <a:avLst/>
              <a:gdLst>
                <a:gd name="T0" fmla="*/ 20 w 88"/>
                <a:gd name="T1" fmla="*/ 17 h 82"/>
                <a:gd name="T2" fmla="*/ 30 w 88"/>
                <a:gd name="T3" fmla="*/ 20 h 82"/>
                <a:gd name="T4" fmla="*/ 20 w 88"/>
                <a:gd name="T5" fmla="*/ 23 h 82"/>
                <a:gd name="T6" fmla="*/ 26 w 88"/>
                <a:gd name="T7" fmla="*/ 38 h 82"/>
                <a:gd name="T8" fmla="*/ 30 w 88"/>
                <a:gd name="T9" fmla="*/ 43 h 82"/>
                <a:gd name="T10" fmla="*/ 20 w 88"/>
                <a:gd name="T11" fmla="*/ 75 h 82"/>
                <a:gd name="T12" fmla="*/ 3 w 88"/>
                <a:gd name="T13" fmla="*/ 76 h 82"/>
                <a:gd name="T14" fmla="*/ 13 w 88"/>
                <a:gd name="T15" fmla="*/ 72 h 82"/>
                <a:gd name="T16" fmla="*/ 9 w 88"/>
                <a:gd name="T17" fmla="*/ 52 h 82"/>
                <a:gd name="T18" fmla="*/ 0 w 88"/>
                <a:gd name="T19" fmla="*/ 52 h 82"/>
                <a:gd name="T20" fmla="*/ 5 w 88"/>
                <a:gd name="T21" fmla="*/ 47 h 82"/>
                <a:gd name="T22" fmla="*/ 13 w 88"/>
                <a:gd name="T23" fmla="*/ 23 h 82"/>
                <a:gd name="T24" fmla="*/ 2 w 88"/>
                <a:gd name="T25" fmla="*/ 20 h 82"/>
                <a:gd name="T26" fmla="*/ 13 w 88"/>
                <a:gd name="T27" fmla="*/ 17 h 82"/>
                <a:gd name="T28" fmla="*/ 17 w 88"/>
                <a:gd name="T29" fmla="*/ 1 h 82"/>
                <a:gd name="T30" fmla="*/ 58 w 88"/>
                <a:gd name="T31" fmla="*/ 3 h 82"/>
                <a:gd name="T32" fmla="*/ 81 w 88"/>
                <a:gd name="T33" fmla="*/ 8 h 82"/>
                <a:gd name="T34" fmla="*/ 81 w 88"/>
                <a:gd name="T35" fmla="*/ 15 h 82"/>
                <a:gd name="T36" fmla="*/ 58 w 88"/>
                <a:gd name="T37" fmla="*/ 28 h 82"/>
                <a:gd name="T38" fmla="*/ 80 w 88"/>
                <a:gd name="T39" fmla="*/ 38 h 82"/>
                <a:gd name="T40" fmla="*/ 85 w 88"/>
                <a:gd name="T41" fmla="*/ 75 h 82"/>
                <a:gd name="T42" fmla="*/ 82 w 88"/>
                <a:gd name="T43" fmla="*/ 82 h 82"/>
                <a:gd name="T44" fmla="*/ 29 w 88"/>
                <a:gd name="T45" fmla="*/ 81 h 82"/>
                <a:gd name="T46" fmla="*/ 26 w 88"/>
                <a:gd name="T47" fmla="*/ 74 h 82"/>
                <a:gd name="T48" fmla="*/ 34 w 88"/>
                <a:gd name="T49" fmla="*/ 40 h 82"/>
                <a:gd name="T50" fmla="*/ 33 w 88"/>
                <a:gd name="T51" fmla="*/ 35 h 82"/>
                <a:gd name="T52" fmla="*/ 34 w 88"/>
                <a:gd name="T53" fmla="*/ 28 h 82"/>
                <a:gd name="T54" fmla="*/ 51 w 88"/>
                <a:gd name="T55" fmla="*/ 15 h 82"/>
                <a:gd name="T56" fmla="*/ 28 w 88"/>
                <a:gd name="T57" fmla="*/ 12 h 82"/>
                <a:gd name="T58" fmla="*/ 51 w 88"/>
                <a:gd name="T59" fmla="*/ 8 h 82"/>
                <a:gd name="T60" fmla="*/ 55 w 88"/>
                <a:gd name="T61" fmla="*/ 0 h 82"/>
                <a:gd name="T62" fmla="*/ 70 w 88"/>
                <a:gd name="T63" fmla="*/ 35 h 82"/>
                <a:gd name="T64" fmla="*/ 40 w 88"/>
                <a:gd name="T65" fmla="*/ 36 h 82"/>
                <a:gd name="T66" fmla="*/ 72 w 88"/>
                <a:gd name="T67" fmla="*/ 38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8" h="82">
                  <a:moveTo>
                    <a:pt x="20" y="4"/>
                  </a:moveTo>
                  <a:cubicBezTo>
                    <a:pt x="20" y="17"/>
                    <a:pt x="20" y="17"/>
                    <a:pt x="20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9" y="17"/>
                    <a:pt x="30" y="18"/>
                    <a:pt x="30" y="20"/>
                  </a:cubicBezTo>
                  <a:cubicBezTo>
                    <a:pt x="30" y="22"/>
                    <a:pt x="29" y="23"/>
                    <a:pt x="27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2" y="40"/>
                    <a:pt x="24" y="39"/>
                    <a:pt x="26" y="38"/>
                  </a:cubicBezTo>
                  <a:cubicBezTo>
                    <a:pt x="28" y="37"/>
                    <a:pt x="29" y="38"/>
                    <a:pt x="30" y="39"/>
                  </a:cubicBezTo>
                  <a:cubicBezTo>
                    <a:pt x="31" y="41"/>
                    <a:pt x="31" y="42"/>
                    <a:pt x="30" y="43"/>
                  </a:cubicBezTo>
                  <a:cubicBezTo>
                    <a:pt x="28" y="44"/>
                    <a:pt x="25" y="46"/>
                    <a:pt x="20" y="48"/>
                  </a:cubicBezTo>
                  <a:cubicBezTo>
                    <a:pt x="20" y="75"/>
                    <a:pt x="20" y="75"/>
                    <a:pt x="20" y="75"/>
                  </a:cubicBezTo>
                  <a:cubicBezTo>
                    <a:pt x="19" y="80"/>
                    <a:pt x="15" y="82"/>
                    <a:pt x="6" y="80"/>
                  </a:cubicBezTo>
                  <a:cubicBezTo>
                    <a:pt x="4" y="80"/>
                    <a:pt x="3" y="78"/>
                    <a:pt x="3" y="76"/>
                  </a:cubicBezTo>
                  <a:cubicBezTo>
                    <a:pt x="4" y="74"/>
                    <a:pt x="5" y="73"/>
                    <a:pt x="7" y="74"/>
                  </a:cubicBezTo>
                  <a:cubicBezTo>
                    <a:pt x="12" y="75"/>
                    <a:pt x="14" y="75"/>
                    <a:pt x="13" y="72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13" y="51"/>
                    <a:pt x="11" y="52"/>
                    <a:pt x="9" y="52"/>
                  </a:cubicBezTo>
                  <a:cubicBezTo>
                    <a:pt x="7" y="53"/>
                    <a:pt x="5" y="54"/>
                    <a:pt x="5" y="54"/>
                  </a:cubicBezTo>
                  <a:cubicBezTo>
                    <a:pt x="2" y="55"/>
                    <a:pt x="1" y="54"/>
                    <a:pt x="0" y="52"/>
                  </a:cubicBezTo>
                  <a:cubicBezTo>
                    <a:pt x="0" y="50"/>
                    <a:pt x="0" y="49"/>
                    <a:pt x="2" y="48"/>
                  </a:cubicBezTo>
                  <a:cubicBezTo>
                    <a:pt x="3" y="48"/>
                    <a:pt x="4" y="48"/>
                    <a:pt x="5" y="47"/>
                  </a:cubicBezTo>
                  <a:cubicBezTo>
                    <a:pt x="8" y="46"/>
                    <a:pt x="11" y="45"/>
                    <a:pt x="13" y="44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3" y="23"/>
                    <a:pt x="2" y="22"/>
                    <a:pt x="2" y="20"/>
                  </a:cubicBezTo>
                  <a:cubicBezTo>
                    <a:pt x="2" y="18"/>
                    <a:pt x="3" y="17"/>
                    <a:pt x="5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2"/>
                    <a:pt x="14" y="1"/>
                    <a:pt x="17" y="1"/>
                  </a:cubicBezTo>
                  <a:cubicBezTo>
                    <a:pt x="19" y="1"/>
                    <a:pt x="20" y="2"/>
                    <a:pt x="20" y="4"/>
                  </a:cubicBezTo>
                  <a:close/>
                  <a:moveTo>
                    <a:pt x="58" y="3"/>
                  </a:moveTo>
                  <a:cubicBezTo>
                    <a:pt x="58" y="8"/>
                    <a:pt x="58" y="8"/>
                    <a:pt x="58" y="8"/>
                  </a:cubicBezTo>
                  <a:cubicBezTo>
                    <a:pt x="81" y="8"/>
                    <a:pt x="81" y="8"/>
                    <a:pt x="81" y="8"/>
                  </a:cubicBezTo>
                  <a:cubicBezTo>
                    <a:pt x="83" y="9"/>
                    <a:pt x="84" y="10"/>
                    <a:pt x="85" y="12"/>
                  </a:cubicBezTo>
                  <a:cubicBezTo>
                    <a:pt x="84" y="14"/>
                    <a:pt x="83" y="15"/>
                    <a:pt x="81" y="15"/>
                  </a:cubicBezTo>
                  <a:cubicBezTo>
                    <a:pt x="58" y="15"/>
                    <a:pt x="58" y="15"/>
                    <a:pt x="58" y="15"/>
                  </a:cubicBezTo>
                  <a:cubicBezTo>
                    <a:pt x="58" y="28"/>
                    <a:pt x="58" y="28"/>
                    <a:pt x="58" y="28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80" y="29"/>
                    <a:pt x="82" y="32"/>
                    <a:pt x="80" y="38"/>
                  </a:cubicBezTo>
                  <a:cubicBezTo>
                    <a:pt x="76" y="48"/>
                    <a:pt x="70" y="56"/>
                    <a:pt x="62" y="63"/>
                  </a:cubicBezTo>
                  <a:cubicBezTo>
                    <a:pt x="69" y="68"/>
                    <a:pt x="77" y="72"/>
                    <a:pt x="85" y="75"/>
                  </a:cubicBezTo>
                  <a:cubicBezTo>
                    <a:pt x="87" y="76"/>
                    <a:pt x="88" y="77"/>
                    <a:pt x="87" y="80"/>
                  </a:cubicBezTo>
                  <a:cubicBezTo>
                    <a:pt x="86" y="82"/>
                    <a:pt x="84" y="82"/>
                    <a:pt x="82" y="82"/>
                  </a:cubicBezTo>
                  <a:cubicBezTo>
                    <a:pt x="74" y="78"/>
                    <a:pt x="65" y="74"/>
                    <a:pt x="56" y="68"/>
                  </a:cubicBezTo>
                  <a:cubicBezTo>
                    <a:pt x="48" y="73"/>
                    <a:pt x="39" y="77"/>
                    <a:pt x="29" y="81"/>
                  </a:cubicBezTo>
                  <a:cubicBezTo>
                    <a:pt x="26" y="81"/>
                    <a:pt x="25" y="81"/>
                    <a:pt x="24" y="78"/>
                  </a:cubicBezTo>
                  <a:cubicBezTo>
                    <a:pt x="23" y="76"/>
                    <a:pt x="24" y="75"/>
                    <a:pt x="26" y="74"/>
                  </a:cubicBezTo>
                  <a:cubicBezTo>
                    <a:pt x="36" y="71"/>
                    <a:pt x="44" y="68"/>
                    <a:pt x="50" y="63"/>
                  </a:cubicBezTo>
                  <a:cubicBezTo>
                    <a:pt x="45" y="59"/>
                    <a:pt x="40" y="51"/>
                    <a:pt x="34" y="40"/>
                  </a:cubicBezTo>
                  <a:cubicBezTo>
                    <a:pt x="33" y="38"/>
                    <a:pt x="33" y="37"/>
                    <a:pt x="35" y="35"/>
                  </a:cubicBezTo>
                  <a:cubicBezTo>
                    <a:pt x="33" y="35"/>
                    <a:pt x="33" y="35"/>
                    <a:pt x="33" y="35"/>
                  </a:cubicBezTo>
                  <a:cubicBezTo>
                    <a:pt x="32" y="35"/>
                    <a:pt x="31" y="34"/>
                    <a:pt x="30" y="32"/>
                  </a:cubicBezTo>
                  <a:cubicBezTo>
                    <a:pt x="31" y="29"/>
                    <a:pt x="32" y="28"/>
                    <a:pt x="34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15"/>
                    <a:pt x="51" y="15"/>
                    <a:pt x="5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29" y="15"/>
                    <a:pt x="28" y="14"/>
                    <a:pt x="28" y="12"/>
                  </a:cubicBezTo>
                  <a:cubicBezTo>
                    <a:pt x="28" y="10"/>
                    <a:pt x="29" y="9"/>
                    <a:pt x="31" y="8"/>
                  </a:cubicBezTo>
                  <a:cubicBezTo>
                    <a:pt x="51" y="8"/>
                    <a:pt x="51" y="8"/>
                    <a:pt x="51" y="8"/>
                  </a:cubicBezTo>
                  <a:cubicBezTo>
                    <a:pt x="51" y="3"/>
                    <a:pt x="51" y="3"/>
                    <a:pt x="51" y="3"/>
                  </a:cubicBezTo>
                  <a:cubicBezTo>
                    <a:pt x="51" y="1"/>
                    <a:pt x="52" y="0"/>
                    <a:pt x="55" y="0"/>
                  </a:cubicBezTo>
                  <a:cubicBezTo>
                    <a:pt x="57" y="0"/>
                    <a:pt x="58" y="1"/>
                    <a:pt x="58" y="3"/>
                  </a:cubicBezTo>
                  <a:close/>
                  <a:moveTo>
                    <a:pt x="70" y="35"/>
                  </a:moveTo>
                  <a:cubicBezTo>
                    <a:pt x="39" y="35"/>
                    <a:pt x="39" y="35"/>
                    <a:pt x="39" y="35"/>
                  </a:cubicBezTo>
                  <a:cubicBezTo>
                    <a:pt x="39" y="36"/>
                    <a:pt x="39" y="36"/>
                    <a:pt x="40" y="36"/>
                  </a:cubicBezTo>
                  <a:cubicBezTo>
                    <a:pt x="47" y="47"/>
                    <a:pt x="52" y="55"/>
                    <a:pt x="56" y="58"/>
                  </a:cubicBezTo>
                  <a:cubicBezTo>
                    <a:pt x="63" y="52"/>
                    <a:pt x="68" y="46"/>
                    <a:pt x="72" y="38"/>
                  </a:cubicBezTo>
                  <a:cubicBezTo>
                    <a:pt x="72" y="37"/>
                    <a:pt x="72" y="36"/>
                    <a:pt x="70" y="35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8" name="任意多边形: 形状 17">
            <a:extLst>
              <a:ext uri="{FF2B5EF4-FFF2-40B4-BE49-F238E27FC236}">
                <a16:creationId xmlns:a16="http://schemas.microsoft.com/office/drawing/2014/main" id="{A90F4916-F1AA-4C73-ACC3-4C3C37F098FF}"/>
              </a:ext>
            </a:extLst>
          </p:cNvPr>
          <p:cNvSpPr/>
          <p:nvPr userDrawn="1"/>
        </p:nvSpPr>
        <p:spPr>
          <a:xfrm>
            <a:off x="0" y="0"/>
            <a:ext cx="690654" cy="745871"/>
          </a:xfrm>
          <a:custGeom>
            <a:avLst/>
            <a:gdLst>
              <a:gd name="connsiteX0" fmla="*/ 590479 w 631437"/>
              <a:gd name="connsiteY0" fmla="*/ 600003 h 681919"/>
              <a:gd name="connsiteX1" fmla="*/ 631437 w 631437"/>
              <a:gd name="connsiteY1" fmla="*/ 640961 h 681919"/>
              <a:gd name="connsiteX2" fmla="*/ 590479 w 631437"/>
              <a:gd name="connsiteY2" fmla="*/ 681919 h 681919"/>
              <a:gd name="connsiteX3" fmla="*/ 549521 w 631437"/>
              <a:gd name="connsiteY3" fmla="*/ 640961 h 681919"/>
              <a:gd name="connsiteX4" fmla="*/ 590479 w 631437"/>
              <a:gd name="connsiteY4" fmla="*/ 600003 h 681919"/>
              <a:gd name="connsiteX5" fmla="*/ 448555 w 631437"/>
              <a:gd name="connsiteY5" fmla="*/ 600003 h 681919"/>
              <a:gd name="connsiteX6" fmla="*/ 489513 w 631437"/>
              <a:gd name="connsiteY6" fmla="*/ 640961 h 681919"/>
              <a:gd name="connsiteX7" fmla="*/ 448555 w 631437"/>
              <a:gd name="connsiteY7" fmla="*/ 681919 h 681919"/>
              <a:gd name="connsiteX8" fmla="*/ 407597 w 631437"/>
              <a:gd name="connsiteY8" fmla="*/ 640961 h 681919"/>
              <a:gd name="connsiteX9" fmla="*/ 448555 w 631437"/>
              <a:gd name="connsiteY9" fmla="*/ 600003 h 681919"/>
              <a:gd name="connsiteX10" fmla="*/ 306633 w 631437"/>
              <a:gd name="connsiteY10" fmla="*/ 600003 h 681919"/>
              <a:gd name="connsiteX11" fmla="*/ 347591 w 631437"/>
              <a:gd name="connsiteY11" fmla="*/ 640961 h 681919"/>
              <a:gd name="connsiteX12" fmla="*/ 306633 w 631437"/>
              <a:gd name="connsiteY12" fmla="*/ 681919 h 681919"/>
              <a:gd name="connsiteX13" fmla="*/ 265675 w 631437"/>
              <a:gd name="connsiteY13" fmla="*/ 640961 h 681919"/>
              <a:gd name="connsiteX14" fmla="*/ 306633 w 631437"/>
              <a:gd name="connsiteY14" fmla="*/ 600003 h 681919"/>
              <a:gd name="connsiteX15" fmla="*/ 164711 w 631437"/>
              <a:gd name="connsiteY15" fmla="*/ 600003 h 681919"/>
              <a:gd name="connsiteX16" fmla="*/ 205669 w 631437"/>
              <a:gd name="connsiteY16" fmla="*/ 640961 h 681919"/>
              <a:gd name="connsiteX17" fmla="*/ 164711 w 631437"/>
              <a:gd name="connsiteY17" fmla="*/ 681919 h 681919"/>
              <a:gd name="connsiteX18" fmla="*/ 123753 w 631437"/>
              <a:gd name="connsiteY18" fmla="*/ 640961 h 681919"/>
              <a:gd name="connsiteX19" fmla="*/ 164711 w 631437"/>
              <a:gd name="connsiteY19" fmla="*/ 600003 h 681919"/>
              <a:gd name="connsiteX20" fmla="*/ 22789 w 631437"/>
              <a:gd name="connsiteY20" fmla="*/ 600003 h 681919"/>
              <a:gd name="connsiteX21" fmla="*/ 63747 w 631437"/>
              <a:gd name="connsiteY21" fmla="*/ 640961 h 681919"/>
              <a:gd name="connsiteX22" fmla="*/ 22789 w 631437"/>
              <a:gd name="connsiteY22" fmla="*/ 681919 h 681919"/>
              <a:gd name="connsiteX23" fmla="*/ 0 w 631437"/>
              <a:gd name="connsiteY23" fmla="*/ 672479 h 681919"/>
              <a:gd name="connsiteX24" fmla="*/ 0 w 631437"/>
              <a:gd name="connsiteY24" fmla="*/ 609443 h 681919"/>
              <a:gd name="connsiteX25" fmla="*/ 590479 w 631437"/>
              <a:gd name="connsiteY25" fmla="*/ 441888 h 681919"/>
              <a:gd name="connsiteX26" fmla="*/ 631437 w 631437"/>
              <a:gd name="connsiteY26" fmla="*/ 482846 h 681919"/>
              <a:gd name="connsiteX27" fmla="*/ 590479 w 631437"/>
              <a:gd name="connsiteY27" fmla="*/ 523804 h 681919"/>
              <a:gd name="connsiteX28" fmla="*/ 549521 w 631437"/>
              <a:gd name="connsiteY28" fmla="*/ 482846 h 681919"/>
              <a:gd name="connsiteX29" fmla="*/ 590479 w 631437"/>
              <a:gd name="connsiteY29" fmla="*/ 441888 h 681919"/>
              <a:gd name="connsiteX30" fmla="*/ 448555 w 631437"/>
              <a:gd name="connsiteY30" fmla="*/ 441888 h 681919"/>
              <a:gd name="connsiteX31" fmla="*/ 489513 w 631437"/>
              <a:gd name="connsiteY31" fmla="*/ 482846 h 681919"/>
              <a:gd name="connsiteX32" fmla="*/ 448555 w 631437"/>
              <a:gd name="connsiteY32" fmla="*/ 523804 h 681919"/>
              <a:gd name="connsiteX33" fmla="*/ 407597 w 631437"/>
              <a:gd name="connsiteY33" fmla="*/ 482846 h 681919"/>
              <a:gd name="connsiteX34" fmla="*/ 448555 w 631437"/>
              <a:gd name="connsiteY34" fmla="*/ 441888 h 681919"/>
              <a:gd name="connsiteX35" fmla="*/ 306633 w 631437"/>
              <a:gd name="connsiteY35" fmla="*/ 441888 h 681919"/>
              <a:gd name="connsiteX36" fmla="*/ 347591 w 631437"/>
              <a:gd name="connsiteY36" fmla="*/ 482846 h 681919"/>
              <a:gd name="connsiteX37" fmla="*/ 306633 w 631437"/>
              <a:gd name="connsiteY37" fmla="*/ 523804 h 681919"/>
              <a:gd name="connsiteX38" fmla="*/ 265675 w 631437"/>
              <a:gd name="connsiteY38" fmla="*/ 482846 h 681919"/>
              <a:gd name="connsiteX39" fmla="*/ 306633 w 631437"/>
              <a:gd name="connsiteY39" fmla="*/ 441888 h 681919"/>
              <a:gd name="connsiteX40" fmla="*/ 164711 w 631437"/>
              <a:gd name="connsiteY40" fmla="*/ 441888 h 681919"/>
              <a:gd name="connsiteX41" fmla="*/ 205669 w 631437"/>
              <a:gd name="connsiteY41" fmla="*/ 482846 h 681919"/>
              <a:gd name="connsiteX42" fmla="*/ 164711 w 631437"/>
              <a:gd name="connsiteY42" fmla="*/ 523804 h 681919"/>
              <a:gd name="connsiteX43" fmla="*/ 123753 w 631437"/>
              <a:gd name="connsiteY43" fmla="*/ 482846 h 681919"/>
              <a:gd name="connsiteX44" fmla="*/ 164711 w 631437"/>
              <a:gd name="connsiteY44" fmla="*/ 441888 h 681919"/>
              <a:gd name="connsiteX45" fmla="*/ 22789 w 631437"/>
              <a:gd name="connsiteY45" fmla="*/ 441888 h 681919"/>
              <a:gd name="connsiteX46" fmla="*/ 63747 w 631437"/>
              <a:gd name="connsiteY46" fmla="*/ 482846 h 681919"/>
              <a:gd name="connsiteX47" fmla="*/ 22789 w 631437"/>
              <a:gd name="connsiteY47" fmla="*/ 523804 h 681919"/>
              <a:gd name="connsiteX48" fmla="*/ 0 w 631437"/>
              <a:gd name="connsiteY48" fmla="*/ 514364 h 681919"/>
              <a:gd name="connsiteX49" fmla="*/ 0 w 631437"/>
              <a:gd name="connsiteY49" fmla="*/ 451328 h 681919"/>
              <a:gd name="connsiteX50" fmla="*/ 590479 w 631437"/>
              <a:gd name="connsiteY50" fmla="*/ 283773 h 681919"/>
              <a:gd name="connsiteX51" fmla="*/ 631437 w 631437"/>
              <a:gd name="connsiteY51" fmla="*/ 324731 h 681919"/>
              <a:gd name="connsiteX52" fmla="*/ 590479 w 631437"/>
              <a:gd name="connsiteY52" fmla="*/ 365689 h 681919"/>
              <a:gd name="connsiteX53" fmla="*/ 549521 w 631437"/>
              <a:gd name="connsiteY53" fmla="*/ 324731 h 681919"/>
              <a:gd name="connsiteX54" fmla="*/ 590479 w 631437"/>
              <a:gd name="connsiteY54" fmla="*/ 283773 h 681919"/>
              <a:gd name="connsiteX55" fmla="*/ 448555 w 631437"/>
              <a:gd name="connsiteY55" fmla="*/ 283773 h 681919"/>
              <a:gd name="connsiteX56" fmla="*/ 489513 w 631437"/>
              <a:gd name="connsiteY56" fmla="*/ 324731 h 681919"/>
              <a:gd name="connsiteX57" fmla="*/ 448555 w 631437"/>
              <a:gd name="connsiteY57" fmla="*/ 365689 h 681919"/>
              <a:gd name="connsiteX58" fmla="*/ 407597 w 631437"/>
              <a:gd name="connsiteY58" fmla="*/ 324731 h 681919"/>
              <a:gd name="connsiteX59" fmla="*/ 448555 w 631437"/>
              <a:gd name="connsiteY59" fmla="*/ 283773 h 681919"/>
              <a:gd name="connsiteX60" fmla="*/ 306633 w 631437"/>
              <a:gd name="connsiteY60" fmla="*/ 283773 h 681919"/>
              <a:gd name="connsiteX61" fmla="*/ 347591 w 631437"/>
              <a:gd name="connsiteY61" fmla="*/ 324731 h 681919"/>
              <a:gd name="connsiteX62" fmla="*/ 306633 w 631437"/>
              <a:gd name="connsiteY62" fmla="*/ 365689 h 681919"/>
              <a:gd name="connsiteX63" fmla="*/ 265675 w 631437"/>
              <a:gd name="connsiteY63" fmla="*/ 324731 h 681919"/>
              <a:gd name="connsiteX64" fmla="*/ 306633 w 631437"/>
              <a:gd name="connsiteY64" fmla="*/ 283773 h 681919"/>
              <a:gd name="connsiteX65" fmla="*/ 164711 w 631437"/>
              <a:gd name="connsiteY65" fmla="*/ 283773 h 681919"/>
              <a:gd name="connsiteX66" fmla="*/ 205669 w 631437"/>
              <a:gd name="connsiteY66" fmla="*/ 324731 h 681919"/>
              <a:gd name="connsiteX67" fmla="*/ 164711 w 631437"/>
              <a:gd name="connsiteY67" fmla="*/ 365689 h 681919"/>
              <a:gd name="connsiteX68" fmla="*/ 123753 w 631437"/>
              <a:gd name="connsiteY68" fmla="*/ 324731 h 681919"/>
              <a:gd name="connsiteX69" fmla="*/ 164711 w 631437"/>
              <a:gd name="connsiteY69" fmla="*/ 283773 h 681919"/>
              <a:gd name="connsiteX70" fmla="*/ 22789 w 631437"/>
              <a:gd name="connsiteY70" fmla="*/ 283773 h 681919"/>
              <a:gd name="connsiteX71" fmla="*/ 63747 w 631437"/>
              <a:gd name="connsiteY71" fmla="*/ 324731 h 681919"/>
              <a:gd name="connsiteX72" fmla="*/ 22789 w 631437"/>
              <a:gd name="connsiteY72" fmla="*/ 365689 h 681919"/>
              <a:gd name="connsiteX73" fmla="*/ 0 w 631437"/>
              <a:gd name="connsiteY73" fmla="*/ 356249 h 681919"/>
              <a:gd name="connsiteX74" fmla="*/ 0 w 631437"/>
              <a:gd name="connsiteY74" fmla="*/ 293213 h 681919"/>
              <a:gd name="connsiteX75" fmla="*/ 448555 w 631437"/>
              <a:gd name="connsiteY75" fmla="*/ 125658 h 681919"/>
              <a:gd name="connsiteX76" fmla="*/ 489513 w 631437"/>
              <a:gd name="connsiteY76" fmla="*/ 166616 h 681919"/>
              <a:gd name="connsiteX77" fmla="*/ 448555 w 631437"/>
              <a:gd name="connsiteY77" fmla="*/ 207574 h 681919"/>
              <a:gd name="connsiteX78" fmla="*/ 407597 w 631437"/>
              <a:gd name="connsiteY78" fmla="*/ 166616 h 681919"/>
              <a:gd name="connsiteX79" fmla="*/ 448555 w 631437"/>
              <a:gd name="connsiteY79" fmla="*/ 125658 h 681919"/>
              <a:gd name="connsiteX80" fmla="*/ 306633 w 631437"/>
              <a:gd name="connsiteY80" fmla="*/ 125658 h 681919"/>
              <a:gd name="connsiteX81" fmla="*/ 347591 w 631437"/>
              <a:gd name="connsiteY81" fmla="*/ 166616 h 681919"/>
              <a:gd name="connsiteX82" fmla="*/ 306633 w 631437"/>
              <a:gd name="connsiteY82" fmla="*/ 207574 h 681919"/>
              <a:gd name="connsiteX83" fmla="*/ 265675 w 631437"/>
              <a:gd name="connsiteY83" fmla="*/ 166616 h 681919"/>
              <a:gd name="connsiteX84" fmla="*/ 306633 w 631437"/>
              <a:gd name="connsiteY84" fmla="*/ 125658 h 681919"/>
              <a:gd name="connsiteX85" fmla="*/ 164711 w 631437"/>
              <a:gd name="connsiteY85" fmla="*/ 125658 h 681919"/>
              <a:gd name="connsiteX86" fmla="*/ 205669 w 631437"/>
              <a:gd name="connsiteY86" fmla="*/ 166616 h 681919"/>
              <a:gd name="connsiteX87" fmla="*/ 164711 w 631437"/>
              <a:gd name="connsiteY87" fmla="*/ 207574 h 681919"/>
              <a:gd name="connsiteX88" fmla="*/ 123753 w 631437"/>
              <a:gd name="connsiteY88" fmla="*/ 166616 h 681919"/>
              <a:gd name="connsiteX89" fmla="*/ 164711 w 631437"/>
              <a:gd name="connsiteY89" fmla="*/ 125658 h 681919"/>
              <a:gd name="connsiteX90" fmla="*/ 22789 w 631437"/>
              <a:gd name="connsiteY90" fmla="*/ 125658 h 681919"/>
              <a:gd name="connsiteX91" fmla="*/ 63747 w 631437"/>
              <a:gd name="connsiteY91" fmla="*/ 166616 h 681919"/>
              <a:gd name="connsiteX92" fmla="*/ 22789 w 631437"/>
              <a:gd name="connsiteY92" fmla="*/ 207574 h 681919"/>
              <a:gd name="connsiteX93" fmla="*/ 0 w 631437"/>
              <a:gd name="connsiteY93" fmla="*/ 198134 h 681919"/>
              <a:gd name="connsiteX94" fmla="*/ 0 w 631437"/>
              <a:gd name="connsiteY94" fmla="*/ 135098 h 681919"/>
              <a:gd name="connsiteX95" fmla="*/ 590479 w 631437"/>
              <a:gd name="connsiteY95" fmla="*/ 125658 h 681919"/>
              <a:gd name="connsiteX96" fmla="*/ 631437 w 631437"/>
              <a:gd name="connsiteY96" fmla="*/ 166616 h 681919"/>
              <a:gd name="connsiteX97" fmla="*/ 590479 w 631437"/>
              <a:gd name="connsiteY97" fmla="*/ 207574 h 681919"/>
              <a:gd name="connsiteX98" fmla="*/ 549521 w 631437"/>
              <a:gd name="connsiteY98" fmla="*/ 166616 h 681919"/>
              <a:gd name="connsiteX99" fmla="*/ 590479 w 631437"/>
              <a:gd name="connsiteY99" fmla="*/ 125658 h 681919"/>
              <a:gd name="connsiteX100" fmla="*/ 553042 w 631437"/>
              <a:gd name="connsiteY100" fmla="*/ 0 h 681919"/>
              <a:gd name="connsiteX101" fmla="*/ 627916 w 631437"/>
              <a:gd name="connsiteY101" fmla="*/ 0 h 681919"/>
              <a:gd name="connsiteX102" fmla="*/ 631437 w 631437"/>
              <a:gd name="connsiteY102" fmla="*/ 8501 h 681919"/>
              <a:gd name="connsiteX103" fmla="*/ 590479 w 631437"/>
              <a:gd name="connsiteY103" fmla="*/ 49459 h 681919"/>
              <a:gd name="connsiteX104" fmla="*/ 549521 w 631437"/>
              <a:gd name="connsiteY104" fmla="*/ 8501 h 681919"/>
              <a:gd name="connsiteX105" fmla="*/ 411118 w 631437"/>
              <a:gd name="connsiteY105" fmla="*/ 0 h 681919"/>
              <a:gd name="connsiteX106" fmla="*/ 485992 w 631437"/>
              <a:gd name="connsiteY106" fmla="*/ 0 h 681919"/>
              <a:gd name="connsiteX107" fmla="*/ 489513 w 631437"/>
              <a:gd name="connsiteY107" fmla="*/ 8501 h 681919"/>
              <a:gd name="connsiteX108" fmla="*/ 448555 w 631437"/>
              <a:gd name="connsiteY108" fmla="*/ 49459 h 681919"/>
              <a:gd name="connsiteX109" fmla="*/ 407597 w 631437"/>
              <a:gd name="connsiteY109" fmla="*/ 8501 h 681919"/>
              <a:gd name="connsiteX110" fmla="*/ 269196 w 631437"/>
              <a:gd name="connsiteY110" fmla="*/ 0 h 681919"/>
              <a:gd name="connsiteX111" fmla="*/ 344070 w 631437"/>
              <a:gd name="connsiteY111" fmla="*/ 0 h 681919"/>
              <a:gd name="connsiteX112" fmla="*/ 347591 w 631437"/>
              <a:gd name="connsiteY112" fmla="*/ 8501 h 681919"/>
              <a:gd name="connsiteX113" fmla="*/ 306633 w 631437"/>
              <a:gd name="connsiteY113" fmla="*/ 49459 h 681919"/>
              <a:gd name="connsiteX114" fmla="*/ 265675 w 631437"/>
              <a:gd name="connsiteY114" fmla="*/ 8501 h 681919"/>
              <a:gd name="connsiteX115" fmla="*/ 127274 w 631437"/>
              <a:gd name="connsiteY115" fmla="*/ 0 h 681919"/>
              <a:gd name="connsiteX116" fmla="*/ 202148 w 631437"/>
              <a:gd name="connsiteY116" fmla="*/ 0 h 681919"/>
              <a:gd name="connsiteX117" fmla="*/ 205669 w 631437"/>
              <a:gd name="connsiteY117" fmla="*/ 8501 h 681919"/>
              <a:gd name="connsiteX118" fmla="*/ 164711 w 631437"/>
              <a:gd name="connsiteY118" fmla="*/ 49459 h 681919"/>
              <a:gd name="connsiteX119" fmla="*/ 123753 w 631437"/>
              <a:gd name="connsiteY119" fmla="*/ 8501 h 681919"/>
              <a:gd name="connsiteX120" fmla="*/ 0 w 631437"/>
              <a:gd name="connsiteY120" fmla="*/ 0 h 681919"/>
              <a:gd name="connsiteX121" fmla="*/ 60226 w 631437"/>
              <a:gd name="connsiteY121" fmla="*/ 0 h 681919"/>
              <a:gd name="connsiteX122" fmla="*/ 63747 w 631437"/>
              <a:gd name="connsiteY122" fmla="*/ 8501 h 681919"/>
              <a:gd name="connsiteX123" fmla="*/ 22789 w 631437"/>
              <a:gd name="connsiteY123" fmla="*/ 49459 h 681919"/>
              <a:gd name="connsiteX124" fmla="*/ 0 w 631437"/>
              <a:gd name="connsiteY124" fmla="*/ 40019 h 6819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631437" h="681919">
                <a:moveTo>
                  <a:pt x="590479" y="600003"/>
                </a:moveTo>
                <a:cubicBezTo>
                  <a:pt x="613099" y="600003"/>
                  <a:pt x="631437" y="618341"/>
                  <a:pt x="631437" y="640961"/>
                </a:cubicBezTo>
                <a:cubicBezTo>
                  <a:pt x="631437" y="663581"/>
                  <a:pt x="613099" y="681919"/>
                  <a:pt x="590479" y="681919"/>
                </a:cubicBezTo>
                <a:cubicBezTo>
                  <a:pt x="567859" y="681919"/>
                  <a:pt x="549521" y="663581"/>
                  <a:pt x="549521" y="640961"/>
                </a:cubicBezTo>
                <a:cubicBezTo>
                  <a:pt x="549521" y="618341"/>
                  <a:pt x="567859" y="600003"/>
                  <a:pt x="590479" y="600003"/>
                </a:cubicBezTo>
                <a:close/>
                <a:moveTo>
                  <a:pt x="448555" y="600003"/>
                </a:moveTo>
                <a:cubicBezTo>
                  <a:pt x="471175" y="600003"/>
                  <a:pt x="489513" y="618341"/>
                  <a:pt x="489513" y="640961"/>
                </a:cubicBezTo>
                <a:cubicBezTo>
                  <a:pt x="489513" y="663581"/>
                  <a:pt x="471175" y="681919"/>
                  <a:pt x="448555" y="681919"/>
                </a:cubicBezTo>
                <a:cubicBezTo>
                  <a:pt x="425935" y="681919"/>
                  <a:pt x="407597" y="663581"/>
                  <a:pt x="407597" y="640961"/>
                </a:cubicBezTo>
                <a:cubicBezTo>
                  <a:pt x="407597" y="618341"/>
                  <a:pt x="425935" y="600003"/>
                  <a:pt x="448555" y="600003"/>
                </a:cubicBezTo>
                <a:close/>
                <a:moveTo>
                  <a:pt x="306633" y="600003"/>
                </a:moveTo>
                <a:cubicBezTo>
                  <a:pt x="329253" y="600003"/>
                  <a:pt x="347591" y="618341"/>
                  <a:pt x="347591" y="640961"/>
                </a:cubicBezTo>
                <a:cubicBezTo>
                  <a:pt x="347591" y="663581"/>
                  <a:pt x="329253" y="681919"/>
                  <a:pt x="306633" y="681919"/>
                </a:cubicBezTo>
                <a:cubicBezTo>
                  <a:pt x="284013" y="681919"/>
                  <a:pt x="265675" y="663581"/>
                  <a:pt x="265675" y="640961"/>
                </a:cubicBezTo>
                <a:cubicBezTo>
                  <a:pt x="265675" y="618341"/>
                  <a:pt x="284013" y="600003"/>
                  <a:pt x="306633" y="600003"/>
                </a:cubicBezTo>
                <a:close/>
                <a:moveTo>
                  <a:pt x="164711" y="600003"/>
                </a:moveTo>
                <a:cubicBezTo>
                  <a:pt x="187331" y="600003"/>
                  <a:pt x="205669" y="618341"/>
                  <a:pt x="205669" y="640961"/>
                </a:cubicBezTo>
                <a:cubicBezTo>
                  <a:pt x="205669" y="663581"/>
                  <a:pt x="187331" y="681919"/>
                  <a:pt x="164711" y="681919"/>
                </a:cubicBezTo>
                <a:cubicBezTo>
                  <a:pt x="142091" y="681919"/>
                  <a:pt x="123753" y="663581"/>
                  <a:pt x="123753" y="640961"/>
                </a:cubicBezTo>
                <a:cubicBezTo>
                  <a:pt x="123753" y="618341"/>
                  <a:pt x="142091" y="600003"/>
                  <a:pt x="164711" y="600003"/>
                </a:cubicBezTo>
                <a:close/>
                <a:moveTo>
                  <a:pt x="22789" y="600003"/>
                </a:moveTo>
                <a:cubicBezTo>
                  <a:pt x="45409" y="600003"/>
                  <a:pt x="63747" y="618341"/>
                  <a:pt x="63747" y="640961"/>
                </a:cubicBezTo>
                <a:cubicBezTo>
                  <a:pt x="63747" y="663581"/>
                  <a:pt x="45409" y="681919"/>
                  <a:pt x="22789" y="681919"/>
                </a:cubicBezTo>
                <a:lnTo>
                  <a:pt x="0" y="672479"/>
                </a:lnTo>
                <a:lnTo>
                  <a:pt x="0" y="609443"/>
                </a:lnTo>
                <a:close/>
                <a:moveTo>
                  <a:pt x="590479" y="441888"/>
                </a:moveTo>
                <a:cubicBezTo>
                  <a:pt x="613099" y="441888"/>
                  <a:pt x="631437" y="460226"/>
                  <a:pt x="631437" y="482846"/>
                </a:cubicBezTo>
                <a:cubicBezTo>
                  <a:pt x="631437" y="505466"/>
                  <a:pt x="613099" y="523804"/>
                  <a:pt x="590479" y="523804"/>
                </a:cubicBezTo>
                <a:cubicBezTo>
                  <a:pt x="567859" y="523804"/>
                  <a:pt x="549521" y="505466"/>
                  <a:pt x="549521" y="482846"/>
                </a:cubicBezTo>
                <a:cubicBezTo>
                  <a:pt x="549521" y="460226"/>
                  <a:pt x="567859" y="441888"/>
                  <a:pt x="590479" y="441888"/>
                </a:cubicBezTo>
                <a:close/>
                <a:moveTo>
                  <a:pt x="448555" y="441888"/>
                </a:moveTo>
                <a:cubicBezTo>
                  <a:pt x="471175" y="441888"/>
                  <a:pt x="489513" y="460226"/>
                  <a:pt x="489513" y="482846"/>
                </a:cubicBezTo>
                <a:cubicBezTo>
                  <a:pt x="489513" y="505466"/>
                  <a:pt x="471175" y="523804"/>
                  <a:pt x="448555" y="523804"/>
                </a:cubicBezTo>
                <a:cubicBezTo>
                  <a:pt x="425935" y="523804"/>
                  <a:pt x="407597" y="505466"/>
                  <a:pt x="407597" y="482846"/>
                </a:cubicBezTo>
                <a:cubicBezTo>
                  <a:pt x="407597" y="460226"/>
                  <a:pt x="425935" y="441888"/>
                  <a:pt x="448555" y="441888"/>
                </a:cubicBezTo>
                <a:close/>
                <a:moveTo>
                  <a:pt x="306633" y="441888"/>
                </a:moveTo>
                <a:cubicBezTo>
                  <a:pt x="329253" y="441888"/>
                  <a:pt x="347591" y="460226"/>
                  <a:pt x="347591" y="482846"/>
                </a:cubicBezTo>
                <a:cubicBezTo>
                  <a:pt x="347591" y="505466"/>
                  <a:pt x="329253" y="523804"/>
                  <a:pt x="306633" y="523804"/>
                </a:cubicBezTo>
                <a:cubicBezTo>
                  <a:pt x="284013" y="523804"/>
                  <a:pt x="265675" y="505466"/>
                  <a:pt x="265675" y="482846"/>
                </a:cubicBezTo>
                <a:cubicBezTo>
                  <a:pt x="265675" y="460226"/>
                  <a:pt x="284013" y="441888"/>
                  <a:pt x="306633" y="441888"/>
                </a:cubicBezTo>
                <a:close/>
                <a:moveTo>
                  <a:pt x="164711" y="441888"/>
                </a:moveTo>
                <a:cubicBezTo>
                  <a:pt x="187331" y="441888"/>
                  <a:pt x="205669" y="460226"/>
                  <a:pt x="205669" y="482846"/>
                </a:cubicBezTo>
                <a:cubicBezTo>
                  <a:pt x="205669" y="505466"/>
                  <a:pt x="187331" y="523804"/>
                  <a:pt x="164711" y="523804"/>
                </a:cubicBezTo>
                <a:cubicBezTo>
                  <a:pt x="142091" y="523804"/>
                  <a:pt x="123753" y="505466"/>
                  <a:pt x="123753" y="482846"/>
                </a:cubicBezTo>
                <a:cubicBezTo>
                  <a:pt x="123753" y="460226"/>
                  <a:pt x="142091" y="441888"/>
                  <a:pt x="164711" y="441888"/>
                </a:cubicBezTo>
                <a:close/>
                <a:moveTo>
                  <a:pt x="22789" y="441888"/>
                </a:moveTo>
                <a:cubicBezTo>
                  <a:pt x="45409" y="441888"/>
                  <a:pt x="63747" y="460226"/>
                  <a:pt x="63747" y="482846"/>
                </a:cubicBezTo>
                <a:cubicBezTo>
                  <a:pt x="63747" y="505466"/>
                  <a:pt x="45409" y="523804"/>
                  <a:pt x="22789" y="523804"/>
                </a:cubicBezTo>
                <a:lnTo>
                  <a:pt x="0" y="514364"/>
                </a:lnTo>
                <a:lnTo>
                  <a:pt x="0" y="451328"/>
                </a:lnTo>
                <a:close/>
                <a:moveTo>
                  <a:pt x="590479" y="283773"/>
                </a:moveTo>
                <a:cubicBezTo>
                  <a:pt x="613099" y="283773"/>
                  <a:pt x="631437" y="302111"/>
                  <a:pt x="631437" y="324731"/>
                </a:cubicBezTo>
                <a:cubicBezTo>
                  <a:pt x="631437" y="347351"/>
                  <a:pt x="613099" y="365689"/>
                  <a:pt x="590479" y="365689"/>
                </a:cubicBezTo>
                <a:cubicBezTo>
                  <a:pt x="567859" y="365689"/>
                  <a:pt x="549521" y="347351"/>
                  <a:pt x="549521" y="324731"/>
                </a:cubicBezTo>
                <a:cubicBezTo>
                  <a:pt x="549521" y="302111"/>
                  <a:pt x="567859" y="283773"/>
                  <a:pt x="590479" y="283773"/>
                </a:cubicBezTo>
                <a:close/>
                <a:moveTo>
                  <a:pt x="448555" y="283773"/>
                </a:moveTo>
                <a:cubicBezTo>
                  <a:pt x="471175" y="283773"/>
                  <a:pt x="489513" y="302111"/>
                  <a:pt x="489513" y="324731"/>
                </a:cubicBezTo>
                <a:cubicBezTo>
                  <a:pt x="489513" y="347351"/>
                  <a:pt x="471175" y="365689"/>
                  <a:pt x="448555" y="365689"/>
                </a:cubicBezTo>
                <a:cubicBezTo>
                  <a:pt x="425935" y="365689"/>
                  <a:pt x="407597" y="347351"/>
                  <a:pt x="407597" y="324731"/>
                </a:cubicBezTo>
                <a:cubicBezTo>
                  <a:pt x="407597" y="302111"/>
                  <a:pt x="425935" y="283773"/>
                  <a:pt x="448555" y="283773"/>
                </a:cubicBezTo>
                <a:close/>
                <a:moveTo>
                  <a:pt x="306633" y="283773"/>
                </a:moveTo>
                <a:cubicBezTo>
                  <a:pt x="329253" y="283773"/>
                  <a:pt x="347591" y="302111"/>
                  <a:pt x="347591" y="324731"/>
                </a:cubicBezTo>
                <a:cubicBezTo>
                  <a:pt x="347591" y="347351"/>
                  <a:pt x="329253" y="365689"/>
                  <a:pt x="306633" y="365689"/>
                </a:cubicBezTo>
                <a:cubicBezTo>
                  <a:pt x="284013" y="365689"/>
                  <a:pt x="265675" y="347351"/>
                  <a:pt x="265675" y="324731"/>
                </a:cubicBezTo>
                <a:cubicBezTo>
                  <a:pt x="265675" y="302111"/>
                  <a:pt x="284013" y="283773"/>
                  <a:pt x="306633" y="283773"/>
                </a:cubicBezTo>
                <a:close/>
                <a:moveTo>
                  <a:pt x="164711" y="283773"/>
                </a:moveTo>
                <a:cubicBezTo>
                  <a:pt x="187331" y="283773"/>
                  <a:pt x="205669" y="302111"/>
                  <a:pt x="205669" y="324731"/>
                </a:cubicBezTo>
                <a:cubicBezTo>
                  <a:pt x="205669" y="347351"/>
                  <a:pt x="187331" y="365689"/>
                  <a:pt x="164711" y="365689"/>
                </a:cubicBezTo>
                <a:cubicBezTo>
                  <a:pt x="142091" y="365689"/>
                  <a:pt x="123753" y="347351"/>
                  <a:pt x="123753" y="324731"/>
                </a:cubicBezTo>
                <a:cubicBezTo>
                  <a:pt x="123753" y="302111"/>
                  <a:pt x="142091" y="283773"/>
                  <a:pt x="164711" y="283773"/>
                </a:cubicBezTo>
                <a:close/>
                <a:moveTo>
                  <a:pt x="22789" y="283773"/>
                </a:moveTo>
                <a:cubicBezTo>
                  <a:pt x="45409" y="283773"/>
                  <a:pt x="63747" y="302111"/>
                  <a:pt x="63747" y="324731"/>
                </a:cubicBezTo>
                <a:cubicBezTo>
                  <a:pt x="63747" y="347351"/>
                  <a:pt x="45409" y="365689"/>
                  <a:pt x="22789" y="365689"/>
                </a:cubicBezTo>
                <a:lnTo>
                  <a:pt x="0" y="356249"/>
                </a:lnTo>
                <a:lnTo>
                  <a:pt x="0" y="293213"/>
                </a:lnTo>
                <a:close/>
                <a:moveTo>
                  <a:pt x="448555" y="125658"/>
                </a:moveTo>
                <a:cubicBezTo>
                  <a:pt x="471175" y="125658"/>
                  <a:pt x="489513" y="143996"/>
                  <a:pt x="489513" y="166616"/>
                </a:cubicBezTo>
                <a:cubicBezTo>
                  <a:pt x="489513" y="189236"/>
                  <a:pt x="471175" y="207574"/>
                  <a:pt x="448555" y="207574"/>
                </a:cubicBezTo>
                <a:cubicBezTo>
                  <a:pt x="425935" y="207574"/>
                  <a:pt x="407597" y="189236"/>
                  <a:pt x="407597" y="166616"/>
                </a:cubicBezTo>
                <a:cubicBezTo>
                  <a:pt x="407597" y="143996"/>
                  <a:pt x="425935" y="125658"/>
                  <a:pt x="448555" y="125658"/>
                </a:cubicBezTo>
                <a:close/>
                <a:moveTo>
                  <a:pt x="306633" y="125658"/>
                </a:moveTo>
                <a:cubicBezTo>
                  <a:pt x="329253" y="125658"/>
                  <a:pt x="347591" y="143996"/>
                  <a:pt x="347591" y="166616"/>
                </a:cubicBezTo>
                <a:cubicBezTo>
                  <a:pt x="347591" y="189236"/>
                  <a:pt x="329253" y="207574"/>
                  <a:pt x="306633" y="207574"/>
                </a:cubicBezTo>
                <a:cubicBezTo>
                  <a:pt x="284013" y="207574"/>
                  <a:pt x="265675" y="189236"/>
                  <a:pt x="265675" y="166616"/>
                </a:cubicBezTo>
                <a:cubicBezTo>
                  <a:pt x="265675" y="143996"/>
                  <a:pt x="284013" y="125658"/>
                  <a:pt x="306633" y="125658"/>
                </a:cubicBezTo>
                <a:close/>
                <a:moveTo>
                  <a:pt x="164711" y="125658"/>
                </a:moveTo>
                <a:cubicBezTo>
                  <a:pt x="187331" y="125658"/>
                  <a:pt x="205669" y="143996"/>
                  <a:pt x="205669" y="166616"/>
                </a:cubicBezTo>
                <a:cubicBezTo>
                  <a:pt x="205669" y="189236"/>
                  <a:pt x="187331" y="207574"/>
                  <a:pt x="164711" y="207574"/>
                </a:cubicBezTo>
                <a:cubicBezTo>
                  <a:pt x="142091" y="207574"/>
                  <a:pt x="123753" y="189236"/>
                  <a:pt x="123753" y="166616"/>
                </a:cubicBezTo>
                <a:cubicBezTo>
                  <a:pt x="123753" y="143996"/>
                  <a:pt x="142091" y="125658"/>
                  <a:pt x="164711" y="125658"/>
                </a:cubicBezTo>
                <a:close/>
                <a:moveTo>
                  <a:pt x="22789" y="125658"/>
                </a:moveTo>
                <a:cubicBezTo>
                  <a:pt x="45409" y="125658"/>
                  <a:pt x="63747" y="143996"/>
                  <a:pt x="63747" y="166616"/>
                </a:cubicBezTo>
                <a:cubicBezTo>
                  <a:pt x="63747" y="189236"/>
                  <a:pt x="45409" y="207574"/>
                  <a:pt x="22789" y="207574"/>
                </a:cubicBezTo>
                <a:lnTo>
                  <a:pt x="0" y="198134"/>
                </a:lnTo>
                <a:lnTo>
                  <a:pt x="0" y="135098"/>
                </a:lnTo>
                <a:close/>
                <a:moveTo>
                  <a:pt x="590479" y="125658"/>
                </a:moveTo>
                <a:cubicBezTo>
                  <a:pt x="613099" y="125658"/>
                  <a:pt x="631437" y="143996"/>
                  <a:pt x="631437" y="166616"/>
                </a:cubicBezTo>
                <a:cubicBezTo>
                  <a:pt x="631437" y="189236"/>
                  <a:pt x="613099" y="207574"/>
                  <a:pt x="590479" y="207574"/>
                </a:cubicBezTo>
                <a:cubicBezTo>
                  <a:pt x="567859" y="207574"/>
                  <a:pt x="549521" y="189236"/>
                  <a:pt x="549521" y="166616"/>
                </a:cubicBezTo>
                <a:cubicBezTo>
                  <a:pt x="549521" y="143996"/>
                  <a:pt x="567859" y="125658"/>
                  <a:pt x="590479" y="125658"/>
                </a:cubicBezTo>
                <a:close/>
                <a:moveTo>
                  <a:pt x="553042" y="0"/>
                </a:moveTo>
                <a:lnTo>
                  <a:pt x="627916" y="0"/>
                </a:lnTo>
                <a:lnTo>
                  <a:pt x="631437" y="8501"/>
                </a:lnTo>
                <a:cubicBezTo>
                  <a:pt x="631437" y="31121"/>
                  <a:pt x="613099" y="49459"/>
                  <a:pt x="590479" y="49459"/>
                </a:cubicBezTo>
                <a:cubicBezTo>
                  <a:pt x="567859" y="49459"/>
                  <a:pt x="549521" y="31121"/>
                  <a:pt x="549521" y="8501"/>
                </a:cubicBezTo>
                <a:close/>
                <a:moveTo>
                  <a:pt x="411118" y="0"/>
                </a:moveTo>
                <a:lnTo>
                  <a:pt x="485992" y="0"/>
                </a:lnTo>
                <a:lnTo>
                  <a:pt x="489513" y="8501"/>
                </a:lnTo>
                <a:cubicBezTo>
                  <a:pt x="489513" y="31121"/>
                  <a:pt x="471175" y="49459"/>
                  <a:pt x="448555" y="49459"/>
                </a:cubicBezTo>
                <a:cubicBezTo>
                  <a:pt x="425935" y="49459"/>
                  <a:pt x="407597" y="31121"/>
                  <a:pt x="407597" y="8501"/>
                </a:cubicBezTo>
                <a:close/>
                <a:moveTo>
                  <a:pt x="269196" y="0"/>
                </a:moveTo>
                <a:lnTo>
                  <a:pt x="344070" y="0"/>
                </a:lnTo>
                <a:lnTo>
                  <a:pt x="347591" y="8501"/>
                </a:lnTo>
                <a:cubicBezTo>
                  <a:pt x="347591" y="31121"/>
                  <a:pt x="329253" y="49459"/>
                  <a:pt x="306633" y="49459"/>
                </a:cubicBezTo>
                <a:cubicBezTo>
                  <a:pt x="284013" y="49459"/>
                  <a:pt x="265675" y="31121"/>
                  <a:pt x="265675" y="8501"/>
                </a:cubicBezTo>
                <a:close/>
                <a:moveTo>
                  <a:pt x="127274" y="0"/>
                </a:moveTo>
                <a:lnTo>
                  <a:pt x="202148" y="0"/>
                </a:lnTo>
                <a:lnTo>
                  <a:pt x="205669" y="8501"/>
                </a:lnTo>
                <a:cubicBezTo>
                  <a:pt x="205669" y="31121"/>
                  <a:pt x="187331" y="49459"/>
                  <a:pt x="164711" y="49459"/>
                </a:cubicBezTo>
                <a:cubicBezTo>
                  <a:pt x="142091" y="49459"/>
                  <a:pt x="123753" y="31121"/>
                  <a:pt x="123753" y="8501"/>
                </a:cubicBezTo>
                <a:close/>
                <a:moveTo>
                  <a:pt x="0" y="0"/>
                </a:moveTo>
                <a:lnTo>
                  <a:pt x="60226" y="0"/>
                </a:lnTo>
                <a:lnTo>
                  <a:pt x="63747" y="8501"/>
                </a:lnTo>
                <a:cubicBezTo>
                  <a:pt x="63747" y="31121"/>
                  <a:pt x="45409" y="49459"/>
                  <a:pt x="22789" y="49459"/>
                </a:cubicBezTo>
                <a:lnTo>
                  <a:pt x="0" y="40019"/>
                </a:lnTo>
                <a:close/>
              </a:path>
            </a:pathLst>
          </a:custGeom>
          <a:gradFill flip="none" rotWithShape="1">
            <a:gsLst>
              <a:gs pos="6000">
                <a:srgbClr val="FE832C"/>
              </a:gs>
              <a:gs pos="61000">
                <a:srgbClr val="FFCEAB"/>
              </a:gs>
              <a:gs pos="0">
                <a:srgbClr val="EA5504"/>
              </a:gs>
              <a:gs pos="100000">
                <a:srgbClr val="FBE9D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9" name="直接连接符 18">
            <a:extLst>
              <a:ext uri="{FF2B5EF4-FFF2-40B4-BE49-F238E27FC236}">
                <a16:creationId xmlns:a16="http://schemas.microsoft.com/office/drawing/2014/main" id="{3DED0CDB-0E0F-411B-8D05-07E20388F1A3}"/>
              </a:ext>
            </a:extLst>
          </p:cNvPr>
          <p:cNvCxnSpPr>
            <a:cxnSpLocks/>
          </p:cNvCxnSpPr>
          <p:nvPr userDrawn="1"/>
        </p:nvCxnSpPr>
        <p:spPr>
          <a:xfrm flipV="1">
            <a:off x="5187643" y="2859087"/>
            <a:ext cx="2087108" cy="3998914"/>
          </a:xfrm>
          <a:prstGeom prst="line">
            <a:avLst/>
          </a:prstGeom>
          <a:ln w="15875">
            <a:gradFill flip="none" rotWithShape="1"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54000">
                  <a:srgbClr val="FFC000"/>
                </a:gs>
                <a:gs pos="83000">
                  <a:srgbClr val="FB832D"/>
                </a:gs>
                <a:gs pos="100000">
                  <a:srgbClr val="EA5504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直接连接符 27">
            <a:extLst>
              <a:ext uri="{FF2B5EF4-FFF2-40B4-BE49-F238E27FC236}">
                <a16:creationId xmlns:a16="http://schemas.microsoft.com/office/drawing/2014/main" id="{DDF3229D-0AD2-4A3A-92CA-57C2E25BB380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9037673" y="-9732"/>
            <a:ext cx="3187396" cy="6285842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文本占位符 29">
            <a:extLst>
              <a:ext uri="{FF2B5EF4-FFF2-40B4-BE49-F238E27FC236}">
                <a16:creationId xmlns:a16="http://schemas.microsoft.com/office/drawing/2014/main" id="{7E95DE20-3A31-42AA-AF6C-9CA43D02169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5076" y="2914028"/>
            <a:ext cx="4011188" cy="122019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buNone/>
              <a:defRPr lang="zh-CN" altLang="en-US" sz="1200" kern="2200" spc="18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zh-CN" altLang="en-US" dirty="0"/>
              <a:t>点击添加文本点击添加文本</a:t>
            </a:r>
            <a:br>
              <a:rPr lang="en-US" altLang="zh-CN" dirty="0"/>
            </a:br>
            <a:r>
              <a:rPr lang="en-US" altLang="zh-CN" dirty="0"/>
              <a:t>……</a:t>
            </a:r>
            <a:endParaRPr lang="zh-CN" altLang="en-US" dirty="0"/>
          </a:p>
        </p:txBody>
      </p:sp>
      <p:sp>
        <p:nvSpPr>
          <p:cNvPr id="29" name="文本占位符 29">
            <a:extLst>
              <a:ext uri="{FF2B5EF4-FFF2-40B4-BE49-F238E27FC236}">
                <a16:creationId xmlns:a16="http://schemas.microsoft.com/office/drawing/2014/main" id="{68DAFD52-CC8F-44DB-AAE5-16FEE16E915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5643" y="2087900"/>
            <a:ext cx="607293" cy="564099"/>
          </a:xfrm>
          <a:prstGeom prst="rect">
            <a:avLst/>
          </a:prstGeom>
        </p:spPr>
        <p:txBody>
          <a:bodyPr anchor="ctr">
            <a:prstTxWarp prst="textPlain">
              <a:avLst/>
            </a:prstTxWarp>
            <a:noAutofit/>
          </a:bodyPr>
          <a:lstStyle>
            <a:lvl1pPr marL="0" indent="0" algn="l" defTabSz="914400" rtl="0" eaLnBrk="1" latinLnBrk="0" hangingPunct="1">
              <a:buNone/>
              <a:defRPr lang="zh-CN" altLang="en-US" sz="2400" b="0" kern="2200" spc="180" dirty="0">
                <a:solidFill>
                  <a:schemeClr val="accent1"/>
                </a:solidFill>
                <a:latin typeface="Impact" panose="020B080603090205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zh-CN" dirty="0"/>
              <a:t>01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747561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9300883" y="6381684"/>
            <a:ext cx="2743200" cy="365125"/>
          </a:xfrm>
        </p:spPr>
        <p:txBody>
          <a:bodyPr/>
          <a:lstStyle>
            <a:lvl1pPr algn="r">
              <a:defRPr sz="1600"/>
            </a:lvl1pPr>
          </a:lstStyle>
          <a:p>
            <a:fld id="{D174682D-7201-4549-AB46-A3B3CC68F057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3" name="流程图: 接点 2">
            <a:extLst>
              <a:ext uri="{FF2B5EF4-FFF2-40B4-BE49-F238E27FC236}">
                <a16:creationId xmlns:a16="http://schemas.microsoft.com/office/drawing/2014/main" id="{C4E02A8D-56BA-2A02-50C5-8FF20B9E4246}"/>
              </a:ext>
            </a:extLst>
          </p:cNvPr>
          <p:cNvSpPr/>
          <p:nvPr userDrawn="1"/>
        </p:nvSpPr>
        <p:spPr>
          <a:xfrm>
            <a:off x="341744" y="332508"/>
            <a:ext cx="508002" cy="432000"/>
          </a:xfrm>
          <a:prstGeom prst="flowChartConnector">
            <a:avLst/>
          </a:prstGeom>
          <a:solidFill>
            <a:srgbClr val="F05A23"/>
          </a:solidFill>
          <a:ln w="9525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36000" tIns="108000" rIns="36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endParaRPr lang="zh-CN" altLang="en-US" sz="1100" b="1" kern="0">
              <a:solidFill>
                <a:prstClr val="black"/>
              </a:solidFill>
              <a:latin typeface="Arial"/>
              <a:ea typeface="华文楷体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700131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-封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>
            <a:extLst>
              <a:ext uri="{FF2B5EF4-FFF2-40B4-BE49-F238E27FC236}">
                <a16:creationId xmlns:a16="http://schemas.microsoft.com/office/drawing/2014/main" id="{BFEEE009-3497-4B68-8D19-2701035D6C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6697" y="2155"/>
            <a:ext cx="11168799" cy="6850806"/>
          </a:xfrm>
          <a:prstGeom prst="rect">
            <a:avLst/>
          </a:prstGeom>
          <a:ln w="12700">
            <a:miter lim="400000"/>
            <a:headEnd/>
            <a:tailEnd/>
          </a:ln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44FD7D8B-4FD1-406E-89FC-0092C3E5E5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"/>
          <a:stretch/>
        </p:blipFill>
        <p:spPr>
          <a:xfrm>
            <a:off x="1045815" y="5038"/>
            <a:ext cx="11146185" cy="6852961"/>
          </a:xfrm>
          <a:prstGeom prst="rect">
            <a:avLst/>
          </a:prstGeom>
        </p:spPr>
      </p:pic>
      <p:sp>
        <p:nvSpPr>
          <p:cNvPr id="8" name="矩形 7">
            <a:extLst>
              <a:ext uri="{FF2B5EF4-FFF2-40B4-BE49-F238E27FC236}">
                <a16:creationId xmlns:a16="http://schemas.microsoft.com/office/drawing/2014/main" id="{3D850A58-356A-433F-A879-388339565219}"/>
              </a:ext>
            </a:extLst>
          </p:cNvPr>
          <p:cNvSpPr/>
          <p:nvPr userDrawn="1"/>
        </p:nvSpPr>
        <p:spPr>
          <a:xfrm>
            <a:off x="3252" y="3597"/>
            <a:ext cx="12185496" cy="6850806"/>
          </a:xfrm>
          <a:prstGeom prst="rect">
            <a:avLst/>
          </a:prstGeom>
          <a:gradFill flip="none" rotWithShape="1">
            <a:gsLst>
              <a:gs pos="15000">
                <a:srgbClr val="FDF1ED">
                  <a:alpha val="97647"/>
                </a:srgbClr>
              </a:gs>
              <a:gs pos="27000">
                <a:srgbClr val="FEF8F6">
                  <a:alpha val="86000"/>
                </a:srgbClr>
              </a:gs>
              <a:gs pos="56000">
                <a:schemeClr val="bg1">
                  <a:alpha val="86000"/>
                </a:schemeClr>
              </a:gs>
              <a:gs pos="0">
                <a:srgbClr val="FDEAE3"/>
              </a:gs>
              <a:gs pos="100000">
                <a:schemeClr val="bg1">
                  <a:alpha val="64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任意多边形: 形状 12">
            <a:extLst>
              <a:ext uri="{FF2B5EF4-FFF2-40B4-BE49-F238E27FC236}">
                <a16:creationId xmlns:a16="http://schemas.microsoft.com/office/drawing/2014/main" id="{118B6A77-C3AD-408F-BB2B-9EA91C5D3A38}"/>
              </a:ext>
            </a:extLst>
          </p:cNvPr>
          <p:cNvSpPr/>
          <p:nvPr userDrawn="1"/>
        </p:nvSpPr>
        <p:spPr>
          <a:xfrm>
            <a:off x="0" y="0"/>
            <a:ext cx="690654" cy="745871"/>
          </a:xfrm>
          <a:custGeom>
            <a:avLst/>
            <a:gdLst>
              <a:gd name="connsiteX0" fmla="*/ 590479 w 631437"/>
              <a:gd name="connsiteY0" fmla="*/ 600003 h 681919"/>
              <a:gd name="connsiteX1" fmla="*/ 631437 w 631437"/>
              <a:gd name="connsiteY1" fmla="*/ 640961 h 681919"/>
              <a:gd name="connsiteX2" fmla="*/ 590479 w 631437"/>
              <a:gd name="connsiteY2" fmla="*/ 681919 h 681919"/>
              <a:gd name="connsiteX3" fmla="*/ 549521 w 631437"/>
              <a:gd name="connsiteY3" fmla="*/ 640961 h 681919"/>
              <a:gd name="connsiteX4" fmla="*/ 590479 w 631437"/>
              <a:gd name="connsiteY4" fmla="*/ 600003 h 681919"/>
              <a:gd name="connsiteX5" fmla="*/ 448555 w 631437"/>
              <a:gd name="connsiteY5" fmla="*/ 600003 h 681919"/>
              <a:gd name="connsiteX6" fmla="*/ 489513 w 631437"/>
              <a:gd name="connsiteY6" fmla="*/ 640961 h 681919"/>
              <a:gd name="connsiteX7" fmla="*/ 448555 w 631437"/>
              <a:gd name="connsiteY7" fmla="*/ 681919 h 681919"/>
              <a:gd name="connsiteX8" fmla="*/ 407597 w 631437"/>
              <a:gd name="connsiteY8" fmla="*/ 640961 h 681919"/>
              <a:gd name="connsiteX9" fmla="*/ 448555 w 631437"/>
              <a:gd name="connsiteY9" fmla="*/ 600003 h 681919"/>
              <a:gd name="connsiteX10" fmla="*/ 306633 w 631437"/>
              <a:gd name="connsiteY10" fmla="*/ 600003 h 681919"/>
              <a:gd name="connsiteX11" fmla="*/ 347591 w 631437"/>
              <a:gd name="connsiteY11" fmla="*/ 640961 h 681919"/>
              <a:gd name="connsiteX12" fmla="*/ 306633 w 631437"/>
              <a:gd name="connsiteY12" fmla="*/ 681919 h 681919"/>
              <a:gd name="connsiteX13" fmla="*/ 265675 w 631437"/>
              <a:gd name="connsiteY13" fmla="*/ 640961 h 681919"/>
              <a:gd name="connsiteX14" fmla="*/ 306633 w 631437"/>
              <a:gd name="connsiteY14" fmla="*/ 600003 h 681919"/>
              <a:gd name="connsiteX15" fmla="*/ 164711 w 631437"/>
              <a:gd name="connsiteY15" fmla="*/ 600003 h 681919"/>
              <a:gd name="connsiteX16" fmla="*/ 205669 w 631437"/>
              <a:gd name="connsiteY16" fmla="*/ 640961 h 681919"/>
              <a:gd name="connsiteX17" fmla="*/ 164711 w 631437"/>
              <a:gd name="connsiteY17" fmla="*/ 681919 h 681919"/>
              <a:gd name="connsiteX18" fmla="*/ 123753 w 631437"/>
              <a:gd name="connsiteY18" fmla="*/ 640961 h 681919"/>
              <a:gd name="connsiteX19" fmla="*/ 164711 w 631437"/>
              <a:gd name="connsiteY19" fmla="*/ 600003 h 681919"/>
              <a:gd name="connsiteX20" fmla="*/ 22789 w 631437"/>
              <a:gd name="connsiteY20" fmla="*/ 600003 h 681919"/>
              <a:gd name="connsiteX21" fmla="*/ 63747 w 631437"/>
              <a:gd name="connsiteY21" fmla="*/ 640961 h 681919"/>
              <a:gd name="connsiteX22" fmla="*/ 22789 w 631437"/>
              <a:gd name="connsiteY22" fmla="*/ 681919 h 681919"/>
              <a:gd name="connsiteX23" fmla="*/ 0 w 631437"/>
              <a:gd name="connsiteY23" fmla="*/ 672479 h 681919"/>
              <a:gd name="connsiteX24" fmla="*/ 0 w 631437"/>
              <a:gd name="connsiteY24" fmla="*/ 609443 h 681919"/>
              <a:gd name="connsiteX25" fmla="*/ 590479 w 631437"/>
              <a:gd name="connsiteY25" fmla="*/ 441888 h 681919"/>
              <a:gd name="connsiteX26" fmla="*/ 631437 w 631437"/>
              <a:gd name="connsiteY26" fmla="*/ 482846 h 681919"/>
              <a:gd name="connsiteX27" fmla="*/ 590479 w 631437"/>
              <a:gd name="connsiteY27" fmla="*/ 523804 h 681919"/>
              <a:gd name="connsiteX28" fmla="*/ 549521 w 631437"/>
              <a:gd name="connsiteY28" fmla="*/ 482846 h 681919"/>
              <a:gd name="connsiteX29" fmla="*/ 590479 w 631437"/>
              <a:gd name="connsiteY29" fmla="*/ 441888 h 681919"/>
              <a:gd name="connsiteX30" fmla="*/ 448555 w 631437"/>
              <a:gd name="connsiteY30" fmla="*/ 441888 h 681919"/>
              <a:gd name="connsiteX31" fmla="*/ 489513 w 631437"/>
              <a:gd name="connsiteY31" fmla="*/ 482846 h 681919"/>
              <a:gd name="connsiteX32" fmla="*/ 448555 w 631437"/>
              <a:gd name="connsiteY32" fmla="*/ 523804 h 681919"/>
              <a:gd name="connsiteX33" fmla="*/ 407597 w 631437"/>
              <a:gd name="connsiteY33" fmla="*/ 482846 h 681919"/>
              <a:gd name="connsiteX34" fmla="*/ 448555 w 631437"/>
              <a:gd name="connsiteY34" fmla="*/ 441888 h 681919"/>
              <a:gd name="connsiteX35" fmla="*/ 306633 w 631437"/>
              <a:gd name="connsiteY35" fmla="*/ 441888 h 681919"/>
              <a:gd name="connsiteX36" fmla="*/ 347591 w 631437"/>
              <a:gd name="connsiteY36" fmla="*/ 482846 h 681919"/>
              <a:gd name="connsiteX37" fmla="*/ 306633 w 631437"/>
              <a:gd name="connsiteY37" fmla="*/ 523804 h 681919"/>
              <a:gd name="connsiteX38" fmla="*/ 265675 w 631437"/>
              <a:gd name="connsiteY38" fmla="*/ 482846 h 681919"/>
              <a:gd name="connsiteX39" fmla="*/ 306633 w 631437"/>
              <a:gd name="connsiteY39" fmla="*/ 441888 h 681919"/>
              <a:gd name="connsiteX40" fmla="*/ 164711 w 631437"/>
              <a:gd name="connsiteY40" fmla="*/ 441888 h 681919"/>
              <a:gd name="connsiteX41" fmla="*/ 205669 w 631437"/>
              <a:gd name="connsiteY41" fmla="*/ 482846 h 681919"/>
              <a:gd name="connsiteX42" fmla="*/ 164711 w 631437"/>
              <a:gd name="connsiteY42" fmla="*/ 523804 h 681919"/>
              <a:gd name="connsiteX43" fmla="*/ 123753 w 631437"/>
              <a:gd name="connsiteY43" fmla="*/ 482846 h 681919"/>
              <a:gd name="connsiteX44" fmla="*/ 164711 w 631437"/>
              <a:gd name="connsiteY44" fmla="*/ 441888 h 681919"/>
              <a:gd name="connsiteX45" fmla="*/ 22789 w 631437"/>
              <a:gd name="connsiteY45" fmla="*/ 441888 h 681919"/>
              <a:gd name="connsiteX46" fmla="*/ 63747 w 631437"/>
              <a:gd name="connsiteY46" fmla="*/ 482846 h 681919"/>
              <a:gd name="connsiteX47" fmla="*/ 22789 w 631437"/>
              <a:gd name="connsiteY47" fmla="*/ 523804 h 681919"/>
              <a:gd name="connsiteX48" fmla="*/ 0 w 631437"/>
              <a:gd name="connsiteY48" fmla="*/ 514364 h 681919"/>
              <a:gd name="connsiteX49" fmla="*/ 0 w 631437"/>
              <a:gd name="connsiteY49" fmla="*/ 451328 h 681919"/>
              <a:gd name="connsiteX50" fmla="*/ 590479 w 631437"/>
              <a:gd name="connsiteY50" fmla="*/ 283773 h 681919"/>
              <a:gd name="connsiteX51" fmla="*/ 631437 w 631437"/>
              <a:gd name="connsiteY51" fmla="*/ 324731 h 681919"/>
              <a:gd name="connsiteX52" fmla="*/ 590479 w 631437"/>
              <a:gd name="connsiteY52" fmla="*/ 365689 h 681919"/>
              <a:gd name="connsiteX53" fmla="*/ 549521 w 631437"/>
              <a:gd name="connsiteY53" fmla="*/ 324731 h 681919"/>
              <a:gd name="connsiteX54" fmla="*/ 590479 w 631437"/>
              <a:gd name="connsiteY54" fmla="*/ 283773 h 681919"/>
              <a:gd name="connsiteX55" fmla="*/ 448555 w 631437"/>
              <a:gd name="connsiteY55" fmla="*/ 283773 h 681919"/>
              <a:gd name="connsiteX56" fmla="*/ 489513 w 631437"/>
              <a:gd name="connsiteY56" fmla="*/ 324731 h 681919"/>
              <a:gd name="connsiteX57" fmla="*/ 448555 w 631437"/>
              <a:gd name="connsiteY57" fmla="*/ 365689 h 681919"/>
              <a:gd name="connsiteX58" fmla="*/ 407597 w 631437"/>
              <a:gd name="connsiteY58" fmla="*/ 324731 h 681919"/>
              <a:gd name="connsiteX59" fmla="*/ 448555 w 631437"/>
              <a:gd name="connsiteY59" fmla="*/ 283773 h 681919"/>
              <a:gd name="connsiteX60" fmla="*/ 306633 w 631437"/>
              <a:gd name="connsiteY60" fmla="*/ 283773 h 681919"/>
              <a:gd name="connsiteX61" fmla="*/ 347591 w 631437"/>
              <a:gd name="connsiteY61" fmla="*/ 324731 h 681919"/>
              <a:gd name="connsiteX62" fmla="*/ 306633 w 631437"/>
              <a:gd name="connsiteY62" fmla="*/ 365689 h 681919"/>
              <a:gd name="connsiteX63" fmla="*/ 265675 w 631437"/>
              <a:gd name="connsiteY63" fmla="*/ 324731 h 681919"/>
              <a:gd name="connsiteX64" fmla="*/ 306633 w 631437"/>
              <a:gd name="connsiteY64" fmla="*/ 283773 h 681919"/>
              <a:gd name="connsiteX65" fmla="*/ 164711 w 631437"/>
              <a:gd name="connsiteY65" fmla="*/ 283773 h 681919"/>
              <a:gd name="connsiteX66" fmla="*/ 205669 w 631437"/>
              <a:gd name="connsiteY66" fmla="*/ 324731 h 681919"/>
              <a:gd name="connsiteX67" fmla="*/ 164711 w 631437"/>
              <a:gd name="connsiteY67" fmla="*/ 365689 h 681919"/>
              <a:gd name="connsiteX68" fmla="*/ 123753 w 631437"/>
              <a:gd name="connsiteY68" fmla="*/ 324731 h 681919"/>
              <a:gd name="connsiteX69" fmla="*/ 164711 w 631437"/>
              <a:gd name="connsiteY69" fmla="*/ 283773 h 681919"/>
              <a:gd name="connsiteX70" fmla="*/ 22789 w 631437"/>
              <a:gd name="connsiteY70" fmla="*/ 283773 h 681919"/>
              <a:gd name="connsiteX71" fmla="*/ 63747 w 631437"/>
              <a:gd name="connsiteY71" fmla="*/ 324731 h 681919"/>
              <a:gd name="connsiteX72" fmla="*/ 22789 w 631437"/>
              <a:gd name="connsiteY72" fmla="*/ 365689 h 681919"/>
              <a:gd name="connsiteX73" fmla="*/ 0 w 631437"/>
              <a:gd name="connsiteY73" fmla="*/ 356249 h 681919"/>
              <a:gd name="connsiteX74" fmla="*/ 0 w 631437"/>
              <a:gd name="connsiteY74" fmla="*/ 293213 h 681919"/>
              <a:gd name="connsiteX75" fmla="*/ 448555 w 631437"/>
              <a:gd name="connsiteY75" fmla="*/ 125658 h 681919"/>
              <a:gd name="connsiteX76" fmla="*/ 489513 w 631437"/>
              <a:gd name="connsiteY76" fmla="*/ 166616 h 681919"/>
              <a:gd name="connsiteX77" fmla="*/ 448555 w 631437"/>
              <a:gd name="connsiteY77" fmla="*/ 207574 h 681919"/>
              <a:gd name="connsiteX78" fmla="*/ 407597 w 631437"/>
              <a:gd name="connsiteY78" fmla="*/ 166616 h 681919"/>
              <a:gd name="connsiteX79" fmla="*/ 448555 w 631437"/>
              <a:gd name="connsiteY79" fmla="*/ 125658 h 681919"/>
              <a:gd name="connsiteX80" fmla="*/ 306633 w 631437"/>
              <a:gd name="connsiteY80" fmla="*/ 125658 h 681919"/>
              <a:gd name="connsiteX81" fmla="*/ 347591 w 631437"/>
              <a:gd name="connsiteY81" fmla="*/ 166616 h 681919"/>
              <a:gd name="connsiteX82" fmla="*/ 306633 w 631437"/>
              <a:gd name="connsiteY82" fmla="*/ 207574 h 681919"/>
              <a:gd name="connsiteX83" fmla="*/ 265675 w 631437"/>
              <a:gd name="connsiteY83" fmla="*/ 166616 h 681919"/>
              <a:gd name="connsiteX84" fmla="*/ 306633 w 631437"/>
              <a:gd name="connsiteY84" fmla="*/ 125658 h 681919"/>
              <a:gd name="connsiteX85" fmla="*/ 164711 w 631437"/>
              <a:gd name="connsiteY85" fmla="*/ 125658 h 681919"/>
              <a:gd name="connsiteX86" fmla="*/ 205669 w 631437"/>
              <a:gd name="connsiteY86" fmla="*/ 166616 h 681919"/>
              <a:gd name="connsiteX87" fmla="*/ 164711 w 631437"/>
              <a:gd name="connsiteY87" fmla="*/ 207574 h 681919"/>
              <a:gd name="connsiteX88" fmla="*/ 123753 w 631437"/>
              <a:gd name="connsiteY88" fmla="*/ 166616 h 681919"/>
              <a:gd name="connsiteX89" fmla="*/ 164711 w 631437"/>
              <a:gd name="connsiteY89" fmla="*/ 125658 h 681919"/>
              <a:gd name="connsiteX90" fmla="*/ 22789 w 631437"/>
              <a:gd name="connsiteY90" fmla="*/ 125658 h 681919"/>
              <a:gd name="connsiteX91" fmla="*/ 63747 w 631437"/>
              <a:gd name="connsiteY91" fmla="*/ 166616 h 681919"/>
              <a:gd name="connsiteX92" fmla="*/ 22789 w 631437"/>
              <a:gd name="connsiteY92" fmla="*/ 207574 h 681919"/>
              <a:gd name="connsiteX93" fmla="*/ 0 w 631437"/>
              <a:gd name="connsiteY93" fmla="*/ 198134 h 681919"/>
              <a:gd name="connsiteX94" fmla="*/ 0 w 631437"/>
              <a:gd name="connsiteY94" fmla="*/ 135098 h 681919"/>
              <a:gd name="connsiteX95" fmla="*/ 590479 w 631437"/>
              <a:gd name="connsiteY95" fmla="*/ 125658 h 681919"/>
              <a:gd name="connsiteX96" fmla="*/ 631437 w 631437"/>
              <a:gd name="connsiteY96" fmla="*/ 166616 h 681919"/>
              <a:gd name="connsiteX97" fmla="*/ 590479 w 631437"/>
              <a:gd name="connsiteY97" fmla="*/ 207574 h 681919"/>
              <a:gd name="connsiteX98" fmla="*/ 549521 w 631437"/>
              <a:gd name="connsiteY98" fmla="*/ 166616 h 681919"/>
              <a:gd name="connsiteX99" fmla="*/ 590479 w 631437"/>
              <a:gd name="connsiteY99" fmla="*/ 125658 h 681919"/>
              <a:gd name="connsiteX100" fmla="*/ 553042 w 631437"/>
              <a:gd name="connsiteY100" fmla="*/ 0 h 681919"/>
              <a:gd name="connsiteX101" fmla="*/ 627916 w 631437"/>
              <a:gd name="connsiteY101" fmla="*/ 0 h 681919"/>
              <a:gd name="connsiteX102" fmla="*/ 631437 w 631437"/>
              <a:gd name="connsiteY102" fmla="*/ 8501 h 681919"/>
              <a:gd name="connsiteX103" fmla="*/ 590479 w 631437"/>
              <a:gd name="connsiteY103" fmla="*/ 49459 h 681919"/>
              <a:gd name="connsiteX104" fmla="*/ 549521 w 631437"/>
              <a:gd name="connsiteY104" fmla="*/ 8501 h 681919"/>
              <a:gd name="connsiteX105" fmla="*/ 411118 w 631437"/>
              <a:gd name="connsiteY105" fmla="*/ 0 h 681919"/>
              <a:gd name="connsiteX106" fmla="*/ 485992 w 631437"/>
              <a:gd name="connsiteY106" fmla="*/ 0 h 681919"/>
              <a:gd name="connsiteX107" fmla="*/ 489513 w 631437"/>
              <a:gd name="connsiteY107" fmla="*/ 8501 h 681919"/>
              <a:gd name="connsiteX108" fmla="*/ 448555 w 631437"/>
              <a:gd name="connsiteY108" fmla="*/ 49459 h 681919"/>
              <a:gd name="connsiteX109" fmla="*/ 407597 w 631437"/>
              <a:gd name="connsiteY109" fmla="*/ 8501 h 681919"/>
              <a:gd name="connsiteX110" fmla="*/ 269196 w 631437"/>
              <a:gd name="connsiteY110" fmla="*/ 0 h 681919"/>
              <a:gd name="connsiteX111" fmla="*/ 344070 w 631437"/>
              <a:gd name="connsiteY111" fmla="*/ 0 h 681919"/>
              <a:gd name="connsiteX112" fmla="*/ 347591 w 631437"/>
              <a:gd name="connsiteY112" fmla="*/ 8501 h 681919"/>
              <a:gd name="connsiteX113" fmla="*/ 306633 w 631437"/>
              <a:gd name="connsiteY113" fmla="*/ 49459 h 681919"/>
              <a:gd name="connsiteX114" fmla="*/ 265675 w 631437"/>
              <a:gd name="connsiteY114" fmla="*/ 8501 h 681919"/>
              <a:gd name="connsiteX115" fmla="*/ 127274 w 631437"/>
              <a:gd name="connsiteY115" fmla="*/ 0 h 681919"/>
              <a:gd name="connsiteX116" fmla="*/ 202148 w 631437"/>
              <a:gd name="connsiteY116" fmla="*/ 0 h 681919"/>
              <a:gd name="connsiteX117" fmla="*/ 205669 w 631437"/>
              <a:gd name="connsiteY117" fmla="*/ 8501 h 681919"/>
              <a:gd name="connsiteX118" fmla="*/ 164711 w 631437"/>
              <a:gd name="connsiteY118" fmla="*/ 49459 h 681919"/>
              <a:gd name="connsiteX119" fmla="*/ 123753 w 631437"/>
              <a:gd name="connsiteY119" fmla="*/ 8501 h 681919"/>
              <a:gd name="connsiteX120" fmla="*/ 0 w 631437"/>
              <a:gd name="connsiteY120" fmla="*/ 0 h 681919"/>
              <a:gd name="connsiteX121" fmla="*/ 60226 w 631437"/>
              <a:gd name="connsiteY121" fmla="*/ 0 h 681919"/>
              <a:gd name="connsiteX122" fmla="*/ 63747 w 631437"/>
              <a:gd name="connsiteY122" fmla="*/ 8501 h 681919"/>
              <a:gd name="connsiteX123" fmla="*/ 22789 w 631437"/>
              <a:gd name="connsiteY123" fmla="*/ 49459 h 681919"/>
              <a:gd name="connsiteX124" fmla="*/ 0 w 631437"/>
              <a:gd name="connsiteY124" fmla="*/ 40019 h 6819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631437" h="681919">
                <a:moveTo>
                  <a:pt x="590479" y="600003"/>
                </a:moveTo>
                <a:cubicBezTo>
                  <a:pt x="613099" y="600003"/>
                  <a:pt x="631437" y="618341"/>
                  <a:pt x="631437" y="640961"/>
                </a:cubicBezTo>
                <a:cubicBezTo>
                  <a:pt x="631437" y="663581"/>
                  <a:pt x="613099" y="681919"/>
                  <a:pt x="590479" y="681919"/>
                </a:cubicBezTo>
                <a:cubicBezTo>
                  <a:pt x="567859" y="681919"/>
                  <a:pt x="549521" y="663581"/>
                  <a:pt x="549521" y="640961"/>
                </a:cubicBezTo>
                <a:cubicBezTo>
                  <a:pt x="549521" y="618341"/>
                  <a:pt x="567859" y="600003"/>
                  <a:pt x="590479" y="600003"/>
                </a:cubicBezTo>
                <a:close/>
                <a:moveTo>
                  <a:pt x="448555" y="600003"/>
                </a:moveTo>
                <a:cubicBezTo>
                  <a:pt x="471175" y="600003"/>
                  <a:pt x="489513" y="618341"/>
                  <a:pt x="489513" y="640961"/>
                </a:cubicBezTo>
                <a:cubicBezTo>
                  <a:pt x="489513" y="663581"/>
                  <a:pt x="471175" y="681919"/>
                  <a:pt x="448555" y="681919"/>
                </a:cubicBezTo>
                <a:cubicBezTo>
                  <a:pt x="425935" y="681919"/>
                  <a:pt x="407597" y="663581"/>
                  <a:pt x="407597" y="640961"/>
                </a:cubicBezTo>
                <a:cubicBezTo>
                  <a:pt x="407597" y="618341"/>
                  <a:pt x="425935" y="600003"/>
                  <a:pt x="448555" y="600003"/>
                </a:cubicBezTo>
                <a:close/>
                <a:moveTo>
                  <a:pt x="306633" y="600003"/>
                </a:moveTo>
                <a:cubicBezTo>
                  <a:pt x="329253" y="600003"/>
                  <a:pt x="347591" y="618341"/>
                  <a:pt x="347591" y="640961"/>
                </a:cubicBezTo>
                <a:cubicBezTo>
                  <a:pt x="347591" y="663581"/>
                  <a:pt x="329253" y="681919"/>
                  <a:pt x="306633" y="681919"/>
                </a:cubicBezTo>
                <a:cubicBezTo>
                  <a:pt x="284013" y="681919"/>
                  <a:pt x="265675" y="663581"/>
                  <a:pt x="265675" y="640961"/>
                </a:cubicBezTo>
                <a:cubicBezTo>
                  <a:pt x="265675" y="618341"/>
                  <a:pt x="284013" y="600003"/>
                  <a:pt x="306633" y="600003"/>
                </a:cubicBezTo>
                <a:close/>
                <a:moveTo>
                  <a:pt x="164711" y="600003"/>
                </a:moveTo>
                <a:cubicBezTo>
                  <a:pt x="187331" y="600003"/>
                  <a:pt x="205669" y="618341"/>
                  <a:pt x="205669" y="640961"/>
                </a:cubicBezTo>
                <a:cubicBezTo>
                  <a:pt x="205669" y="663581"/>
                  <a:pt x="187331" y="681919"/>
                  <a:pt x="164711" y="681919"/>
                </a:cubicBezTo>
                <a:cubicBezTo>
                  <a:pt x="142091" y="681919"/>
                  <a:pt x="123753" y="663581"/>
                  <a:pt x="123753" y="640961"/>
                </a:cubicBezTo>
                <a:cubicBezTo>
                  <a:pt x="123753" y="618341"/>
                  <a:pt x="142091" y="600003"/>
                  <a:pt x="164711" y="600003"/>
                </a:cubicBezTo>
                <a:close/>
                <a:moveTo>
                  <a:pt x="22789" y="600003"/>
                </a:moveTo>
                <a:cubicBezTo>
                  <a:pt x="45409" y="600003"/>
                  <a:pt x="63747" y="618341"/>
                  <a:pt x="63747" y="640961"/>
                </a:cubicBezTo>
                <a:cubicBezTo>
                  <a:pt x="63747" y="663581"/>
                  <a:pt x="45409" y="681919"/>
                  <a:pt x="22789" y="681919"/>
                </a:cubicBezTo>
                <a:lnTo>
                  <a:pt x="0" y="672479"/>
                </a:lnTo>
                <a:lnTo>
                  <a:pt x="0" y="609443"/>
                </a:lnTo>
                <a:close/>
                <a:moveTo>
                  <a:pt x="590479" y="441888"/>
                </a:moveTo>
                <a:cubicBezTo>
                  <a:pt x="613099" y="441888"/>
                  <a:pt x="631437" y="460226"/>
                  <a:pt x="631437" y="482846"/>
                </a:cubicBezTo>
                <a:cubicBezTo>
                  <a:pt x="631437" y="505466"/>
                  <a:pt x="613099" y="523804"/>
                  <a:pt x="590479" y="523804"/>
                </a:cubicBezTo>
                <a:cubicBezTo>
                  <a:pt x="567859" y="523804"/>
                  <a:pt x="549521" y="505466"/>
                  <a:pt x="549521" y="482846"/>
                </a:cubicBezTo>
                <a:cubicBezTo>
                  <a:pt x="549521" y="460226"/>
                  <a:pt x="567859" y="441888"/>
                  <a:pt x="590479" y="441888"/>
                </a:cubicBezTo>
                <a:close/>
                <a:moveTo>
                  <a:pt x="448555" y="441888"/>
                </a:moveTo>
                <a:cubicBezTo>
                  <a:pt x="471175" y="441888"/>
                  <a:pt x="489513" y="460226"/>
                  <a:pt x="489513" y="482846"/>
                </a:cubicBezTo>
                <a:cubicBezTo>
                  <a:pt x="489513" y="505466"/>
                  <a:pt x="471175" y="523804"/>
                  <a:pt x="448555" y="523804"/>
                </a:cubicBezTo>
                <a:cubicBezTo>
                  <a:pt x="425935" y="523804"/>
                  <a:pt x="407597" y="505466"/>
                  <a:pt x="407597" y="482846"/>
                </a:cubicBezTo>
                <a:cubicBezTo>
                  <a:pt x="407597" y="460226"/>
                  <a:pt x="425935" y="441888"/>
                  <a:pt x="448555" y="441888"/>
                </a:cubicBezTo>
                <a:close/>
                <a:moveTo>
                  <a:pt x="306633" y="441888"/>
                </a:moveTo>
                <a:cubicBezTo>
                  <a:pt x="329253" y="441888"/>
                  <a:pt x="347591" y="460226"/>
                  <a:pt x="347591" y="482846"/>
                </a:cubicBezTo>
                <a:cubicBezTo>
                  <a:pt x="347591" y="505466"/>
                  <a:pt x="329253" y="523804"/>
                  <a:pt x="306633" y="523804"/>
                </a:cubicBezTo>
                <a:cubicBezTo>
                  <a:pt x="284013" y="523804"/>
                  <a:pt x="265675" y="505466"/>
                  <a:pt x="265675" y="482846"/>
                </a:cubicBezTo>
                <a:cubicBezTo>
                  <a:pt x="265675" y="460226"/>
                  <a:pt x="284013" y="441888"/>
                  <a:pt x="306633" y="441888"/>
                </a:cubicBezTo>
                <a:close/>
                <a:moveTo>
                  <a:pt x="164711" y="441888"/>
                </a:moveTo>
                <a:cubicBezTo>
                  <a:pt x="187331" y="441888"/>
                  <a:pt x="205669" y="460226"/>
                  <a:pt x="205669" y="482846"/>
                </a:cubicBezTo>
                <a:cubicBezTo>
                  <a:pt x="205669" y="505466"/>
                  <a:pt x="187331" y="523804"/>
                  <a:pt x="164711" y="523804"/>
                </a:cubicBezTo>
                <a:cubicBezTo>
                  <a:pt x="142091" y="523804"/>
                  <a:pt x="123753" y="505466"/>
                  <a:pt x="123753" y="482846"/>
                </a:cubicBezTo>
                <a:cubicBezTo>
                  <a:pt x="123753" y="460226"/>
                  <a:pt x="142091" y="441888"/>
                  <a:pt x="164711" y="441888"/>
                </a:cubicBezTo>
                <a:close/>
                <a:moveTo>
                  <a:pt x="22789" y="441888"/>
                </a:moveTo>
                <a:cubicBezTo>
                  <a:pt x="45409" y="441888"/>
                  <a:pt x="63747" y="460226"/>
                  <a:pt x="63747" y="482846"/>
                </a:cubicBezTo>
                <a:cubicBezTo>
                  <a:pt x="63747" y="505466"/>
                  <a:pt x="45409" y="523804"/>
                  <a:pt x="22789" y="523804"/>
                </a:cubicBezTo>
                <a:lnTo>
                  <a:pt x="0" y="514364"/>
                </a:lnTo>
                <a:lnTo>
                  <a:pt x="0" y="451328"/>
                </a:lnTo>
                <a:close/>
                <a:moveTo>
                  <a:pt x="590479" y="283773"/>
                </a:moveTo>
                <a:cubicBezTo>
                  <a:pt x="613099" y="283773"/>
                  <a:pt x="631437" y="302111"/>
                  <a:pt x="631437" y="324731"/>
                </a:cubicBezTo>
                <a:cubicBezTo>
                  <a:pt x="631437" y="347351"/>
                  <a:pt x="613099" y="365689"/>
                  <a:pt x="590479" y="365689"/>
                </a:cubicBezTo>
                <a:cubicBezTo>
                  <a:pt x="567859" y="365689"/>
                  <a:pt x="549521" y="347351"/>
                  <a:pt x="549521" y="324731"/>
                </a:cubicBezTo>
                <a:cubicBezTo>
                  <a:pt x="549521" y="302111"/>
                  <a:pt x="567859" y="283773"/>
                  <a:pt x="590479" y="283773"/>
                </a:cubicBezTo>
                <a:close/>
                <a:moveTo>
                  <a:pt x="448555" y="283773"/>
                </a:moveTo>
                <a:cubicBezTo>
                  <a:pt x="471175" y="283773"/>
                  <a:pt x="489513" y="302111"/>
                  <a:pt x="489513" y="324731"/>
                </a:cubicBezTo>
                <a:cubicBezTo>
                  <a:pt x="489513" y="347351"/>
                  <a:pt x="471175" y="365689"/>
                  <a:pt x="448555" y="365689"/>
                </a:cubicBezTo>
                <a:cubicBezTo>
                  <a:pt x="425935" y="365689"/>
                  <a:pt x="407597" y="347351"/>
                  <a:pt x="407597" y="324731"/>
                </a:cubicBezTo>
                <a:cubicBezTo>
                  <a:pt x="407597" y="302111"/>
                  <a:pt x="425935" y="283773"/>
                  <a:pt x="448555" y="283773"/>
                </a:cubicBezTo>
                <a:close/>
                <a:moveTo>
                  <a:pt x="306633" y="283773"/>
                </a:moveTo>
                <a:cubicBezTo>
                  <a:pt x="329253" y="283773"/>
                  <a:pt x="347591" y="302111"/>
                  <a:pt x="347591" y="324731"/>
                </a:cubicBezTo>
                <a:cubicBezTo>
                  <a:pt x="347591" y="347351"/>
                  <a:pt x="329253" y="365689"/>
                  <a:pt x="306633" y="365689"/>
                </a:cubicBezTo>
                <a:cubicBezTo>
                  <a:pt x="284013" y="365689"/>
                  <a:pt x="265675" y="347351"/>
                  <a:pt x="265675" y="324731"/>
                </a:cubicBezTo>
                <a:cubicBezTo>
                  <a:pt x="265675" y="302111"/>
                  <a:pt x="284013" y="283773"/>
                  <a:pt x="306633" y="283773"/>
                </a:cubicBezTo>
                <a:close/>
                <a:moveTo>
                  <a:pt x="164711" y="283773"/>
                </a:moveTo>
                <a:cubicBezTo>
                  <a:pt x="187331" y="283773"/>
                  <a:pt x="205669" y="302111"/>
                  <a:pt x="205669" y="324731"/>
                </a:cubicBezTo>
                <a:cubicBezTo>
                  <a:pt x="205669" y="347351"/>
                  <a:pt x="187331" y="365689"/>
                  <a:pt x="164711" y="365689"/>
                </a:cubicBezTo>
                <a:cubicBezTo>
                  <a:pt x="142091" y="365689"/>
                  <a:pt x="123753" y="347351"/>
                  <a:pt x="123753" y="324731"/>
                </a:cubicBezTo>
                <a:cubicBezTo>
                  <a:pt x="123753" y="302111"/>
                  <a:pt x="142091" y="283773"/>
                  <a:pt x="164711" y="283773"/>
                </a:cubicBezTo>
                <a:close/>
                <a:moveTo>
                  <a:pt x="22789" y="283773"/>
                </a:moveTo>
                <a:cubicBezTo>
                  <a:pt x="45409" y="283773"/>
                  <a:pt x="63747" y="302111"/>
                  <a:pt x="63747" y="324731"/>
                </a:cubicBezTo>
                <a:cubicBezTo>
                  <a:pt x="63747" y="347351"/>
                  <a:pt x="45409" y="365689"/>
                  <a:pt x="22789" y="365689"/>
                </a:cubicBezTo>
                <a:lnTo>
                  <a:pt x="0" y="356249"/>
                </a:lnTo>
                <a:lnTo>
                  <a:pt x="0" y="293213"/>
                </a:lnTo>
                <a:close/>
                <a:moveTo>
                  <a:pt x="448555" y="125658"/>
                </a:moveTo>
                <a:cubicBezTo>
                  <a:pt x="471175" y="125658"/>
                  <a:pt x="489513" y="143996"/>
                  <a:pt x="489513" y="166616"/>
                </a:cubicBezTo>
                <a:cubicBezTo>
                  <a:pt x="489513" y="189236"/>
                  <a:pt x="471175" y="207574"/>
                  <a:pt x="448555" y="207574"/>
                </a:cubicBezTo>
                <a:cubicBezTo>
                  <a:pt x="425935" y="207574"/>
                  <a:pt x="407597" y="189236"/>
                  <a:pt x="407597" y="166616"/>
                </a:cubicBezTo>
                <a:cubicBezTo>
                  <a:pt x="407597" y="143996"/>
                  <a:pt x="425935" y="125658"/>
                  <a:pt x="448555" y="125658"/>
                </a:cubicBezTo>
                <a:close/>
                <a:moveTo>
                  <a:pt x="306633" y="125658"/>
                </a:moveTo>
                <a:cubicBezTo>
                  <a:pt x="329253" y="125658"/>
                  <a:pt x="347591" y="143996"/>
                  <a:pt x="347591" y="166616"/>
                </a:cubicBezTo>
                <a:cubicBezTo>
                  <a:pt x="347591" y="189236"/>
                  <a:pt x="329253" y="207574"/>
                  <a:pt x="306633" y="207574"/>
                </a:cubicBezTo>
                <a:cubicBezTo>
                  <a:pt x="284013" y="207574"/>
                  <a:pt x="265675" y="189236"/>
                  <a:pt x="265675" y="166616"/>
                </a:cubicBezTo>
                <a:cubicBezTo>
                  <a:pt x="265675" y="143996"/>
                  <a:pt x="284013" y="125658"/>
                  <a:pt x="306633" y="125658"/>
                </a:cubicBezTo>
                <a:close/>
                <a:moveTo>
                  <a:pt x="164711" y="125658"/>
                </a:moveTo>
                <a:cubicBezTo>
                  <a:pt x="187331" y="125658"/>
                  <a:pt x="205669" y="143996"/>
                  <a:pt x="205669" y="166616"/>
                </a:cubicBezTo>
                <a:cubicBezTo>
                  <a:pt x="205669" y="189236"/>
                  <a:pt x="187331" y="207574"/>
                  <a:pt x="164711" y="207574"/>
                </a:cubicBezTo>
                <a:cubicBezTo>
                  <a:pt x="142091" y="207574"/>
                  <a:pt x="123753" y="189236"/>
                  <a:pt x="123753" y="166616"/>
                </a:cubicBezTo>
                <a:cubicBezTo>
                  <a:pt x="123753" y="143996"/>
                  <a:pt x="142091" y="125658"/>
                  <a:pt x="164711" y="125658"/>
                </a:cubicBezTo>
                <a:close/>
                <a:moveTo>
                  <a:pt x="22789" y="125658"/>
                </a:moveTo>
                <a:cubicBezTo>
                  <a:pt x="45409" y="125658"/>
                  <a:pt x="63747" y="143996"/>
                  <a:pt x="63747" y="166616"/>
                </a:cubicBezTo>
                <a:cubicBezTo>
                  <a:pt x="63747" y="189236"/>
                  <a:pt x="45409" y="207574"/>
                  <a:pt x="22789" y="207574"/>
                </a:cubicBezTo>
                <a:lnTo>
                  <a:pt x="0" y="198134"/>
                </a:lnTo>
                <a:lnTo>
                  <a:pt x="0" y="135098"/>
                </a:lnTo>
                <a:close/>
                <a:moveTo>
                  <a:pt x="590479" y="125658"/>
                </a:moveTo>
                <a:cubicBezTo>
                  <a:pt x="613099" y="125658"/>
                  <a:pt x="631437" y="143996"/>
                  <a:pt x="631437" y="166616"/>
                </a:cubicBezTo>
                <a:cubicBezTo>
                  <a:pt x="631437" y="189236"/>
                  <a:pt x="613099" y="207574"/>
                  <a:pt x="590479" y="207574"/>
                </a:cubicBezTo>
                <a:cubicBezTo>
                  <a:pt x="567859" y="207574"/>
                  <a:pt x="549521" y="189236"/>
                  <a:pt x="549521" y="166616"/>
                </a:cubicBezTo>
                <a:cubicBezTo>
                  <a:pt x="549521" y="143996"/>
                  <a:pt x="567859" y="125658"/>
                  <a:pt x="590479" y="125658"/>
                </a:cubicBezTo>
                <a:close/>
                <a:moveTo>
                  <a:pt x="553042" y="0"/>
                </a:moveTo>
                <a:lnTo>
                  <a:pt x="627916" y="0"/>
                </a:lnTo>
                <a:lnTo>
                  <a:pt x="631437" y="8501"/>
                </a:lnTo>
                <a:cubicBezTo>
                  <a:pt x="631437" y="31121"/>
                  <a:pt x="613099" y="49459"/>
                  <a:pt x="590479" y="49459"/>
                </a:cubicBezTo>
                <a:cubicBezTo>
                  <a:pt x="567859" y="49459"/>
                  <a:pt x="549521" y="31121"/>
                  <a:pt x="549521" y="8501"/>
                </a:cubicBezTo>
                <a:close/>
                <a:moveTo>
                  <a:pt x="411118" y="0"/>
                </a:moveTo>
                <a:lnTo>
                  <a:pt x="485992" y="0"/>
                </a:lnTo>
                <a:lnTo>
                  <a:pt x="489513" y="8501"/>
                </a:lnTo>
                <a:cubicBezTo>
                  <a:pt x="489513" y="31121"/>
                  <a:pt x="471175" y="49459"/>
                  <a:pt x="448555" y="49459"/>
                </a:cubicBezTo>
                <a:cubicBezTo>
                  <a:pt x="425935" y="49459"/>
                  <a:pt x="407597" y="31121"/>
                  <a:pt x="407597" y="8501"/>
                </a:cubicBezTo>
                <a:close/>
                <a:moveTo>
                  <a:pt x="269196" y="0"/>
                </a:moveTo>
                <a:lnTo>
                  <a:pt x="344070" y="0"/>
                </a:lnTo>
                <a:lnTo>
                  <a:pt x="347591" y="8501"/>
                </a:lnTo>
                <a:cubicBezTo>
                  <a:pt x="347591" y="31121"/>
                  <a:pt x="329253" y="49459"/>
                  <a:pt x="306633" y="49459"/>
                </a:cubicBezTo>
                <a:cubicBezTo>
                  <a:pt x="284013" y="49459"/>
                  <a:pt x="265675" y="31121"/>
                  <a:pt x="265675" y="8501"/>
                </a:cubicBezTo>
                <a:close/>
                <a:moveTo>
                  <a:pt x="127274" y="0"/>
                </a:moveTo>
                <a:lnTo>
                  <a:pt x="202148" y="0"/>
                </a:lnTo>
                <a:lnTo>
                  <a:pt x="205669" y="8501"/>
                </a:lnTo>
                <a:cubicBezTo>
                  <a:pt x="205669" y="31121"/>
                  <a:pt x="187331" y="49459"/>
                  <a:pt x="164711" y="49459"/>
                </a:cubicBezTo>
                <a:cubicBezTo>
                  <a:pt x="142091" y="49459"/>
                  <a:pt x="123753" y="31121"/>
                  <a:pt x="123753" y="8501"/>
                </a:cubicBezTo>
                <a:close/>
                <a:moveTo>
                  <a:pt x="0" y="0"/>
                </a:moveTo>
                <a:lnTo>
                  <a:pt x="60226" y="0"/>
                </a:lnTo>
                <a:lnTo>
                  <a:pt x="63747" y="8501"/>
                </a:lnTo>
                <a:cubicBezTo>
                  <a:pt x="63747" y="31121"/>
                  <a:pt x="45409" y="49459"/>
                  <a:pt x="22789" y="49459"/>
                </a:cubicBezTo>
                <a:lnTo>
                  <a:pt x="0" y="40019"/>
                </a:lnTo>
                <a:close/>
              </a:path>
            </a:pathLst>
          </a:custGeom>
          <a:gradFill flip="none" rotWithShape="1">
            <a:gsLst>
              <a:gs pos="6000">
                <a:srgbClr val="FE832C"/>
              </a:gs>
              <a:gs pos="61000">
                <a:srgbClr val="FFCEAB"/>
              </a:gs>
              <a:gs pos="0">
                <a:srgbClr val="EA5504"/>
              </a:gs>
              <a:gs pos="100000">
                <a:srgbClr val="FBE9D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4" name="组合 13">
            <a:extLst>
              <a:ext uri="{FF2B5EF4-FFF2-40B4-BE49-F238E27FC236}">
                <a16:creationId xmlns:a16="http://schemas.microsoft.com/office/drawing/2014/main" id="{946535DC-6234-4198-A484-742881CAAFB2}"/>
              </a:ext>
            </a:extLst>
          </p:cNvPr>
          <p:cNvGrpSpPr/>
          <p:nvPr userDrawn="1"/>
        </p:nvGrpSpPr>
        <p:grpSpPr>
          <a:xfrm>
            <a:off x="741424" y="571834"/>
            <a:ext cx="2812005" cy="468667"/>
            <a:chOff x="660400" y="492126"/>
            <a:chExt cx="3257550" cy="54292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9103FE1A-A86B-4804-BFAA-8100275542A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0400" y="492126"/>
              <a:ext cx="3257550" cy="285750"/>
            </a:xfrm>
            <a:custGeom>
              <a:avLst/>
              <a:gdLst>
                <a:gd name="T0" fmla="*/ 1282 w 1998"/>
                <a:gd name="T1" fmla="*/ 16 h 174"/>
                <a:gd name="T2" fmla="*/ 1247 w 1998"/>
                <a:gd name="T3" fmla="*/ 166 h 174"/>
                <a:gd name="T4" fmla="*/ 1376 w 1998"/>
                <a:gd name="T5" fmla="*/ 167 h 174"/>
                <a:gd name="T6" fmla="*/ 1409 w 1998"/>
                <a:gd name="T7" fmla="*/ 17 h 174"/>
                <a:gd name="T8" fmla="*/ 1184 w 1998"/>
                <a:gd name="T9" fmla="*/ 166 h 174"/>
                <a:gd name="T10" fmla="*/ 1214 w 1998"/>
                <a:gd name="T11" fmla="*/ 13 h 174"/>
                <a:gd name="T12" fmla="*/ 1122 w 1998"/>
                <a:gd name="T13" fmla="*/ 41 h 174"/>
                <a:gd name="T14" fmla="*/ 1007 w 1998"/>
                <a:gd name="T15" fmla="*/ 17 h 174"/>
                <a:gd name="T16" fmla="*/ 1042 w 1998"/>
                <a:gd name="T17" fmla="*/ 122 h 174"/>
                <a:gd name="T18" fmla="*/ 1994 w 1998"/>
                <a:gd name="T19" fmla="*/ 13 h 174"/>
                <a:gd name="T20" fmla="*/ 1863 w 1998"/>
                <a:gd name="T21" fmla="*/ 13 h 174"/>
                <a:gd name="T22" fmla="*/ 1840 w 1998"/>
                <a:gd name="T23" fmla="*/ 170 h 174"/>
                <a:gd name="T24" fmla="*/ 1971 w 1998"/>
                <a:gd name="T25" fmla="*/ 170 h 174"/>
                <a:gd name="T26" fmla="*/ 1994 w 1998"/>
                <a:gd name="T27" fmla="*/ 13 h 174"/>
                <a:gd name="T28" fmla="*/ 1488 w 1998"/>
                <a:gd name="T29" fmla="*/ 172 h 174"/>
                <a:gd name="T30" fmla="*/ 1513 w 1998"/>
                <a:gd name="T31" fmla="*/ 104 h 174"/>
                <a:gd name="T32" fmla="*/ 1471 w 1998"/>
                <a:gd name="T33" fmla="*/ 142 h 174"/>
                <a:gd name="T34" fmla="*/ 1562 w 1998"/>
                <a:gd name="T35" fmla="*/ 44 h 174"/>
                <a:gd name="T36" fmla="*/ 1596 w 1998"/>
                <a:gd name="T37" fmla="*/ 58 h 174"/>
                <a:gd name="T38" fmla="*/ 767 w 1998"/>
                <a:gd name="T39" fmla="*/ 112 h 174"/>
                <a:gd name="T40" fmla="*/ 894 w 1998"/>
                <a:gd name="T41" fmla="*/ 65 h 174"/>
                <a:gd name="T42" fmla="*/ 832 w 1998"/>
                <a:gd name="T43" fmla="*/ 51 h 174"/>
                <a:gd name="T44" fmla="*/ 731 w 1998"/>
                <a:gd name="T45" fmla="*/ 48 h 174"/>
                <a:gd name="T46" fmla="*/ 692 w 1998"/>
                <a:gd name="T47" fmla="*/ 85 h 174"/>
                <a:gd name="T48" fmla="*/ 767 w 1998"/>
                <a:gd name="T49" fmla="*/ 138 h 174"/>
                <a:gd name="T50" fmla="*/ 700 w 1998"/>
                <a:gd name="T51" fmla="*/ 170 h 174"/>
                <a:gd name="T52" fmla="*/ 859 w 1998"/>
                <a:gd name="T53" fmla="*/ 170 h 174"/>
                <a:gd name="T54" fmla="*/ 859 w 1998"/>
                <a:gd name="T55" fmla="*/ 146 h 174"/>
                <a:gd name="T56" fmla="*/ 894 w 1998"/>
                <a:gd name="T57" fmla="*/ 89 h 174"/>
                <a:gd name="T58" fmla="*/ 1740 w 1998"/>
                <a:gd name="T59" fmla="*/ 13 h 174"/>
                <a:gd name="T60" fmla="*/ 1663 w 1998"/>
                <a:gd name="T61" fmla="*/ 170 h 174"/>
                <a:gd name="T62" fmla="*/ 1816 w 1998"/>
                <a:gd name="T63" fmla="*/ 170 h 174"/>
                <a:gd name="T64" fmla="*/ 597 w 1998"/>
                <a:gd name="T65" fmla="*/ 98 h 174"/>
                <a:gd name="T66" fmla="*/ 654 w 1998"/>
                <a:gd name="T67" fmla="*/ 46 h 174"/>
                <a:gd name="T68" fmla="*/ 416 w 1998"/>
                <a:gd name="T69" fmla="*/ 28 h 174"/>
                <a:gd name="T70" fmla="*/ 239 w 1998"/>
                <a:gd name="T71" fmla="*/ 148 h 174"/>
                <a:gd name="T72" fmla="*/ 423 w 1998"/>
                <a:gd name="T73" fmla="*/ 6 h 174"/>
                <a:gd name="T74" fmla="*/ 872 w 1998"/>
                <a:gd name="T75" fmla="*/ 34 h 174"/>
                <a:gd name="T76" fmla="*/ 897 w 1998"/>
                <a:gd name="T77" fmla="*/ 32 h 174"/>
                <a:gd name="T78" fmla="*/ 782 w 1998"/>
                <a:gd name="T79" fmla="*/ 0 h 174"/>
                <a:gd name="T80" fmla="*/ 693 w 1998"/>
                <a:gd name="T81" fmla="*/ 45 h 174"/>
                <a:gd name="T82" fmla="*/ 179 w 1998"/>
                <a:gd name="T83" fmla="*/ 49 h 174"/>
                <a:gd name="T84" fmla="*/ 88 w 1998"/>
                <a:gd name="T85" fmla="*/ 49 h 174"/>
                <a:gd name="T86" fmla="*/ 118 w 1998"/>
                <a:gd name="T87" fmla="*/ 1 h 174"/>
                <a:gd name="T88" fmla="*/ 0 w 1998"/>
                <a:gd name="T89" fmla="*/ 46 h 174"/>
                <a:gd name="T90" fmla="*/ 91 w 1998"/>
                <a:gd name="T91" fmla="*/ 174 h 174"/>
                <a:gd name="T92" fmla="*/ 210 w 1998"/>
                <a:gd name="T93" fmla="*/ 118 h 174"/>
                <a:gd name="T94" fmla="*/ 379 w 1998"/>
                <a:gd name="T95" fmla="*/ 112 h 174"/>
                <a:gd name="T96" fmla="*/ 357 w 1998"/>
                <a:gd name="T97" fmla="*/ 75 h 174"/>
                <a:gd name="T98" fmla="*/ 284 w 1998"/>
                <a:gd name="T99" fmla="*/ 61 h 174"/>
                <a:gd name="T100" fmla="*/ 328 w 1998"/>
                <a:gd name="T101" fmla="*/ 93 h 174"/>
                <a:gd name="T102" fmla="*/ 401 w 1998"/>
                <a:gd name="T103" fmla="*/ 104 h 174"/>
                <a:gd name="T104" fmla="*/ 512 w 1998"/>
                <a:gd name="T105" fmla="*/ 46 h 174"/>
                <a:gd name="T106" fmla="*/ 669 w 1998"/>
                <a:gd name="T107" fmla="*/ 115 h 174"/>
                <a:gd name="T108" fmla="*/ 666 w 1998"/>
                <a:gd name="T109" fmla="*/ 14 h 174"/>
                <a:gd name="T110" fmla="*/ 479 w 1998"/>
                <a:gd name="T111" fmla="*/ 33 h 174"/>
                <a:gd name="T112" fmla="*/ 469 w 1998"/>
                <a:gd name="T113" fmla="*/ 135 h 174"/>
                <a:gd name="T114" fmla="*/ 583 w 1998"/>
                <a:gd name="T115" fmla="*/ 174 h 174"/>
                <a:gd name="T116" fmla="*/ 673 w 1998"/>
                <a:gd name="T117" fmla="*/ 119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98" h="174">
                  <a:moveTo>
                    <a:pt x="1405" y="13"/>
                  </a:moveTo>
                  <a:cubicBezTo>
                    <a:pt x="1382" y="13"/>
                    <a:pt x="1382" y="13"/>
                    <a:pt x="1382" y="13"/>
                  </a:cubicBezTo>
                  <a:cubicBezTo>
                    <a:pt x="1379" y="13"/>
                    <a:pt x="1378" y="15"/>
                    <a:pt x="1378" y="17"/>
                  </a:cubicBezTo>
                  <a:cubicBezTo>
                    <a:pt x="1378" y="125"/>
                    <a:pt x="1378" y="125"/>
                    <a:pt x="1378" y="125"/>
                  </a:cubicBezTo>
                  <a:cubicBezTo>
                    <a:pt x="1365" y="111"/>
                    <a:pt x="1284" y="18"/>
                    <a:pt x="1282" y="16"/>
                  </a:cubicBezTo>
                  <a:cubicBezTo>
                    <a:pt x="1279" y="13"/>
                    <a:pt x="1276" y="13"/>
                    <a:pt x="1275" y="13"/>
                  </a:cubicBezTo>
                  <a:cubicBezTo>
                    <a:pt x="1275" y="13"/>
                    <a:pt x="1275" y="13"/>
                    <a:pt x="1275" y="13"/>
                  </a:cubicBezTo>
                  <a:cubicBezTo>
                    <a:pt x="1251" y="13"/>
                    <a:pt x="1251" y="13"/>
                    <a:pt x="1251" y="13"/>
                  </a:cubicBezTo>
                  <a:cubicBezTo>
                    <a:pt x="1249" y="13"/>
                    <a:pt x="1247" y="15"/>
                    <a:pt x="1247" y="17"/>
                  </a:cubicBezTo>
                  <a:cubicBezTo>
                    <a:pt x="1247" y="166"/>
                    <a:pt x="1247" y="166"/>
                    <a:pt x="1247" y="166"/>
                  </a:cubicBezTo>
                  <a:cubicBezTo>
                    <a:pt x="1247" y="168"/>
                    <a:pt x="1249" y="170"/>
                    <a:pt x="1251" y="170"/>
                  </a:cubicBezTo>
                  <a:cubicBezTo>
                    <a:pt x="1275" y="170"/>
                    <a:pt x="1275" y="170"/>
                    <a:pt x="1275" y="170"/>
                  </a:cubicBezTo>
                  <a:cubicBezTo>
                    <a:pt x="1277" y="170"/>
                    <a:pt x="1279" y="168"/>
                    <a:pt x="1279" y="166"/>
                  </a:cubicBezTo>
                  <a:cubicBezTo>
                    <a:pt x="1279" y="57"/>
                    <a:pt x="1279" y="57"/>
                    <a:pt x="1279" y="57"/>
                  </a:cubicBezTo>
                  <a:cubicBezTo>
                    <a:pt x="1287" y="67"/>
                    <a:pt x="1373" y="165"/>
                    <a:pt x="1376" y="167"/>
                  </a:cubicBezTo>
                  <a:cubicBezTo>
                    <a:pt x="1378" y="169"/>
                    <a:pt x="1381" y="170"/>
                    <a:pt x="1383" y="170"/>
                  </a:cubicBezTo>
                  <a:cubicBezTo>
                    <a:pt x="1383" y="170"/>
                    <a:pt x="1383" y="170"/>
                    <a:pt x="1383" y="170"/>
                  </a:cubicBezTo>
                  <a:cubicBezTo>
                    <a:pt x="1405" y="170"/>
                    <a:pt x="1405" y="170"/>
                    <a:pt x="1405" y="170"/>
                  </a:cubicBezTo>
                  <a:cubicBezTo>
                    <a:pt x="1407" y="170"/>
                    <a:pt x="1409" y="168"/>
                    <a:pt x="1409" y="166"/>
                  </a:cubicBezTo>
                  <a:cubicBezTo>
                    <a:pt x="1409" y="17"/>
                    <a:pt x="1409" y="17"/>
                    <a:pt x="1409" y="17"/>
                  </a:cubicBezTo>
                  <a:cubicBezTo>
                    <a:pt x="1409" y="15"/>
                    <a:pt x="1407" y="13"/>
                    <a:pt x="1405" y="13"/>
                  </a:cubicBezTo>
                  <a:moveTo>
                    <a:pt x="1214" y="13"/>
                  </a:moveTo>
                  <a:cubicBezTo>
                    <a:pt x="1188" y="13"/>
                    <a:pt x="1188" y="13"/>
                    <a:pt x="1188" y="13"/>
                  </a:cubicBezTo>
                  <a:cubicBezTo>
                    <a:pt x="1186" y="13"/>
                    <a:pt x="1184" y="15"/>
                    <a:pt x="1184" y="17"/>
                  </a:cubicBezTo>
                  <a:cubicBezTo>
                    <a:pt x="1184" y="166"/>
                    <a:pt x="1184" y="166"/>
                    <a:pt x="1184" y="166"/>
                  </a:cubicBezTo>
                  <a:cubicBezTo>
                    <a:pt x="1184" y="168"/>
                    <a:pt x="1186" y="170"/>
                    <a:pt x="1188" y="170"/>
                  </a:cubicBezTo>
                  <a:cubicBezTo>
                    <a:pt x="1214" y="170"/>
                    <a:pt x="1214" y="170"/>
                    <a:pt x="1214" y="170"/>
                  </a:cubicBezTo>
                  <a:cubicBezTo>
                    <a:pt x="1216" y="170"/>
                    <a:pt x="1218" y="168"/>
                    <a:pt x="1218" y="166"/>
                  </a:cubicBezTo>
                  <a:cubicBezTo>
                    <a:pt x="1218" y="17"/>
                    <a:pt x="1218" y="17"/>
                    <a:pt x="1218" y="17"/>
                  </a:cubicBezTo>
                  <a:cubicBezTo>
                    <a:pt x="1218" y="15"/>
                    <a:pt x="1216" y="13"/>
                    <a:pt x="1214" y="13"/>
                  </a:cubicBezTo>
                  <a:moveTo>
                    <a:pt x="1125" y="91"/>
                  </a:moveTo>
                  <a:cubicBezTo>
                    <a:pt x="1125" y="93"/>
                    <a:pt x="1124" y="94"/>
                    <a:pt x="1122" y="94"/>
                  </a:cubicBezTo>
                  <a:cubicBezTo>
                    <a:pt x="1042" y="94"/>
                    <a:pt x="1042" y="94"/>
                    <a:pt x="1042" y="94"/>
                  </a:cubicBezTo>
                  <a:cubicBezTo>
                    <a:pt x="1042" y="41"/>
                    <a:pt x="1042" y="41"/>
                    <a:pt x="1042" y="41"/>
                  </a:cubicBezTo>
                  <a:cubicBezTo>
                    <a:pt x="1122" y="41"/>
                    <a:pt x="1122" y="41"/>
                    <a:pt x="1122" y="41"/>
                  </a:cubicBezTo>
                  <a:cubicBezTo>
                    <a:pt x="1124" y="41"/>
                    <a:pt x="1125" y="42"/>
                    <a:pt x="1125" y="44"/>
                  </a:cubicBezTo>
                  <a:lnTo>
                    <a:pt x="1125" y="91"/>
                  </a:lnTo>
                  <a:close/>
                  <a:moveTo>
                    <a:pt x="1108" y="13"/>
                  </a:moveTo>
                  <a:cubicBezTo>
                    <a:pt x="1011" y="13"/>
                    <a:pt x="1011" y="13"/>
                    <a:pt x="1011" y="13"/>
                  </a:cubicBezTo>
                  <a:cubicBezTo>
                    <a:pt x="1009" y="13"/>
                    <a:pt x="1007" y="15"/>
                    <a:pt x="1007" y="17"/>
                  </a:cubicBezTo>
                  <a:cubicBezTo>
                    <a:pt x="1007" y="166"/>
                    <a:pt x="1007" y="166"/>
                    <a:pt x="1007" y="166"/>
                  </a:cubicBezTo>
                  <a:cubicBezTo>
                    <a:pt x="1007" y="168"/>
                    <a:pt x="1009" y="170"/>
                    <a:pt x="1011" y="170"/>
                  </a:cubicBezTo>
                  <a:cubicBezTo>
                    <a:pt x="1038" y="170"/>
                    <a:pt x="1038" y="170"/>
                    <a:pt x="1038" y="170"/>
                  </a:cubicBezTo>
                  <a:cubicBezTo>
                    <a:pt x="1040" y="170"/>
                    <a:pt x="1042" y="168"/>
                    <a:pt x="1042" y="166"/>
                  </a:cubicBezTo>
                  <a:cubicBezTo>
                    <a:pt x="1042" y="122"/>
                    <a:pt x="1042" y="122"/>
                    <a:pt x="1042" y="122"/>
                  </a:cubicBezTo>
                  <a:cubicBezTo>
                    <a:pt x="1108" y="122"/>
                    <a:pt x="1108" y="122"/>
                    <a:pt x="1108" y="122"/>
                  </a:cubicBezTo>
                  <a:cubicBezTo>
                    <a:pt x="1137" y="122"/>
                    <a:pt x="1161" y="104"/>
                    <a:pt x="1161" y="78"/>
                  </a:cubicBezTo>
                  <a:cubicBezTo>
                    <a:pt x="1161" y="61"/>
                    <a:pt x="1161" y="61"/>
                    <a:pt x="1161" y="61"/>
                  </a:cubicBezTo>
                  <a:cubicBezTo>
                    <a:pt x="1161" y="34"/>
                    <a:pt x="1137" y="13"/>
                    <a:pt x="1108" y="13"/>
                  </a:cubicBezTo>
                  <a:moveTo>
                    <a:pt x="1994" y="13"/>
                  </a:moveTo>
                  <a:cubicBezTo>
                    <a:pt x="1970" y="13"/>
                    <a:pt x="1970" y="13"/>
                    <a:pt x="1970" y="13"/>
                  </a:cubicBezTo>
                  <a:cubicBezTo>
                    <a:pt x="1968" y="13"/>
                    <a:pt x="1967" y="15"/>
                    <a:pt x="1967" y="17"/>
                  </a:cubicBezTo>
                  <a:cubicBezTo>
                    <a:pt x="1967" y="125"/>
                    <a:pt x="1967" y="125"/>
                    <a:pt x="1967" y="125"/>
                  </a:cubicBezTo>
                  <a:cubicBezTo>
                    <a:pt x="1954" y="111"/>
                    <a:pt x="1872" y="18"/>
                    <a:pt x="1870" y="16"/>
                  </a:cubicBezTo>
                  <a:cubicBezTo>
                    <a:pt x="1868" y="13"/>
                    <a:pt x="1865" y="13"/>
                    <a:pt x="1863" y="13"/>
                  </a:cubicBezTo>
                  <a:cubicBezTo>
                    <a:pt x="1863" y="13"/>
                    <a:pt x="1863" y="13"/>
                    <a:pt x="1863" y="13"/>
                  </a:cubicBezTo>
                  <a:cubicBezTo>
                    <a:pt x="1840" y="13"/>
                    <a:pt x="1840" y="13"/>
                    <a:pt x="1840" y="13"/>
                  </a:cubicBezTo>
                  <a:cubicBezTo>
                    <a:pt x="1838" y="13"/>
                    <a:pt x="1836" y="15"/>
                    <a:pt x="1836" y="17"/>
                  </a:cubicBezTo>
                  <a:cubicBezTo>
                    <a:pt x="1836" y="166"/>
                    <a:pt x="1836" y="166"/>
                    <a:pt x="1836" y="166"/>
                  </a:cubicBezTo>
                  <a:cubicBezTo>
                    <a:pt x="1836" y="168"/>
                    <a:pt x="1838" y="170"/>
                    <a:pt x="1840" y="170"/>
                  </a:cubicBezTo>
                  <a:cubicBezTo>
                    <a:pt x="1864" y="170"/>
                    <a:pt x="1864" y="170"/>
                    <a:pt x="1864" y="170"/>
                  </a:cubicBezTo>
                  <a:cubicBezTo>
                    <a:pt x="1866" y="170"/>
                    <a:pt x="1867" y="168"/>
                    <a:pt x="1867" y="166"/>
                  </a:cubicBezTo>
                  <a:cubicBezTo>
                    <a:pt x="1867" y="57"/>
                    <a:pt x="1867" y="57"/>
                    <a:pt x="1867" y="57"/>
                  </a:cubicBezTo>
                  <a:cubicBezTo>
                    <a:pt x="1876" y="67"/>
                    <a:pt x="1962" y="165"/>
                    <a:pt x="1964" y="167"/>
                  </a:cubicBezTo>
                  <a:cubicBezTo>
                    <a:pt x="1967" y="169"/>
                    <a:pt x="1969" y="170"/>
                    <a:pt x="1971" y="170"/>
                  </a:cubicBezTo>
                  <a:cubicBezTo>
                    <a:pt x="1971" y="170"/>
                    <a:pt x="1971" y="170"/>
                    <a:pt x="1971" y="170"/>
                  </a:cubicBezTo>
                  <a:cubicBezTo>
                    <a:pt x="1994" y="170"/>
                    <a:pt x="1994" y="170"/>
                    <a:pt x="1994" y="170"/>
                  </a:cubicBezTo>
                  <a:cubicBezTo>
                    <a:pt x="1996" y="170"/>
                    <a:pt x="1998" y="168"/>
                    <a:pt x="1998" y="166"/>
                  </a:cubicBezTo>
                  <a:cubicBezTo>
                    <a:pt x="1998" y="17"/>
                    <a:pt x="1998" y="17"/>
                    <a:pt x="1998" y="17"/>
                  </a:cubicBezTo>
                  <a:cubicBezTo>
                    <a:pt x="1998" y="15"/>
                    <a:pt x="1996" y="13"/>
                    <a:pt x="1994" y="13"/>
                  </a:cubicBezTo>
                  <a:moveTo>
                    <a:pt x="1542" y="11"/>
                  </a:moveTo>
                  <a:cubicBezTo>
                    <a:pt x="1488" y="11"/>
                    <a:pt x="1488" y="11"/>
                    <a:pt x="1488" y="11"/>
                  </a:cubicBezTo>
                  <a:cubicBezTo>
                    <a:pt x="1458" y="11"/>
                    <a:pt x="1434" y="32"/>
                    <a:pt x="1434" y="58"/>
                  </a:cubicBezTo>
                  <a:cubicBezTo>
                    <a:pt x="1434" y="124"/>
                    <a:pt x="1434" y="124"/>
                    <a:pt x="1434" y="124"/>
                  </a:cubicBezTo>
                  <a:cubicBezTo>
                    <a:pt x="1434" y="150"/>
                    <a:pt x="1458" y="172"/>
                    <a:pt x="1488" y="172"/>
                  </a:cubicBezTo>
                  <a:cubicBezTo>
                    <a:pt x="1542" y="172"/>
                    <a:pt x="1542" y="172"/>
                    <a:pt x="1542" y="172"/>
                  </a:cubicBezTo>
                  <a:cubicBezTo>
                    <a:pt x="1572" y="172"/>
                    <a:pt x="1596" y="150"/>
                    <a:pt x="1596" y="124"/>
                  </a:cubicBezTo>
                  <a:cubicBezTo>
                    <a:pt x="1596" y="82"/>
                    <a:pt x="1596" y="82"/>
                    <a:pt x="1596" y="82"/>
                  </a:cubicBezTo>
                  <a:cubicBezTo>
                    <a:pt x="1513" y="82"/>
                    <a:pt x="1513" y="82"/>
                    <a:pt x="1513" y="82"/>
                  </a:cubicBezTo>
                  <a:cubicBezTo>
                    <a:pt x="1513" y="104"/>
                    <a:pt x="1513" y="104"/>
                    <a:pt x="1513" y="104"/>
                  </a:cubicBezTo>
                  <a:cubicBezTo>
                    <a:pt x="1513" y="106"/>
                    <a:pt x="1515" y="108"/>
                    <a:pt x="1517" y="108"/>
                  </a:cubicBezTo>
                  <a:cubicBezTo>
                    <a:pt x="1562" y="108"/>
                    <a:pt x="1562" y="108"/>
                    <a:pt x="1562" y="108"/>
                  </a:cubicBezTo>
                  <a:cubicBezTo>
                    <a:pt x="1562" y="138"/>
                    <a:pt x="1562" y="138"/>
                    <a:pt x="1562" y="138"/>
                  </a:cubicBezTo>
                  <a:cubicBezTo>
                    <a:pt x="1562" y="140"/>
                    <a:pt x="1560" y="142"/>
                    <a:pt x="1558" y="142"/>
                  </a:cubicBezTo>
                  <a:cubicBezTo>
                    <a:pt x="1471" y="142"/>
                    <a:pt x="1471" y="142"/>
                    <a:pt x="1471" y="142"/>
                  </a:cubicBezTo>
                  <a:cubicBezTo>
                    <a:pt x="1469" y="142"/>
                    <a:pt x="1468" y="140"/>
                    <a:pt x="1468" y="138"/>
                  </a:cubicBezTo>
                  <a:cubicBezTo>
                    <a:pt x="1468" y="44"/>
                    <a:pt x="1468" y="44"/>
                    <a:pt x="1468" y="44"/>
                  </a:cubicBezTo>
                  <a:cubicBezTo>
                    <a:pt x="1468" y="42"/>
                    <a:pt x="1469" y="41"/>
                    <a:pt x="1471" y="41"/>
                  </a:cubicBezTo>
                  <a:cubicBezTo>
                    <a:pt x="1558" y="41"/>
                    <a:pt x="1558" y="41"/>
                    <a:pt x="1558" y="41"/>
                  </a:cubicBezTo>
                  <a:cubicBezTo>
                    <a:pt x="1560" y="41"/>
                    <a:pt x="1562" y="42"/>
                    <a:pt x="1562" y="44"/>
                  </a:cubicBezTo>
                  <a:cubicBezTo>
                    <a:pt x="1562" y="62"/>
                    <a:pt x="1562" y="62"/>
                    <a:pt x="1562" y="62"/>
                  </a:cubicBezTo>
                  <a:cubicBezTo>
                    <a:pt x="1562" y="64"/>
                    <a:pt x="1564" y="66"/>
                    <a:pt x="1566" y="66"/>
                  </a:cubicBezTo>
                  <a:cubicBezTo>
                    <a:pt x="1592" y="66"/>
                    <a:pt x="1592" y="66"/>
                    <a:pt x="1592" y="66"/>
                  </a:cubicBezTo>
                  <a:cubicBezTo>
                    <a:pt x="1594" y="66"/>
                    <a:pt x="1596" y="64"/>
                    <a:pt x="1596" y="62"/>
                  </a:cubicBezTo>
                  <a:cubicBezTo>
                    <a:pt x="1596" y="58"/>
                    <a:pt x="1596" y="58"/>
                    <a:pt x="1596" y="58"/>
                  </a:cubicBezTo>
                  <a:cubicBezTo>
                    <a:pt x="1596" y="32"/>
                    <a:pt x="1572" y="11"/>
                    <a:pt x="1542" y="11"/>
                  </a:cubicBezTo>
                  <a:moveTo>
                    <a:pt x="832" y="96"/>
                  </a:moveTo>
                  <a:cubicBezTo>
                    <a:pt x="832" y="103"/>
                    <a:pt x="831" y="108"/>
                    <a:pt x="823" y="112"/>
                  </a:cubicBezTo>
                  <a:cubicBezTo>
                    <a:pt x="816" y="115"/>
                    <a:pt x="805" y="121"/>
                    <a:pt x="795" y="125"/>
                  </a:cubicBezTo>
                  <a:cubicBezTo>
                    <a:pt x="785" y="121"/>
                    <a:pt x="774" y="115"/>
                    <a:pt x="767" y="112"/>
                  </a:cubicBezTo>
                  <a:cubicBezTo>
                    <a:pt x="758" y="108"/>
                    <a:pt x="757" y="103"/>
                    <a:pt x="757" y="96"/>
                  </a:cubicBezTo>
                  <a:cubicBezTo>
                    <a:pt x="757" y="89"/>
                    <a:pt x="757" y="89"/>
                    <a:pt x="757" y="89"/>
                  </a:cubicBezTo>
                  <a:cubicBezTo>
                    <a:pt x="832" y="89"/>
                    <a:pt x="832" y="89"/>
                    <a:pt x="832" y="89"/>
                  </a:cubicBezTo>
                  <a:lnTo>
                    <a:pt x="832" y="96"/>
                  </a:lnTo>
                  <a:close/>
                  <a:moveTo>
                    <a:pt x="894" y="65"/>
                  </a:moveTo>
                  <a:cubicBezTo>
                    <a:pt x="862" y="65"/>
                    <a:pt x="862" y="65"/>
                    <a:pt x="862" y="65"/>
                  </a:cubicBezTo>
                  <a:cubicBezTo>
                    <a:pt x="862" y="51"/>
                    <a:pt x="862" y="51"/>
                    <a:pt x="862" y="51"/>
                  </a:cubicBezTo>
                  <a:cubicBezTo>
                    <a:pt x="862" y="49"/>
                    <a:pt x="860" y="48"/>
                    <a:pt x="858" y="48"/>
                  </a:cubicBezTo>
                  <a:cubicBezTo>
                    <a:pt x="836" y="48"/>
                    <a:pt x="836" y="48"/>
                    <a:pt x="836" y="48"/>
                  </a:cubicBezTo>
                  <a:cubicBezTo>
                    <a:pt x="834" y="48"/>
                    <a:pt x="832" y="49"/>
                    <a:pt x="832" y="51"/>
                  </a:cubicBezTo>
                  <a:cubicBezTo>
                    <a:pt x="832" y="65"/>
                    <a:pt x="832" y="65"/>
                    <a:pt x="832" y="65"/>
                  </a:cubicBezTo>
                  <a:cubicBezTo>
                    <a:pt x="757" y="65"/>
                    <a:pt x="757" y="65"/>
                    <a:pt x="757" y="65"/>
                  </a:cubicBezTo>
                  <a:cubicBezTo>
                    <a:pt x="757" y="51"/>
                    <a:pt x="757" y="51"/>
                    <a:pt x="757" y="51"/>
                  </a:cubicBezTo>
                  <a:cubicBezTo>
                    <a:pt x="757" y="49"/>
                    <a:pt x="755" y="48"/>
                    <a:pt x="753" y="48"/>
                  </a:cubicBezTo>
                  <a:cubicBezTo>
                    <a:pt x="731" y="48"/>
                    <a:pt x="731" y="48"/>
                    <a:pt x="731" y="48"/>
                  </a:cubicBezTo>
                  <a:cubicBezTo>
                    <a:pt x="729" y="48"/>
                    <a:pt x="728" y="49"/>
                    <a:pt x="728" y="51"/>
                  </a:cubicBezTo>
                  <a:cubicBezTo>
                    <a:pt x="728" y="65"/>
                    <a:pt x="728" y="65"/>
                    <a:pt x="728" y="65"/>
                  </a:cubicBezTo>
                  <a:cubicBezTo>
                    <a:pt x="695" y="65"/>
                    <a:pt x="695" y="65"/>
                    <a:pt x="695" y="65"/>
                  </a:cubicBezTo>
                  <a:cubicBezTo>
                    <a:pt x="693" y="65"/>
                    <a:pt x="692" y="67"/>
                    <a:pt x="692" y="69"/>
                  </a:cubicBezTo>
                  <a:cubicBezTo>
                    <a:pt x="692" y="85"/>
                    <a:pt x="692" y="85"/>
                    <a:pt x="692" y="85"/>
                  </a:cubicBezTo>
                  <a:cubicBezTo>
                    <a:pt x="692" y="87"/>
                    <a:pt x="693" y="89"/>
                    <a:pt x="695" y="89"/>
                  </a:cubicBezTo>
                  <a:cubicBezTo>
                    <a:pt x="727" y="89"/>
                    <a:pt x="727" y="89"/>
                    <a:pt x="727" y="89"/>
                  </a:cubicBezTo>
                  <a:cubicBezTo>
                    <a:pt x="727" y="99"/>
                    <a:pt x="727" y="99"/>
                    <a:pt x="727" y="99"/>
                  </a:cubicBezTo>
                  <a:cubicBezTo>
                    <a:pt x="727" y="111"/>
                    <a:pt x="733" y="122"/>
                    <a:pt x="747" y="129"/>
                  </a:cubicBezTo>
                  <a:cubicBezTo>
                    <a:pt x="753" y="132"/>
                    <a:pt x="760" y="135"/>
                    <a:pt x="767" y="138"/>
                  </a:cubicBezTo>
                  <a:cubicBezTo>
                    <a:pt x="754" y="143"/>
                    <a:pt x="743" y="146"/>
                    <a:pt x="731" y="146"/>
                  </a:cubicBezTo>
                  <a:cubicBezTo>
                    <a:pt x="700" y="146"/>
                    <a:pt x="700" y="146"/>
                    <a:pt x="700" y="146"/>
                  </a:cubicBezTo>
                  <a:cubicBezTo>
                    <a:pt x="698" y="146"/>
                    <a:pt x="696" y="148"/>
                    <a:pt x="696" y="150"/>
                  </a:cubicBezTo>
                  <a:cubicBezTo>
                    <a:pt x="696" y="166"/>
                    <a:pt x="696" y="166"/>
                    <a:pt x="696" y="166"/>
                  </a:cubicBezTo>
                  <a:cubicBezTo>
                    <a:pt x="696" y="168"/>
                    <a:pt x="698" y="170"/>
                    <a:pt x="700" y="170"/>
                  </a:cubicBezTo>
                  <a:cubicBezTo>
                    <a:pt x="730" y="170"/>
                    <a:pt x="730" y="170"/>
                    <a:pt x="730" y="170"/>
                  </a:cubicBezTo>
                  <a:cubicBezTo>
                    <a:pt x="742" y="170"/>
                    <a:pt x="757" y="167"/>
                    <a:pt x="769" y="162"/>
                  </a:cubicBezTo>
                  <a:cubicBezTo>
                    <a:pt x="774" y="161"/>
                    <a:pt x="784" y="156"/>
                    <a:pt x="795" y="151"/>
                  </a:cubicBezTo>
                  <a:cubicBezTo>
                    <a:pt x="806" y="156"/>
                    <a:pt x="815" y="161"/>
                    <a:pt x="820" y="162"/>
                  </a:cubicBezTo>
                  <a:cubicBezTo>
                    <a:pt x="833" y="167"/>
                    <a:pt x="847" y="170"/>
                    <a:pt x="859" y="170"/>
                  </a:cubicBezTo>
                  <a:cubicBezTo>
                    <a:pt x="889" y="170"/>
                    <a:pt x="889" y="170"/>
                    <a:pt x="889" y="170"/>
                  </a:cubicBezTo>
                  <a:cubicBezTo>
                    <a:pt x="891" y="170"/>
                    <a:pt x="893" y="168"/>
                    <a:pt x="893" y="166"/>
                  </a:cubicBezTo>
                  <a:cubicBezTo>
                    <a:pt x="893" y="150"/>
                    <a:pt x="893" y="150"/>
                    <a:pt x="893" y="150"/>
                  </a:cubicBezTo>
                  <a:cubicBezTo>
                    <a:pt x="893" y="148"/>
                    <a:pt x="891" y="146"/>
                    <a:pt x="889" y="146"/>
                  </a:cubicBezTo>
                  <a:cubicBezTo>
                    <a:pt x="859" y="146"/>
                    <a:pt x="859" y="146"/>
                    <a:pt x="859" y="146"/>
                  </a:cubicBezTo>
                  <a:cubicBezTo>
                    <a:pt x="847" y="146"/>
                    <a:pt x="835" y="143"/>
                    <a:pt x="823" y="138"/>
                  </a:cubicBezTo>
                  <a:cubicBezTo>
                    <a:pt x="830" y="135"/>
                    <a:pt x="837" y="132"/>
                    <a:pt x="842" y="129"/>
                  </a:cubicBezTo>
                  <a:cubicBezTo>
                    <a:pt x="857" y="122"/>
                    <a:pt x="862" y="111"/>
                    <a:pt x="862" y="99"/>
                  </a:cubicBezTo>
                  <a:cubicBezTo>
                    <a:pt x="862" y="89"/>
                    <a:pt x="862" y="89"/>
                    <a:pt x="862" y="89"/>
                  </a:cubicBezTo>
                  <a:cubicBezTo>
                    <a:pt x="894" y="89"/>
                    <a:pt x="894" y="89"/>
                    <a:pt x="894" y="89"/>
                  </a:cubicBezTo>
                  <a:cubicBezTo>
                    <a:pt x="896" y="89"/>
                    <a:pt x="898" y="87"/>
                    <a:pt x="898" y="85"/>
                  </a:cubicBezTo>
                  <a:cubicBezTo>
                    <a:pt x="898" y="69"/>
                    <a:pt x="898" y="69"/>
                    <a:pt x="898" y="69"/>
                  </a:cubicBezTo>
                  <a:cubicBezTo>
                    <a:pt x="898" y="67"/>
                    <a:pt x="896" y="65"/>
                    <a:pt x="894" y="65"/>
                  </a:cubicBezTo>
                  <a:moveTo>
                    <a:pt x="1747" y="17"/>
                  </a:moveTo>
                  <a:cubicBezTo>
                    <a:pt x="1745" y="14"/>
                    <a:pt x="1743" y="13"/>
                    <a:pt x="1740" y="13"/>
                  </a:cubicBezTo>
                  <a:cubicBezTo>
                    <a:pt x="1716" y="13"/>
                    <a:pt x="1716" y="13"/>
                    <a:pt x="1716" y="13"/>
                  </a:cubicBezTo>
                  <a:cubicBezTo>
                    <a:pt x="1713" y="13"/>
                    <a:pt x="1711" y="14"/>
                    <a:pt x="1710" y="17"/>
                  </a:cubicBezTo>
                  <a:cubicBezTo>
                    <a:pt x="1636" y="162"/>
                    <a:pt x="1636" y="162"/>
                    <a:pt x="1636" y="162"/>
                  </a:cubicBezTo>
                  <a:cubicBezTo>
                    <a:pt x="1634" y="167"/>
                    <a:pt x="1636" y="170"/>
                    <a:pt x="1640" y="170"/>
                  </a:cubicBezTo>
                  <a:cubicBezTo>
                    <a:pt x="1663" y="170"/>
                    <a:pt x="1663" y="170"/>
                    <a:pt x="1663" y="170"/>
                  </a:cubicBezTo>
                  <a:cubicBezTo>
                    <a:pt x="1667" y="170"/>
                    <a:pt x="1668" y="169"/>
                    <a:pt x="1670" y="165"/>
                  </a:cubicBezTo>
                  <a:cubicBezTo>
                    <a:pt x="1728" y="49"/>
                    <a:pt x="1728" y="49"/>
                    <a:pt x="1728" y="49"/>
                  </a:cubicBezTo>
                  <a:cubicBezTo>
                    <a:pt x="1786" y="165"/>
                    <a:pt x="1786" y="165"/>
                    <a:pt x="1786" y="165"/>
                  </a:cubicBezTo>
                  <a:cubicBezTo>
                    <a:pt x="1788" y="169"/>
                    <a:pt x="1789" y="170"/>
                    <a:pt x="1793" y="170"/>
                  </a:cubicBezTo>
                  <a:cubicBezTo>
                    <a:pt x="1816" y="170"/>
                    <a:pt x="1816" y="170"/>
                    <a:pt x="1816" y="170"/>
                  </a:cubicBezTo>
                  <a:cubicBezTo>
                    <a:pt x="1820" y="170"/>
                    <a:pt x="1823" y="167"/>
                    <a:pt x="1820" y="162"/>
                  </a:cubicBezTo>
                  <a:lnTo>
                    <a:pt x="1747" y="17"/>
                  </a:lnTo>
                  <a:close/>
                  <a:moveTo>
                    <a:pt x="629" y="46"/>
                  </a:moveTo>
                  <a:cubicBezTo>
                    <a:pt x="626" y="46"/>
                    <a:pt x="623" y="48"/>
                    <a:pt x="622" y="49"/>
                  </a:cubicBezTo>
                  <a:cubicBezTo>
                    <a:pt x="597" y="98"/>
                    <a:pt x="597" y="98"/>
                    <a:pt x="597" y="98"/>
                  </a:cubicBezTo>
                  <a:cubicBezTo>
                    <a:pt x="596" y="100"/>
                    <a:pt x="597" y="102"/>
                    <a:pt x="599" y="102"/>
                  </a:cubicBezTo>
                  <a:cubicBezTo>
                    <a:pt x="625" y="102"/>
                    <a:pt x="625" y="102"/>
                    <a:pt x="625" y="102"/>
                  </a:cubicBezTo>
                  <a:cubicBezTo>
                    <a:pt x="628" y="102"/>
                    <a:pt x="630" y="100"/>
                    <a:pt x="631" y="98"/>
                  </a:cubicBezTo>
                  <a:cubicBezTo>
                    <a:pt x="656" y="49"/>
                    <a:pt x="656" y="49"/>
                    <a:pt x="656" y="49"/>
                  </a:cubicBezTo>
                  <a:cubicBezTo>
                    <a:pt x="657" y="48"/>
                    <a:pt x="656" y="46"/>
                    <a:pt x="654" y="46"/>
                  </a:cubicBezTo>
                  <a:lnTo>
                    <a:pt x="629" y="46"/>
                  </a:lnTo>
                  <a:close/>
                  <a:moveTo>
                    <a:pt x="416" y="146"/>
                  </a:moveTo>
                  <a:cubicBezTo>
                    <a:pt x="269" y="146"/>
                    <a:pt x="269" y="146"/>
                    <a:pt x="269" y="146"/>
                  </a:cubicBezTo>
                  <a:cubicBezTo>
                    <a:pt x="269" y="28"/>
                    <a:pt x="269" y="28"/>
                    <a:pt x="269" y="28"/>
                  </a:cubicBezTo>
                  <a:cubicBezTo>
                    <a:pt x="416" y="28"/>
                    <a:pt x="416" y="28"/>
                    <a:pt x="416" y="28"/>
                  </a:cubicBezTo>
                  <a:lnTo>
                    <a:pt x="416" y="146"/>
                  </a:lnTo>
                  <a:close/>
                  <a:moveTo>
                    <a:pt x="423" y="6"/>
                  </a:moveTo>
                  <a:cubicBezTo>
                    <a:pt x="261" y="6"/>
                    <a:pt x="261" y="6"/>
                    <a:pt x="261" y="6"/>
                  </a:cubicBezTo>
                  <a:cubicBezTo>
                    <a:pt x="249" y="6"/>
                    <a:pt x="239" y="16"/>
                    <a:pt x="239" y="28"/>
                  </a:cubicBezTo>
                  <a:cubicBezTo>
                    <a:pt x="239" y="148"/>
                    <a:pt x="239" y="148"/>
                    <a:pt x="239" y="148"/>
                  </a:cubicBezTo>
                  <a:cubicBezTo>
                    <a:pt x="239" y="160"/>
                    <a:pt x="249" y="169"/>
                    <a:pt x="261" y="169"/>
                  </a:cubicBezTo>
                  <a:cubicBezTo>
                    <a:pt x="423" y="169"/>
                    <a:pt x="423" y="169"/>
                    <a:pt x="423" y="169"/>
                  </a:cubicBezTo>
                  <a:cubicBezTo>
                    <a:pt x="435" y="169"/>
                    <a:pt x="445" y="160"/>
                    <a:pt x="445" y="148"/>
                  </a:cubicBezTo>
                  <a:cubicBezTo>
                    <a:pt x="445" y="28"/>
                    <a:pt x="445" y="28"/>
                    <a:pt x="445" y="28"/>
                  </a:cubicBezTo>
                  <a:cubicBezTo>
                    <a:pt x="445" y="16"/>
                    <a:pt x="435" y="6"/>
                    <a:pt x="423" y="6"/>
                  </a:cubicBezTo>
                  <a:moveTo>
                    <a:pt x="697" y="49"/>
                  </a:moveTo>
                  <a:cubicBezTo>
                    <a:pt x="714" y="49"/>
                    <a:pt x="714" y="49"/>
                    <a:pt x="714" y="49"/>
                  </a:cubicBezTo>
                  <a:cubicBezTo>
                    <a:pt x="716" y="49"/>
                    <a:pt x="718" y="47"/>
                    <a:pt x="718" y="45"/>
                  </a:cubicBezTo>
                  <a:cubicBezTo>
                    <a:pt x="718" y="34"/>
                    <a:pt x="718" y="34"/>
                    <a:pt x="718" y="34"/>
                  </a:cubicBezTo>
                  <a:cubicBezTo>
                    <a:pt x="872" y="34"/>
                    <a:pt x="872" y="34"/>
                    <a:pt x="872" y="34"/>
                  </a:cubicBezTo>
                  <a:cubicBezTo>
                    <a:pt x="872" y="45"/>
                    <a:pt x="872" y="45"/>
                    <a:pt x="872" y="45"/>
                  </a:cubicBezTo>
                  <a:cubicBezTo>
                    <a:pt x="872" y="47"/>
                    <a:pt x="873" y="49"/>
                    <a:pt x="875" y="49"/>
                  </a:cubicBezTo>
                  <a:cubicBezTo>
                    <a:pt x="893" y="49"/>
                    <a:pt x="893" y="49"/>
                    <a:pt x="893" y="49"/>
                  </a:cubicBezTo>
                  <a:cubicBezTo>
                    <a:pt x="895" y="49"/>
                    <a:pt x="897" y="47"/>
                    <a:pt x="897" y="45"/>
                  </a:cubicBezTo>
                  <a:cubicBezTo>
                    <a:pt x="897" y="32"/>
                    <a:pt x="897" y="32"/>
                    <a:pt x="897" y="32"/>
                  </a:cubicBezTo>
                  <a:cubicBezTo>
                    <a:pt x="897" y="22"/>
                    <a:pt x="888" y="13"/>
                    <a:pt x="877" y="13"/>
                  </a:cubicBezTo>
                  <a:cubicBezTo>
                    <a:pt x="811" y="13"/>
                    <a:pt x="811" y="13"/>
                    <a:pt x="811" y="13"/>
                  </a:cubicBezTo>
                  <a:cubicBezTo>
                    <a:pt x="811" y="4"/>
                    <a:pt x="811" y="4"/>
                    <a:pt x="811" y="4"/>
                  </a:cubicBezTo>
                  <a:cubicBezTo>
                    <a:pt x="811" y="2"/>
                    <a:pt x="809" y="0"/>
                    <a:pt x="807" y="0"/>
                  </a:cubicBezTo>
                  <a:cubicBezTo>
                    <a:pt x="782" y="0"/>
                    <a:pt x="782" y="0"/>
                    <a:pt x="782" y="0"/>
                  </a:cubicBezTo>
                  <a:cubicBezTo>
                    <a:pt x="780" y="0"/>
                    <a:pt x="778" y="2"/>
                    <a:pt x="778" y="4"/>
                  </a:cubicBezTo>
                  <a:cubicBezTo>
                    <a:pt x="778" y="13"/>
                    <a:pt x="778" y="13"/>
                    <a:pt x="778" y="13"/>
                  </a:cubicBezTo>
                  <a:cubicBezTo>
                    <a:pt x="712" y="13"/>
                    <a:pt x="712" y="13"/>
                    <a:pt x="712" y="13"/>
                  </a:cubicBezTo>
                  <a:cubicBezTo>
                    <a:pt x="702" y="13"/>
                    <a:pt x="693" y="22"/>
                    <a:pt x="693" y="32"/>
                  </a:cubicBezTo>
                  <a:cubicBezTo>
                    <a:pt x="693" y="45"/>
                    <a:pt x="693" y="45"/>
                    <a:pt x="693" y="45"/>
                  </a:cubicBezTo>
                  <a:cubicBezTo>
                    <a:pt x="693" y="47"/>
                    <a:pt x="695" y="49"/>
                    <a:pt x="697" y="49"/>
                  </a:cubicBezTo>
                  <a:moveTo>
                    <a:pt x="179" y="115"/>
                  </a:moveTo>
                  <a:cubicBezTo>
                    <a:pt x="122" y="115"/>
                    <a:pt x="122" y="115"/>
                    <a:pt x="122" y="115"/>
                  </a:cubicBezTo>
                  <a:cubicBezTo>
                    <a:pt x="122" y="49"/>
                    <a:pt x="122" y="49"/>
                    <a:pt x="122" y="49"/>
                  </a:cubicBezTo>
                  <a:cubicBezTo>
                    <a:pt x="179" y="49"/>
                    <a:pt x="179" y="49"/>
                    <a:pt x="179" y="49"/>
                  </a:cubicBezTo>
                  <a:lnTo>
                    <a:pt x="179" y="115"/>
                  </a:lnTo>
                  <a:close/>
                  <a:moveTo>
                    <a:pt x="88" y="115"/>
                  </a:moveTo>
                  <a:cubicBezTo>
                    <a:pt x="31" y="115"/>
                    <a:pt x="31" y="115"/>
                    <a:pt x="31" y="115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88" y="49"/>
                    <a:pt x="88" y="49"/>
                    <a:pt x="88" y="49"/>
                  </a:cubicBezTo>
                  <a:lnTo>
                    <a:pt x="88" y="115"/>
                  </a:lnTo>
                  <a:close/>
                  <a:moveTo>
                    <a:pt x="188" y="2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22" y="5"/>
                    <a:pt x="122" y="5"/>
                    <a:pt x="122" y="5"/>
                  </a:cubicBezTo>
                  <a:cubicBezTo>
                    <a:pt x="122" y="3"/>
                    <a:pt x="120" y="1"/>
                    <a:pt x="118" y="1"/>
                  </a:cubicBezTo>
                  <a:cubicBezTo>
                    <a:pt x="91" y="1"/>
                    <a:pt x="91" y="1"/>
                    <a:pt x="91" y="1"/>
                  </a:cubicBezTo>
                  <a:cubicBezTo>
                    <a:pt x="89" y="1"/>
                    <a:pt x="88" y="3"/>
                    <a:pt x="88" y="5"/>
                  </a:cubicBezTo>
                  <a:cubicBezTo>
                    <a:pt x="88" y="24"/>
                    <a:pt x="88" y="24"/>
                    <a:pt x="88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10" y="24"/>
                    <a:pt x="0" y="34"/>
                    <a:pt x="0" y="46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130"/>
                    <a:pt x="10" y="140"/>
                    <a:pt x="22" y="140"/>
                  </a:cubicBezTo>
                  <a:cubicBezTo>
                    <a:pt x="88" y="140"/>
                    <a:pt x="88" y="140"/>
                    <a:pt x="88" y="140"/>
                  </a:cubicBezTo>
                  <a:cubicBezTo>
                    <a:pt x="88" y="171"/>
                    <a:pt x="88" y="171"/>
                    <a:pt x="88" y="171"/>
                  </a:cubicBezTo>
                  <a:cubicBezTo>
                    <a:pt x="88" y="173"/>
                    <a:pt x="89" y="174"/>
                    <a:pt x="91" y="174"/>
                  </a:cubicBezTo>
                  <a:cubicBezTo>
                    <a:pt x="118" y="174"/>
                    <a:pt x="118" y="174"/>
                    <a:pt x="118" y="174"/>
                  </a:cubicBezTo>
                  <a:cubicBezTo>
                    <a:pt x="120" y="174"/>
                    <a:pt x="122" y="173"/>
                    <a:pt x="122" y="171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88" y="140"/>
                    <a:pt x="188" y="140"/>
                    <a:pt x="188" y="140"/>
                  </a:cubicBezTo>
                  <a:cubicBezTo>
                    <a:pt x="200" y="140"/>
                    <a:pt x="210" y="130"/>
                    <a:pt x="210" y="118"/>
                  </a:cubicBezTo>
                  <a:cubicBezTo>
                    <a:pt x="210" y="46"/>
                    <a:pt x="210" y="46"/>
                    <a:pt x="210" y="46"/>
                  </a:cubicBezTo>
                  <a:cubicBezTo>
                    <a:pt x="210" y="34"/>
                    <a:pt x="200" y="24"/>
                    <a:pt x="188" y="24"/>
                  </a:cubicBezTo>
                  <a:moveTo>
                    <a:pt x="401" y="104"/>
                  </a:moveTo>
                  <a:cubicBezTo>
                    <a:pt x="379" y="104"/>
                    <a:pt x="379" y="104"/>
                    <a:pt x="379" y="104"/>
                  </a:cubicBezTo>
                  <a:cubicBezTo>
                    <a:pt x="379" y="112"/>
                    <a:pt x="379" y="112"/>
                    <a:pt x="379" y="112"/>
                  </a:cubicBezTo>
                  <a:cubicBezTo>
                    <a:pt x="357" y="112"/>
                    <a:pt x="357" y="112"/>
                    <a:pt x="357" y="112"/>
                  </a:cubicBezTo>
                  <a:cubicBezTo>
                    <a:pt x="357" y="93"/>
                    <a:pt x="357" y="93"/>
                    <a:pt x="357" y="93"/>
                  </a:cubicBezTo>
                  <a:cubicBezTo>
                    <a:pt x="395" y="93"/>
                    <a:pt x="395" y="93"/>
                    <a:pt x="395" y="93"/>
                  </a:cubicBezTo>
                  <a:cubicBezTo>
                    <a:pt x="395" y="75"/>
                    <a:pt x="395" y="75"/>
                    <a:pt x="395" y="75"/>
                  </a:cubicBezTo>
                  <a:cubicBezTo>
                    <a:pt x="357" y="75"/>
                    <a:pt x="357" y="75"/>
                    <a:pt x="357" y="75"/>
                  </a:cubicBezTo>
                  <a:cubicBezTo>
                    <a:pt x="357" y="61"/>
                    <a:pt x="357" y="61"/>
                    <a:pt x="357" y="61"/>
                  </a:cubicBezTo>
                  <a:cubicBezTo>
                    <a:pt x="401" y="61"/>
                    <a:pt x="401" y="61"/>
                    <a:pt x="401" y="61"/>
                  </a:cubicBezTo>
                  <a:cubicBezTo>
                    <a:pt x="401" y="41"/>
                    <a:pt x="401" y="41"/>
                    <a:pt x="401" y="41"/>
                  </a:cubicBezTo>
                  <a:cubicBezTo>
                    <a:pt x="284" y="41"/>
                    <a:pt x="284" y="41"/>
                    <a:pt x="284" y="41"/>
                  </a:cubicBezTo>
                  <a:cubicBezTo>
                    <a:pt x="284" y="61"/>
                    <a:pt x="284" y="61"/>
                    <a:pt x="284" y="61"/>
                  </a:cubicBezTo>
                  <a:cubicBezTo>
                    <a:pt x="328" y="61"/>
                    <a:pt x="328" y="61"/>
                    <a:pt x="328" y="61"/>
                  </a:cubicBezTo>
                  <a:cubicBezTo>
                    <a:pt x="328" y="75"/>
                    <a:pt x="328" y="75"/>
                    <a:pt x="328" y="75"/>
                  </a:cubicBezTo>
                  <a:cubicBezTo>
                    <a:pt x="290" y="75"/>
                    <a:pt x="290" y="75"/>
                    <a:pt x="290" y="75"/>
                  </a:cubicBezTo>
                  <a:cubicBezTo>
                    <a:pt x="290" y="93"/>
                    <a:pt x="290" y="93"/>
                    <a:pt x="290" y="93"/>
                  </a:cubicBezTo>
                  <a:cubicBezTo>
                    <a:pt x="328" y="93"/>
                    <a:pt x="328" y="93"/>
                    <a:pt x="328" y="93"/>
                  </a:cubicBezTo>
                  <a:cubicBezTo>
                    <a:pt x="328" y="112"/>
                    <a:pt x="328" y="112"/>
                    <a:pt x="328" y="112"/>
                  </a:cubicBezTo>
                  <a:cubicBezTo>
                    <a:pt x="284" y="112"/>
                    <a:pt x="284" y="112"/>
                    <a:pt x="284" y="112"/>
                  </a:cubicBezTo>
                  <a:cubicBezTo>
                    <a:pt x="284" y="132"/>
                    <a:pt x="284" y="132"/>
                    <a:pt x="284" y="132"/>
                  </a:cubicBezTo>
                  <a:cubicBezTo>
                    <a:pt x="401" y="132"/>
                    <a:pt x="401" y="132"/>
                    <a:pt x="401" y="132"/>
                  </a:cubicBezTo>
                  <a:lnTo>
                    <a:pt x="401" y="104"/>
                  </a:lnTo>
                  <a:close/>
                  <a:moveTo>
                    <a:pt x="516" y="102"/>
                  </a:moveTo>
                  <a:cubicBezTo>
                    <a:pt x="542" y="102"/>
                    <a:pt x="542" y="102"/>
                    <a:pt x="542" y="102"/>
                  </a:cubicBezTo>
                  <a:cubicBezTo>
                    <a:pt x="544" y="102"/>
                    <a:pt x="545" y="100"/>
                    <a:pt x="544" y="98"/>
                  </a:cubicBezTo>
                  <a:cubicBezTo>
                    <a:pt x="519" y="49"/>
                    <a:pt x="519" y="49"/>
                    <a:pt x="519" y="49"/>
                  </a:cubicBezTo>
                  <a:cubicBezTo>
                    <a:pt x="518" y="48"/>
                    <a:pt x="515" y="46"/>
                    <a:pt x="512" y="46"/>
                  </a:cubicBezTo>
                  <a:cubicBezTo>
                    <a:pt x="487" y="46"/>
                    <a:pt x="487" y="46"/>
                    <a:pt x="487" y="46"/>
                  </a:cubicBezTo>
                  <a:cubicBezTo>
                    <a:pt x="485" y="46"/>
                    <a:pt x="484" y="48"/>
                    <a:pt x="485" y="49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511" y="100"/>
                    <a:pt x="513" y="102"/>
                    <a:pt x="516" y="102"/>
                  </a:cubicBezTo>
                  <a:moveTo>
                    <a:pt x="669" y="115"/>
                  </a:moveTo>
                  <a:cubicBezTo>
                    <a:pt x="587" y="115"/>
                    <a:pt x="587" y="115"/>
                    <a:pt x="587" y="115"/>
                  </a:cubicBezTo>
                  <a:cubicBezTo>
                    <a:pt x="587" y="33"/>
                    <a:pt x="587" y="33"/>
                    <a:pt x="587" y="33"/>
                  </a:cubicBezTo>
                  <a:cubicBezTo>
                    <a:pt x="662" y="33"/>
                    <a:pt x="662" y="33"/>
                    <a:pt x="662" y="33"/>
                  </a:cubicBezTo>
                  <a:cubicBezTo>
                    <a:pt x="664" y="33"/>
                    <a:pt x="666" y="31"/>
                    <a:pt x="666" y="29"/>
                  </a:cubicBezTo>
                  <a:cubicBezTo>
                    <a:pt x="666" y="14"/>
                    <a:pt x="666" y="14"/>
                    <a:pt x="666" y="14"/>
                  </a:cubicBezTo>
                  <a:cubicBezTo>
                    <a:pt x="666" y="11"/>
                    <a:pt x="664" y="10"/>
                    <a:pt x="662" y="10"/>
                  </a:cubicBezTo>
                  <a:cubicBezTo>
                    <a:pt x="479" y="10"/>
                    <a:pt x="479" y="10"/>
                    <a:pt x="479" y="10"/>
                  </a:cubicBezTo>
                  <a:cubicBezTo>
                    <a:pt x="477" y="10"/>
                    <a:pt x="475" y="11"/>
                    <a:pt x="475" y="14"/>
                  </a:cubicBezTo>
                  <a:cubicBezTo>
                    <a:pt x="475" y="29"/>
                    <a:pt x="475" y="29"/>
                    <a:pt x="475" y="29"/>
                  </a:cubicBezTo>
                  <a:cubicBezTo>
                    <a:pt x="475" y="31"/>
                    <a:pt x="477" y="33"/>
                    <a:pt x="479" y="33"/>
                  </a:cubicBezTo>
                  <a:cubicBezTo>
                    <a:pt x="554" y="33"/>
                    <a:pt x="554" y="33"/>
                    <a:pt x="554" y="33"/>
                  </a:cubicBezTo>
                  <a:cubicBezTo>
                    <a:pt x="554" y="115"/>
                    <a:pt x="554" y="115"/>
                    <a:pt x="554" y="115"/>
                  </a:cubicBezTo>
                  <a:cubicBezTo>
                    <a:pt x="472" y="115"/>
                    <a:pt x="472" y="115"/>
                    <a:pt x="472" y="115"/>
                  </a:cubicBezTo>
                  <a:cubicBezTo>
                    <a:pt x="470" y="115"/>
                    <a:pt x="469" y="117"/>
                    <a:pt x="469" y="119"/>
                  </a:cubicBezTo>
                  <a:cubicBezTo>
                    <a:pt x="469" y="135"/>
                    <a:pt x="469" y="135"/>
                    <a:pt x="469" y="135"/>
                  </a:cubicBezTo>
                  <a:cubicBezTo>
                    <a:pt x="469" y="137"/>
                    <a:pt x="470" y="139"/>
                    <a:pt x="472" y="139"/>
                  </a:cubicBezTo>
                  <a:cubicBezTo>
                    <a:pt x="554" y="139"/>
                    <a:pt x="554" y="139"/>
                    <a:pt x="554" y="139"/>
                  </a:cubicBezTo>
                  <a:cubicBezTo>
                    <a:pt x="554" y="171"/>
                    <a:pt x="554" y="171"/>
                    <a:pt x="554" y="171"/>
                  </a:cubicBezTo>
                  <a:cubicBezTo>
                    <a:pt x="554" y="173"/>
                    <a:pt x="556" y="174"/>
                    <a:pt x="558" y="174"/>
                  </a:cubicBezTo>
                  <a:cubicBezTo>
                    <a:pt x="583" y="174"/>
                    <a:pt x="583" y="174"/>
                    <a:pt x="583" y="174"/>
                  </a:cubicBezTo>
                  <a:cubicBezTo>
                    <a:pt x="585" y="174"/>
                    <a:pt x="587" y="173"/>
                    <a:pt x="587" y="171"/>
                  </a:cubicBezTo>
                  <a:cubicBezTo>
                    <a:pt x="587" y="139"/>
                    <a:pt x="587" y="139"/>
                    <a:pt x="587" y="139"/>
                  </a:cubicBezTo>
                  <a:cubicBezTo>
                    <a:pt x="669" y="139"/>
                    <a:pt x="669" y="139"/>
                    <a:pt x="669" y="139"/>
                  </a:cubicBezTo>
                  <a:cubicBezTo>
                    <a:pt x="671" y="139"/>
                    <a:pt x="673" y="137"/>
                    <a:pt x="673" y="135"/>
                  </a:cubicBezTo>
                  <a:cubicBezTo>
                    <a:pt x="673" y="119"/>
                    <a:pt x="673" y="119"/>
                    <a:pt x="673" y="119"/>
                  </a:cubicBezTo>
                  <a:cubicBezTo>
                    <a:pt x="673" y="117"/>
                    <a:pt x="671" y="115"/>
                    <a:pt x="669" y="115"/>
                  </a:cubicBezTo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4F3F4A1C-1634-4B72-B7DD-329104072BE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8525" y="693738"/>
              <a:ext cx="77788" cy="76200"/>
            </a:xfrm>
            <a:custGeom>
              <a:avLst/>
              <a:gdLst>
                <a:gd name="T0" fmla="*/ 44 w 48"/>
                <a:gd name="T1" fmla="*/ 0 h 46"/>
                <a:gd name="T2" fmla="*/ 4 w 48"/>
                <a:gd name="T3" fmla="*/ 0 h 46"/>
                <a:gd name="T4" fmla="*/ 0 w 48"/>
                <a:gd name="T5" fmla="*/ 3 h 46"/>
                <a:gd name="T6" fmla="*/ 0 w 48"/>
                <a:gd name="T7" fmla="*/ 43 h 46"/>
                <a:gd name="T8" fmla="*/ 4 w 48"/>
                <a:gd name="T9" fmla="*/ 46 h 46"/>
                <a:gd name="T10" fmla="*/ 44 w 48"/>
                <a:gd name="T11" fmla="*/ 46 h 46"/>
                <a:gd name="T12" fmla="*/ 48 w 48"/>
                <a:gd name="T13" fmla="*/ 43 h 46"/>
                <a:gd name="T14" fmla="*/ 48 w 48"/>
                <a:gd name="T15" fmla="*/ 3 h 46"/>
                <a:gd name="T16" fmla="*/ 44 w 48"/>
                <a:gd name="T17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46">
                  <a:moveTo>
                    <a:pt x="4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5"/>
                    <a:pt x="2" y="46"/>
                    <a:pt x="4" y="46"/>
                  </a:cubicBezTo>
                  <a:cubicBezTo>
                    <a:pt x="44" y="46"/>
                    <a:pt x="44" y="46"/>
                    <a:pt x="44" y="46"/>
                  </a:cubicBezTo>
                  <a:cubicBezTo>
                    <a:pt x="46" y="46"/>
                    <a:pt x="48" y="45"/>
                    <a:pt x="48" y="43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1"/>
                    <a:pt x="46" y="0"/>
                    <a:pt x="44" y="0"/>
                  </a:cubicBezTo>
                </a:path>
              </a:pathLst>
            </a:custGeom>
            <a:solidFill>
              <a:srgbClr val="005E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7" name="Oval 7">
              <a:extLst>
                <a:ext uri="{FF2B5EF4-FFF2-40B4-BE49-F238E27FC236}">
                  <a16:creationId xmlns:a16="http://schemas.microsoft.com/office/drawing/2014/main" id="{E67C76DE-CC76-49FD-B756-EF02671D33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85888" y="952500"/>
              <a:ext cx="17463" cy="20637"/>
            </a:xfrm>
            <a:prstGeom prst="ellipse">
              <a:avLst/>
            </a:pr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459DF09B-5642-4A1F-A8B9-10F3721142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1713" y="893763"/>
              <a:ext cx="142875" cy="133350"/>
            </a:xfrm>
            <a:custGeom>
              <a:avLst/>
              <a:gdLst>
                <a:gd name="T0" fmla="*/ 43 w 88"/>
                <a:gd name="T1" fmla="*/ 0 h 81"/>
                <a:gd name="T2" fmla="*/ 51 w 88"/>
                <a:gd name="T3" fmla="*/ 4 h 81"/>
                <a:gd name="T4" fmla="*/ 84 w 88"/>
                <a:gd name="T5" fmla="*/ 22 h 81"/>
                <a:gd name="T6" fmla="*/ 87 w 88"/>
                <a:gd name="T7" fmla="*/ 28 h 81"/>
                <a:gd name="T8" fmla="*/ 82 w 88"/>
                <a:gd name="T9" fmla="*/ 29 h 81"/>
                <a:gd name="T10" fmla="*/ 49 w 88"/>
                <a:gd name="T11" fmla="*/ 12 h 81"/>
                <a:gd name="T12" fmla="*/ 43 w 88"/>
                <a:gd name="T13" fmla="*/ 8 h 81"/>
                <a:gd name="T14" fmla="*/ 38 w 88"/>
                <a:gd name="T15" fmla="*/ 11 h 81"/>
                <a:gd name="T16" fmla="*/ 6 w 88"/>
                <a:gd name="T17" fmla="*/ 30 h 81"/>
                <a:gd name="T18" fmla="*/ 1 w 88"/>
                <a:gd name="T19" fmla="*/ 28 h 81"/>
                <a:gd name="T20" fmla="*/ 3 w 88"/>
                <a:gd name="T21" fmla="*/ 23 h 81"/>
                <a:gd name="T22" fmla="*/ 35 w 88"/>
                <a:gd name="T23" fmla="*/ 5 h 81"/>
                <a:gd name="T24" fmla="*/ 43 w 88"/>
                <a:gd name="T25" fmla="*/ 0 h 81"/>
                <a:gd name="T26" fmla="*/ 21 w 88"/>
                <a:gd name="T27" fmla="*/ 25 h 81"/>
                <a:gd name="T28" fmla="*/ 68 w 88"/>
                <a:gd name="T29" fmla="*/ 25 h 81"/>
                <a:gd name="T30" fmla="*/ 71 w 88"/>
                <a:gd name="T31" fmla="*/ 28 h 81"/>
                <a:gd name="T32" fmla="*/ 68 w 88"/>
                <a:gd name="T33" fmla="*/ 31 h 81"/>
                <a:gd name="T34" fmla="*/ 48 w 88"/>
                <a:gd name="T35" fmla="*/ 31 h 81"/>
                <a:gd name="T36" fmla="*/ 48 w 88"/>
                <a:gd name="T37" fmla="*/ 42 h 81"/>
                <a:gd name="T38" fmla="*/ 80 w 88"/>
                <a:gd name="T39" fmla="*/ 42 h 81"/>
                <a:gd name="T40" fmla="*/ 83 w 88"/>
                <a:gd name="T41" fmla="*/ 46 h 81"/>
                <a:gd name="T42" fmla="*/ 80 w 88"/>
                <a:gd name="T43" fmla="*/ 49 h 81"/>
                <a:gd name="T44" fmla="*/ 48 w 88"/>
                <a:gd name="T45" fmla="*/ 49 h 81"/>
                <a:gd name="T46" fmla="*/ 48 w 88"/>
                <a:gd name="T47" fmla="*/ 74 h 81"/>
                <a:gd name="T48" fmla="*/ 61 w 88"/>
                <a:gd name="T49" fmla="*/ 74 h 81"/>
                <a:gd name="T50" fmla="*/ 60 w 88"/>
                <a:gd name="T51" fmla="*/ 70 h 81"/>
                <a:gd name="T52" fmla="*/ 70 w 88"/>
                <a:gd name="T53" fmla="*/ 53 h 81"/>
                <a:gd name="T54" fmla="*/ 75 w 88"/>
                <a:gd name="T55" fmla="*/ 51 h 81"/>
                <a:gd name="T56" fmla="*/ 76 w 88"/>
                <a:gd name="T57" fmla="*/ 56 h 81"/>
                <a:gd name="T58" fmla="*/ 66 w 88"/>
                <a:gd name="T59" fmla="*/ 73 h 81"/>
                <a:gd name="T60" fmla="*/ 64 w 88"/>
                <a:gd name="T61" fmla="*/ 74 h 81"/>
                <a:gd name="T62" fmla="*/ 84 w 88"/>
                <a:gd name="T63" fmla="*/ 74 h 81"/>
                <a:gd name="T64" fmla="*/ 87 w 88"/>
                <a:gd name="T65" fmla="*/ 77 h 81"/>
                <a:gd name="T66" fmla="*/ 84 w 88"/>
                <a:gd name="T67" fmla="*/ 81 h 81"/>
                <a:gd name="T68" fmla="*/ 6 w 88"/>
                <a:gd name="T69" fmla="*/ 81 h 81"/>
                <a:gd name="T70" fmla="*/ 2 w 88"/>
                <a:gd name="T71" fmla="*/ 77 h 81"/>
                <a:gd name="T72" fmla="*/ 6 w 88"/>
                <a:gd name="T73" fmla="*/ 74 h 81"/>
                <a:gd name="T74" fmla="*/ 40 w 88"/>
                <a:gd name="T75" fmla="*/ 74 h 81"/>
                <a:gd name="T76" fmla="*/ 40 w 88"/>
                <a:gd name="T77" fmla="*/ 49 h 81"/>
                <a:gd name="T78" fmla="*/ 9 w 88"/>
                <a:gd name="T79" fmla="*/ 49 h 81"/>
                <a:gd name="T80" fmla="*/ 6 w 88"/>
                <a:gd name="T81" fmla="*/ 46 h 81"/>
                <a:gd name="T82" fmla="*/ 9 w 88"/>
                <a:gd name="T83" fmla="*/ 42 h 81"/>
                <a:gd name="T84" fmla="*/ 40 w 88"/>
                <a:gd name="T85" fmla="*/ 42 h 81"/>
                <a:gd name="T86" fmla="*/ 40 w 88"/>
                <a:gd name="T87" fmla="*/ 31 h 81"/>
                <a:gd name="T88" fmla="*/ 21 w 88"/>
                <a:gd name="T89" fmla="*/ 31 h 81"/>
                <a:gd name="T90" fmla="*/ 18 w 88"/>
                <a:gd name="T91" fmla="*/ 28 h 81"/>
                <a:gd name="T92" fmla="*/ 21 w 88"/>
                <a:gd name="T93" fmla="*/ 25 h 81"/>
                <a:gd name="T94" fmla="*/ 20 w 88"/>
                <a:gd name="T95" fmla="*/ 54 h 81"/>
                <a:gd name="T96" fmla="*/ 27 w 88"/>
                <a:gd name="T97" fmla="*/ 67 h 81"/>
                <a:gd name="T98" fmla="*/ 26 w 88"/>
                <a:gd name="T99" fmla="*/ 72 h 81"/>
                <a:gd name="T100" fmla="*/ 21 w 88"/>
                <a:gd name="T101" fmla="*/ 71 h 81"/>
                <a:gd name="T102" fmla="*/ 14 w 88"/>
                <a:gd name="T103" fmla="*/ 57 h 81"/>
                <a:gd name="T104" fmla="*/ 14 w 88"/>
                <a:gd name="T105" fmla="*/ 53 h 81"/>
                <a:gd name="T106" fmla="*/ 20 w 88"/>
                <a:gd name="T107" fmla="*/ 54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8" h="81">
                  <a:moveTo>
                    <a:pt x="43" y="0"/>
                  </a:moveTo>
                  <a:cubicBezTo>
                    <a:pt x="44" y="0"/>
                    <a:pt x="47" y="1"/>
                    <a:pt x="51" y="4"/>
                  </a:cubicBezTo>
                  <a:cubicBezTo>
                    <a:pt x="61" y="12"/>
                    <a:pt x="72" y="18"/>
                    <a:pt x="84" y="22"/>
                  </a:cubicBezTo>
                  <a:cubicBezTo>
                    <a:pt x="87" y="23"/>
                    <a:pt x="88" y="25"/>
                    <a:pt x="87" y="28"/>
                  </a:cubicBezTo>
                  <a:cubicBezTo>
                    <a:pt x="86" y="30"/>
                    <a:pt x="85" y="30"/>
                    <a:pt x="82" y="29"/>
                  </a:cubicBezTo>
                  <a:cubicBezTo>
                    <a:pt x="70" y="25"/>
                    <a:pt x="59" y="19"/>
                    <a:pt x="49" y="12"/>
                  </a:cubicBezTo>
                  <a:cubicBezTo>
                    <a:pt x="46" y="10"/>
                    <a:pt x="44" y="8"/>
                    <a:pt x="43" y="8"/>
                  </a:cubicBezTo>
                  <a:cubicBezTo>
                    <a:pt x="43" y="8"/>
                    <a:pt x="41" y="9"/>
                    <a:pt x="38" y="11"/>
                  </a:cubicBezTo>
                  <a:cubicBezTo>
                    <a:pt x="28" y="19"/>
                    <a:pt x="18" y="25"/>
                    <a:pt x="6" y="30"/>
                  </a:cubicBezTo>
                  <a:cubicBezTo>
                    <a:pt x="4" y="31"/>
                    <a:pt x="2" y="30"/>
                    <a:pt x="1" y="28"/>
                  </a:cubicBezTo>
                  <a:cubicBezTo>
                    <a:pt x="0" y="26"/>
                    <a:pt x="1" y="24"/>
                    <a:pt x="3" y="23"/>
                  </a:cubicBezTo>
                  <a:cubicBezTo>
                    <a:pt x="15" y="19"/>
                    <a:pt x="26" y="13"/>
                    <a:pt x="35" y="5"/>
                  </a:cubicBezTo>
                  <a:cubicBezTo>
                    <a:pt x="39" y="2"/>
                    <a:pt x="42" y="0"/>
                    <a:pt x="43" y="0"/>
                  </a:cubicBezTo>
                  <a:close/>
                  <a:moveTo>
                    <a:pt x="21" y="25"/>
                  </a:moveTo>
                  <a:cubicBezTo>
                    <a:pt x="68" y="25"/>
                    <a:pt x="68" y="25"/>
                    <a:pt x="68" y="25"/>
                  </a:cubicBezTo>
                  <a:cubicBezTo>
                    <a:pt x="70" y="25"/>
                    <a:pt x="71" y="26"/>
                    <a:pt x="71" y="28"/>
                  </a:cubicBezTo>
                  <a:cubicBezTo>
                    <a:pt x="71" y="30"/>
                    <a:pt x="70" y="31"/>
                    <a:pt x="6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80" y="42"/>
                    <a:pt x="80" y="42"/>
                    <a:pt x="80" y="42"/>
                  </a:cubicBezTo>
                  <a:cubicBezTo>
                    <a:pt x="82" y="42"/>
                    <a:pt x="83" y="43"/>
                    <a:pt x="83" y="46"/>
                  </a:cubicBezTo>
                  <a:cubicBezTo>
                    <a:pt x="83" y="48"/>
                    <a:pt x="82" y="49"/>
                    <a:pt x="80" y="49"/>
                  </a:cubicBezTo>
                  <a:cubicBezTo>
                    <a:pt x="48" y="49"/>
                    <a:pt x="48" y="49"/>
                    <a:pt x="48" y="49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59" y="73"/>
                    <a:pt x="59" y="72"/>
                    <a:pt x="60" y="70"/>
                  </a:cubicBezTo>
                  <a:cubicBezTo>
                    <a:pt x="64" y="64"/>
                    <a:pt x="67" y="59"/>
                    <a:pt x="70" y="53"/>
                  </a:cubicBezTo>
                  <a:cubicBezTo>
                    <a:pt x="71" y="51"/>
                    <a:pt x="73" y="50"/>
                    <a:pt x="75" y="51"/>
                  </a:cubicBezTo>
                  <a:cubicBezTo>
                    <a:pt x="76" y="52"/>
                    <a:pt x="77" y="54"/>
                    <a:pt x="76" y="56"/>
                  </a:cubicBezTo>
                  <a:cubicBezTo>
                    <a:pt x="72" y="65"/>
                    <a:pt x="69" y="70"/>
                    <a:pt x="66" y="73"/>
                  </a:cubicBezTo>
                  <a:cubicBezTo>
                    <a:pt x="65" y="74"/>
                    <a:pt x="65" y="74"/>
                    <a:pt x="64" y="74"/>
                  </a:cubicBezTo>
                  <a:cubicBezTo>
                    <a:pt x="84" y="74"/>
                    <a:pt x="84" y="74"/>
                    <a:pt x="84" y="74"/>
                  </a:cubicBezTo>
                  <a:cubicBezTo>
                    <a:pt x="86" y="74"/>
                    <a:pt x="87" y="75"/>
                    <a:pt x="87" y="77"/>
                  </a:cubicBezTo>
                  <a:cubicBezTo>
                    <a:pt x="87" y="79"/>
                    <a:pt x="86" y="81"/>
                    <a:pt x="84" y="81"/>
                  </a:cubicBezTo>
                  <a:cubicBezTo>
                    <a:pt x="6" y="81"/>
                    <a:pt x="6" y="81"/>
                    <a:pt x="6" y="81"/>
                  </a:cubicBezTo>
                  <a:cubicBezTo>
                    <a:pt x="3" y="81"/>
                    <a:pt x="2" y="79"/>
                    <a:pt x="2" y="77"/>
                  </a:cubicBezTo>
                  <a:cubicBezTo>
                    <a:pt x="2" y="75"/>
                    <a:pt x="3" y="74"/>
                    <a:pt x="6" y="74"/>
                  </a:cubicBezTo>
                  <a:cubicBezTo>
                    <a:pt x="40" y="74"/>
                    <a:pt x="40" y="74"/>
                    <a:pt x="40" y="74"/>
                  </a:cubicBezTo>
                  <a:cubicBezTo>
                    <a:pt x="40" y="49"/>
                    <a:pt x="40" y="49"/>
                    <a:pt x="40" y="49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7" y="49"/>
                    <a:pt x="6" y="48"/>
                    <a:pt x="6" y="46"/>
                  </a:cubicBezTo>
                  <a:cubicBezTo>
                    <a:pt x="6" y="43"/>
                    <a:pt x="7" y="42"/>
                    <a:pt x="9" y="42"/>
                  </a:cubicBezTo>
                  <a:cubicBezTo>
                    <a:pt x="40" y="42"/>
                    <a:pt x="40" y="42"/>
                    <a:pt x="40" y="42"/>
                  </a:cubicBezTo>
                  <a:cubicBezTo>
                    <a:pt x="40" y="31"/>
                    <a:pt x="40" y="31"/>
                    <a:pt x="40" y="31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19" y="31"/>
                    <a:pt x="18" y="30"/>
                    <a:pt x="18" y="28"/>
                  </a:cubicBezTo>
                  <a:cubicBezTo>
                    <a:pt x="18" y="26"/>
                    <a:pt x="19" y="25"/>
                    <a:pt x="21" y="25"/>
                  </a:cubicBezTo>
                  <a:close/>
                  <a:moveTo>
                    <a:pt x="20" y="54"/>
                  </a:moveTo>
                  <a:cubicBezTo>
                    <a:pt x="23" y="58"/>
                    <a:pt x="25" y="63"/>
                    <a:pt x="27" y="67"/>
                  </a:cubicBezTo>
                  <a:cubicBezTo>
                    <a:pt x="28" y="69"/>
                    <a:pt x="28" y="71"/>
                    <a:pt x="26" y="72"/>
                  </a:cubicBezTo>
                  <a:cubicBezTo>
                    <a:pt x="24" y="73"/>
                    <a:pt x="23" y="73"/>
                    <a:pt x="21" y="71"/>
                  </a:cubicBezTo>
                  <a:cubicBezTo>
                    <a:pt x="19" y="67"/>
                    <a:pt x="17" y="62"/>
                    <a:pt x="14" y="57"/>
                  </a:cubicBezTo>
                  <a:cubicBezTo>
                    <a:pt x="12" y="55"/>
                    <a:pt x="13" y="54"/>
                    <a:pt x="14" y="53"/>
                  </a:cubicBezTo>
                  <a:cubicBezTo>
                    <a:pt x="16" y="52"/>
                    <a:pt x="18" y="52"/>
                    <a:pt x="20" y="54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49D45AAA-2D22-4BDC-BECF-BE096787AF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68400" y="895350"/>
              <a:ext cx="136525" cy="139700"/>
            </a:xfrm>
            <a:custGeom>
              <a:avLst/>
              <a:gdLst>
                <a:gd name="T0" fmla="*/ 39 w 83"/>
                <a:gd name="T1" fmla="*/ 1 h 85"/>
                <a:gd name="T2" fmla="*/ 39 w 83"/>
                <a:gd name="T3" fmla="*/ 7 h 85"/>
                <a:gd name="T4" fmla="*/ 0 w 83"/>
                <a:gd name="T5" fmla="*/ 4 h 85"/>
                <a:gd name="T6" fmla="*/ 6 w 83"/>
                <a:gd name="T7" fmla="*/ 35 h 85"/>
                <a:gd name="T8" fmla="*/ 42 w 83"/>
                <a:gd name="T9" fmla="*/ 41 h 85"/>
                <a:gd name="T10" fmla="*/ 28 w 83"/>
                <a:gd name="T11" fmla="*/ 80 h 85"/>
                <a:gd name="T12" fmla="*/ 30 w 83"/>
                <a:gd name="T13" fmla="*/ 74 h 85"/>
                <a:gd name="T14" fmla="*/ 36 w 83"/>
                <a:gd name="T15" fmla="*/ 42 h 85"/>
                <a:gd name="T16" fmla="*/ 8 w 83"/>
                <a:gd name="T17" fmla="*/ 40 h 85"/>
                <a:gd name="T18" fmla="*/ 6 w 83"/>
                <a:gd name="T19" fmla="*/ 79 h 85"/>
                <a:gd name="T20" fmla="*/ 0 w 83"/>
                <a:gd name="T21" fmla="*/ 79 h 85"/>
                <a:gd name="T22" fmla="*/ 6 w 83"/>
                <a:gd name="T23" fmla="*/ 35 h 85"/>
                <a:gd name="T24" fmla="*/ 32 w 83"/>
                <a:gd name="T25" fmla="*/ 11 h 85"/>
                <a:gd name="T26" fmla="*/ 37 w 83"/>
                <a:gd name="T27" fmla="*/ 23 h 85"/>
                <a:gd name="T28" fmla="*/ 9 w 83"/>
                <a:gd name="T29" fmla="*/ 29 h 85"/>
                <a:gd name="T30" fmla="*/ 4 w 83"/>
                <a:gd name="T31" fmla="*/ 17 h 85"/>
                <a:gd name="T32" fmla="*/ 10 w 83"/>
                <a:gd name="T33" fmla="*/ 56 h 85"/>
                <a:gd name="T34" fmla="*/ 23 w 83"/>
                <a:gd name="T35" fmla="*/ 53 h 85"/>
                <a:gd name="T36" fmla="*/ 31 w 83"/>
                <a:gd name="T37" fmla="*/ 41 h 85"/>
                <a:gd name="T38" fmla="*/ 31 w 83"/>
                <a:gd name="T39" fmla="*/ 48 h 85"/>
                <a:gd name="T40" fmla="*/ 32 w 83"/>
                <a:gd name="T41" fmla="*/ 56 h 85"/>
                <a:gd name="T42" fmla="*/ 32 w 83"/>
                <a:gd name="T43" fmla="*/ 61 h 85"/>
                <a:gd name="T44" fmla="*/ 24 w 83"/>
                <a:gd name="T45" fmla="*/ 76 h 85"/>
                <a:gd name="T46" fmla="*/ 18 w 83"/>
                <a:gd name="T47" fmla="*/ 76 h 85"/>
                <a:gd name="T48" fmla="*/ 10 w 83"/>
                <a:gd name="T49" fmla="*/ 61 h 85"/>
                <a:gd name="T50" fmla="*/ 10 w 83"/>
                <a:gd name="T51" fmla="*/ 56 h 85"/>
                <a:gd name="T52" fmla="*/ 17 w 83"/>
                <a:gd name="T53" fmla="*/ 46 h 85"/>
                <a:gd name="T54" fmla="*/ 17 w 83"/>
                <a:gd name="T55" fmla="*/ 55 h 85"/>
                <a:gd name="T56" fmla="*/ 11 w 83"/>
                <a:gd name="T57" fmla="*/ 50 h 85"/>
                <a:gd name="T58" fmla="*/ 11 w 83"/>
                <a:gd name="T59" fmla="*/ 42 h 85"/>
                <a:gd name="T60" fmla="*/ 30 w 83"/>
                <a:gd name="T61" fmla="*/ 17 h 85"/>
                <a:gd name="T62" fmla="*/ 10 w 83"/>
                <a:gd name="T63" fmla="*/ 19 h 85"/>
                <a:gd name="T64" fmla="*/ 12 w 83"/>
                <a:gd name="T65" fmla="*/ 23 h 85"/>
                <a:gd name="T66" fmla="*/ 31 w 83"/>
                <a:gd name="T67" fmla="*/ 21 h 85"/>
                <a:gd name="T68" fmla="*/ 30 w 83"/>
                <a:gd name="T69" fmla="*/ 17 h 85"/>
                <a:gd name="T70" fmla="*/ 66 w 83"/>
                <a:gd name="T71" fmla="*/ 11 h 85"/>
                <a:gd name="T72" fmla="*/ 79 w 83"/>
                <a:gd name="T73" fmla="*/ 16 h 85"/>
                <a:gd name="T74" fmla="*/ 75 w 83"/>
                <a:gd name="T75" fmla="*/ 54 h 85"/>
                <a:gd name="T76" fmla="*/ 66 w 83"/>
                <a:gd name="T77" fmla="*/ 73 h 85"/>
                <a:gd name="T78" fmla="*/ 71 w 83"/>
                <a:gd name="T79" fmla="*/ 63 h 85"/>
                <a:gd name="T80" fmla="*/ 77 w 83"/>
                <a:gd name="T81" fmla="*/ 61 h 85"/>
                <a:gd name="T82" fmla="*/ 81 w 83"/>
                <a:gd name="T83" fmla="*/ 84 h 85"/>
                <a:gd name="T84" fmla="*/ 75 w 83"/>
                <a:gd name="T85" fmla="*/ 77 h 85"/>
                <a:gd name="T86" fmla="*/ 44 w 83"/>
                <a:gd name="T87" fmla="*/ 78 h 85"/>
                <a:gd name="T88" fmla="*/ 59 w 83"/>
                <a:gd name="T89" fmla="*/ 73 h 85"/>
                <a:gd name="T90" fmla="*/ 52 w 83"/>
                <a:gd name="T91" fmla="*/ 54 h 85"/>
                <a:gd name="T92" fmla="*/ 46 w 83"/>
                <a:gd name="T93" fmla="*/ 16 h 85"/>
                <a:gd name="T94" fmla="*/ 59 w 83"/>
                <a:gd name="T95" fmla="*/ 11 h 85"/>
                <a:gd name="T96" fmla="*/ 62 w 83"/>
                <a:gd name="T97" fmla="*/ 0 h 85"/>
                <a:gd name="T98" fmla="*/ 55 w 83"/>
                <a:gd name="T99" fmla="*/ 17 h 85"/>
                <a:gd name="T100" fmla="*/ 52 w 83"/>
                <a:gd name="T101" fmla="*/ 46 h 85"/>
                <a:gd name="T102" fmla="*/ 59 w 83"/>
                <a:gd name="T103" fmla="*/ 47 h 85"/>
                <a:gd name="T104" fmla="*/ 55 w 83"/>
                <a:gd name="T105" fmla="*/ 17 h 85"/>
                <a:gd name="T106" fmla="*/ 66 w 83"/>
                <a:gd name="T107" fmla="*/ 17 h 85"/>
                <a:gd name="T108" fmla="*/ 71 w 83"/>
                <a:gd name="T109" fmla="*/ 47 h 85"/>
                <a:gd name="T110" fmla="*/ 73 w 83"/>
                <a:gd name="T111" fmla="*/ 2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3" h="85">
                  <a:moveTo>
                    <a:pt x="4" y="1"/>
                  </a:moveTo>
                  <a:cubicBezTo>
                    <a:pt x="39" y="1"/>
                    <a:pt x="39" y="1"/>
                    <a:pt x="39" y="1"/>
                  </a:cubicBezTo>
                  <a:cubicBezTo>
                    <a:pt x="41" y="1"/>
                    <a:pt x="42" y="2"/>
                    <a:pt x="42" y="4"/>
                  </a:cubicBezTo>
                  <a:cubicBezTo>
                    <a:pt x="42" y="6"/>
                    <a:pt x="41" y="7"/>
                    <a:pt x="39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1" y="7"/>
                    <a:pt x="0" y="6"/>
                    <a:pt x="0" y="4"/>
                  </a:cubicBezTo>
                  <a:cubicBezTo>
                    <a:pt x="0" y="2"/>
                    <a:pt x="1" y="1"/>
                    <a:pt x="4" y="1"/>
                  </a:cubicBezTo>
                  <a:close/>
                  <a:moveTo>
                    <a:pt x="6" y="35"/>
                  </a:moveTo>
                  <a:cubicBezTo>
                    <a:pt x="35" y="35"/>
                    <a:pt x="35" y="35"/>
                    <a:pt x="35" y="35"/>
                  </a:cubicBezTo>
                  <a:cubicBezTo>
                    <a:pt x="40" y="35"/>
                    <a:pt x="43" y="37"/>
                    <a:pt x="42" y="41"/>
                  </a:cubicBezTo>
                  <a:cubicBezTo>
                    <a:pt x="42" y="74"/>
                    <a:pt x="42" y="74"/>
                    <a:pt x="42" y="74"/>
                  </a:cubicBezTo>
                  <a:cubicBezTo>
                    <a:pt x="42" y="81"/>
                    <a:pt x="37" y="82"/>
                    <a:pt x="28" y="80"/>
                  </a:cubicBezTo>
                  <a:cubicBezTo>
                    <a:pt x="26" y="79"/>
                    <a:pt x="26" y="78"/>
                    <a:pt x="26" y="76"/>
                  </a:cubicBezTo>
                  <a:cubicBezTo>
                    <a:pt x="27" y="74"/>
                    <a:pt x="28" y="74"/>
                    <a:pt x="30" y="74"/>
                  </a:cubicBezTo>
                  <a:cubicBezTo>
                    <a:pt x="34" y="76"/>
                    <a:pt x="36" y="76"/>
                    <a:pt x="36" y="73"/>
                  </a:cubicBezTo>
                  <a:cubicBezTo>
                    <a:pt x="36" y="42"/>
                    <a:pt x="36" y="42"/>
                    <a:pt x="36" y="42"/>
                  </a:cubicBezTo>
                  <a:cubicBezTo>
                    <a:pt x="36" y="41"/>
                    <a:pt x="36" y="40"/>
                    <a:pt x="35" y="40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6" y="40"/>
                    <a:pt x="5" y="41"/>
                    <a:pt x="6" y="43"/>
                  </a:cubicBezTo>
                  <a:cubicBezTo>
                    <a:pt x="6" y="79"/>
                    <a:pt x="6" y="79"/>
                    <a:pt x="6" y="79"/>
                  </a:cubicBezTo>
                  <a:cubicBezTo>
                    <a:pt x="5" y="81"/>
                    <a:pt x="4" y="82"/>
                    <a:pt x="3" y="82"/>
                  </a:cubicBezTo>
                  <a:cubicBezTo>
                    <a:pt x="1" y="82"/>
                    <a:pt x="0" y="81"/>
                    <a:pt x="0" y="79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37"/>
                    <a:pt x="2" y="35"/>
                    <a:pt x="6" y="35"/>
                  </a:cubicBezTo>
                  <a:close/>
                  <a:moveTo>
                    <a:pt x="9" y="11"/>
                  </a:moveTo>
                  <a:cubicBezTo>
                    <a:pt x="32" y="11"/>
                    <a:pt x="32" y="11"/>
                    <a:pt x="32" y="11"/>
                  </a:cubicBezTo>
                  <a:cubicBezTo>
                    <a:pt x="36" y="11"/>
                    <a:pt x="38" y="13"/>
                    <a:pt x="37" y="17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8" y="28"/>
                    <a:pt x="36" y="30"/>
                    <a:pt x="32" y="29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5" y="29"/>
                    <a:pt x="4" y="27"/>
                    <a:pt x="4" y="23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3" y="13"/>
                    <a:pt x="5" y="11"/>
                    <a:pt x="9" y="11"/>
                  </a:cubicBezTo>
                  <a:close/>
                  <a:moveTo>
                    <a:pt x="10" y="56"/>
                  </a:moveTo>
                  <a:cubicBezTo>
                    <a:pt x="22" y="56"/>
                    <a:pt x="22" y="56"/>
                    <a:pt x="22" y="56"/>
                  </a:cubicBezTo>
                  <a:cubicBezTo>
                    <a:pt x="22" y="55"/>
                    <a:pt x="22" y="54"/>
                    <a:pt x="23" y="53"/>
                  </a:cubicBezTo>
                  <a:cubicBezTo>
                    <a:pt x="24" y="50"/>
                    <a:pt x="26" y="46"/>
                    <a:pt x="27" y="43"/>
                  </a:cubicBezTo>
                  <a:cubicBezTo>
                    <a:pt x="28" y="41"/>
                    <a:pt x="29" y="41"/>
                    <a:pt x="31" y="41"/>
                  </a:cubicBezTo>
                  <a:cubicBezTo>
                    <a:pt x="33" y="42"/>
                    <a:pt x="33" y="44"/>
                    <a:pt x="33" y="46"/>
                  </a:cubicBezTo>
                  <a:cubicBezTo>
                    <a:pt x="32" y="47"/>
                    <a:pt x="32" y="47"/>
                    <a:pt x="31" y="48"/>
                  </a:cubicBezTo>
                  <a:cubicBezTo>
                    <a:pt x="30" y="52"/>
                    <a:pt x="29" y="54"/>
                    <a:pt x="28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3" y="56"/>
                    <a:pt x="34" y="57"/>
                    <a:pt x="34" y="59"/>
                  </a:cubicBezTo>
                  <a:cubicBezTo>
                    <a:pt x="34" y="61"/>
                    <a:pt x="33" y="61"/>
                    <a:pt x="32" y="61"/>
                  </a:cubicBezTo>
                  <a:cubicBezTo>
                    <a:pt x="24" y="61"/>
                    <a:pt x="24" y="61"/>
                    <a:pt x="24" y="61"/>
                  </a:cubicBezTo>
                  <a:cubicBezTo>
                    <a:pt x="24" y="76"/>
                    <a:pt x="24" y="76"/>
                    <a:pt x="24" y="76"/>
                  </a:cubicBezTo>
                  <a:cubicBezTo>
                    <a:pt x="23" y="77"/>
                    <a:pt x="22" y="78"/>
                    <a:pt x="20" y="78"/>
                  </a:cubicBezTo>
                  <a:cubicBezTo>
                    <a:pt x="19" y="78"/>
                    <a:pt x="18" y="77"/>
                    <a:pt x="18" y="76"/>
                  </a:cubicBezTo>
                  <a:cubicBezTo>
                    <a:pt x="18" y="61"/>
                    <a:pt x="18" y="61"/>
                    <a:pt x="18" y="61"/>
                  </a:cubicBezTo>
                  <a:cubicBezTo>
                    <a:pt x="10" y="61"/>
                    <a:pt x="10" y="61"/>
                    <a:pt x="10" y="61"/>
                  </a:cubicBezTo>
                  <a:cubicBezTo>
                    <a:pt x="8" y="61"/>
                    <a:pt x="7" y="61"/>
                    <a:pt x="7" y="59"/>
                  </a:cubicBezTo>
                  <a:cubicBezTo>
                    <a:pt x="7" y="57"/>
                    <a:pt x="8" y="56"/>
                    <a:pt x="10" y="56"/>
                  </a:cubicBezTo>
                  <a:close/>
                  <a:moveTo>
                    <a:pt x="15" y="43"/>
                  </a:moveTo>
                  <a:cubicBezTo>
                    <a:pt x="15" y="44"/>
                    <a:pt x="16" y="45"/>
                    <a:pt x="17" y="46"/>
                  </a:cubicBezTo>
                  <a:cubicBezTo>
                    <a:pt x="17" y="48"/>
                    <a:pt x="18" y="49"/>
                    <a:pt x="19" y="51"/>
                  </a:cubicBezTo>
                  <a:cubicBezTo>
                    <a:pt x="19" y="53"/>
                    <a:pt x="19" y="54"/>
                    <a:pt x="17" y="55"/>
                  </a:cubicBezTo>
                  <a:cubicBezTo>
                    <a:pt x="15" y="56"/>
                    <a:pt x="13" y="55"/>
                    <a:pt x="13" y="53"/>
                  </a:cubicBezTo>
                  <a:cubicBezTo>
                    <a:pt x="12" y="52"/>
                    <a:pt x="12" y="51"/>
                    <a:pt x="11" y="50"/>
                  </a:cubicBezTo>
                  <a:cubicBezTo>
                    <a:pt x="11" y="48"/>
                    <a:pt x="10" y="47"/>
                    <a:pt x="10" y="46"/>
                  </a:cubicBezTo>
                  <a:cubicBezTo>
                    <a:pt x="9" y="44"/>
                    <a:pt x="9" y="43"/>
                    <a:pt x="11" y="42"/>
                  </a:cubicBezTo>
                  <a:cubicBezTo>
                    <a:pt x="13" y="41"/>
                    <a:pt x="14" y="41"/>
                    <a:pt x="15" y="43"/>
                  </a:cubicBezTo>
                  <a:close/>
                  <a:moveTo>
                    <a:pt x="30" y="17"/>
                  </a:moveTo>
                  <a:cubicBezTo>
                    <a:pt x="11" y="17"/>
                    <a:pt x="11" y="17"/>
                    <a:pt x="11" y="17"/>
                  </a:cubicBezTo>
                  <a:cubicBezTo>
                    <a:pt x="10" y="17"/>
                    <a:pt x="9" y="18"/>
                    <a:pt x="10" y="19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10" y="23"/>
                    <a:pt x="10" y="23"/>
                    <a:pt x="12" y="23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31" y="23"/>
                    <a:pt x="31" y="23"/>
                    <a:pt x="31" y="21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1" y="18"/>
                    <a:pt x="31" y="17"/>
                    <a:pt x="30" y="17"/>
                  </a:cubicBezTo>
                  <a:close/>
                  <a:moveTo>
                    <a:pt x="66" y="3"/>
                  </a:moveTo>
                  <a:cubicBezTo>
                    <a:pt x="66" y="11"/>
                    <a:pt x="66" y="11"/>
                    <a:pt x="66" y="11"/>
                  </a:cubicBezTo>
                  <a:cubicBezTo>
                    <a:pt x="74" y="11"/>
                    <a:pt x="74" y="11"/>
                    <a:pt x="74" y="11"/>
                  </a:cubicBezTo>
                  <a:cubicBezTo>
                    <a:pt x="78" y="11"/>
                    <a:pt x="79" y="12"/>
                    <a:pt x="79" y="16"/>
                  </a:cubicBezTo>
                  <a:cubicBezTo>
                    <a:pt x="79" y="48"/>
                    <a:pt x="79" y="48"/>
                    <a:pt x="79" y="48"/>
                  </a:cubicBezTo>
                  <a:cubicBezTo>
                    <a:pt x="79" y="52"/>
                    <a:pt x="78" y="54"/>
                    <a:pt x="75" y="54"/>
                  </a:cubicBezTo>
                  <a:cubicBezTo>
                    <a:pt x="66" y="54"/>
                    <a:pt x="66" y="54"/>
                    <a:pt x="66" y="54"/>
                  </a:cubicBezTo>
                  <a:cubicBezTo>
                    <a:pt x="66" y="73"/>
                    <a:pt x="66" y="73"/>
                    <a:pt x="66" y="73"/>
                  </a:cubicBezTo>
                  <a:cubicBezTo>
                    <a:pt x="74" y="72"/>
                    <a:pt x="74" y="72"/>
                    <a:pt x="74" y="72"/>
                  </a:cubicBezTo>
                  <a:cubicBezTo>
                    <a:pt x="72" y="67"/>
                    <a:pt x="71" y="64"/>
                    <a:pt x="71" y="63"/>
                  </a:cubicBezTo>
                  <a:cubicBezTo>
                    <a:pt x="70" y="61"/>
                    <a:pt x="71" y="60"/>
                    <a:pt x="73" y="59"/>
                  </a:cubicBezTo>
                  <a:cubicBezTo>
                    <a:pt x="75" y="59"/>
                    <a:pt x="76" y="59"/>
                    <a:pt x="77" y="61"/>
                  </a:cubicBezTo>
                  <a:cubicBezTo>
                    <a:pt x="80" y="69"/>
                    <a:pt x="82" y="76"/>
                    <a:pt x="83" y="81"/>
                  </a:cubicBezTo>
                  <a:cubicBezTo>
                    <a:pt x="83" y="83"/>
                    <a:pt x="83" y="84"/>
                    <a:pt x="81" y="84"/>
                  </a:cubicBezTo>
                  <a:cubicBezTo>
                    <a:pt x="79" y="85"/>
                    <a:pt x="77" y="84"/>
                    <a:pt x="77" y="82"/>
                  </a:cubicBezTo>
                  <a:cubicBezTo>
                    <a:pt x="77" y="82"/>
                    <a:pt x="76" y="80"/>
                    <a:pt x="75" y="77"/>
                  </a:cubicBezTo>
                  <a:cubicBezTo>
                    <a:pt x="58" y="79"/>
                    <a:pt x="48" y="81"/>
                    <a:pt x="48" y="81"/>
                  </a:cubicBezTo>
                  <a:cubicBezTo>
                    <a:pt x="46" y="81"/>
                    <a:pt x="44" y="80"/>
                    <a:pt x="44" y="78"/>
                  </a:cubicBezTo>
                  <a:cubicBezTo>
                    <a:pt x="44" y="76"/>
                    <a:pt x="45" y="75"/>
                    <a:pt x="47" y="74"/>
                  </a:cubicBezTo>
                  <a:cubicBezTo>
                    <a:pt x="48" y="74"/>
                    <a:pt x="52" y="74"/>
                    <a:pt x="59" y="73"/>
                  </a:cubicBezTo>
                  <a:cubicBezTo>
                    <a:pt x="59" y="54"/>
                    <a:pt x="59" y="54"/>
                    <a:pt x="59" y="54"/>
                  </a:cubicBezTo>
                  <a:cubicBezTo>
                    <a:pt x="52" y="54"/>
                    <a:pt x="52" y="54"/>
                    <a:pt x="52" y="54"/>
                  </a:cubicBezTo>
                  <a:cubicBezTo>
                    <a:pt x="48" y="54"/>
                    <a:pt x="45" y="52"/>
                    <a:pt x="46" y="49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6" y="12"/>
                    <a:pt x="48" y="11"/>
                    <a:pt x="52" y="11"/>
                  </a:cubicBezTo>
                  <a:cubicBezTo>
                    <a:pt x="59" y="11"/>
                    <a:pt x="59" y="11"/>
                    <a:pt x="59" y="11"/>
                  </a:cubicBezTo>
                  <a:cubicBezTo>
                    <a:pt x="59" y="3"/>
                    <a:pt x="59" y="3"/>
                    <a:pt x="59" y="3"/>
                  </a:cubicBezTo>
                  <a:cubicBezTo>
                    <a:pt x="59" y="1"/>
                    <a:pt x="60" y="0"/>
                    <a:pt x="62" y="0"/>
                  </a:cubicBezTo>
                  <a:cubicBezTo>
                    <a:pt x="65" y="0"/>
                    <a:pt x="66" y="1"/>
                    <a:pt x="66" y="3"/>
                  </a:cubicBezTo>
                  <a:close/>
                  <a:moveTo>
                    <a:pt x="55" y="17"/>
                  </a:moveTo>
                  <a:cubicBezTo>
                    <a:pt x="53" y="17"/>
                    <a:pt x="52" y="18"/>
                    <a:pt x="52" y="20"/>
                  </a:cubicBezTo>
                  <a:cubicBezTo>
                    <a:pt x="52" y="46"/>
                    <a:pt x="52" y="46"/>
                    <a:pt x="52" y="46"/>
                  </a:cubicBezTo>
                  <a:cubicBezTo>
                    <a:pt x="52" y="47"/>
                    <a:pt x="53" y="48"/>
                    <a:pt x="54" y="47"/>
                  </a:cubicBezTo>
                  <a:cubicBezTo>
                    <a:pt x="59" y="47"/>
                    <a:pt x="59" y="47"/>
                    <a:pt x="59" y="47"/>
                  </a:cubicBezTo>
                  <a:cubicBezTo>
                    <a:pt x="59" y="17"/>
                    <a:pt x="59" y="17"/>
                    <a:pt x="59" y="17"/>
                  </a:cubicBezTo>
                  <a:lnTo>
                    <a:pt x="55" y="17"/>
                  </a:lnTo>
                  <a:close/>
                  <a:moveTo>
                    <a:pt x="71" y="17"/>
                  </a:moveTo>
                  <a:cubicBezTo>
                    <a:pt x="66" y="17"/>
                    <a:pt x="66" y="17"/>
                    <a:pt x="66" y="17"/>
                  </a:cubicBezTo>
                  <a:cubicBezTo>
                    <a:pt x="66" y="47"/>
                    <a:pt x="66" y="47"/>
                    <a:pt x="66" y="47"/>
                  </a:cubicBezTo>
                  <a:cubicBezTo>
                    <a:pt x="71" y="47"/>
                    <a:pt x="71" y="47"/>
                    <a:pt x="71" y="47"/>
                  </a:cubicBezTo>
                  <a:cubicBezTo>
                    <a:pt x="72" y="48"/>
                    <a:pt x="73" y="47"/>
                    <a:pt x="73" y="46"/>
                  </a:cubicBezTo>
                  <a:cubicBezTo>
                    <a:pt x="73" y="20"/>
                    <a:pt x="73" y="20"/>
                    <a:pt x="73" y="20"/>
                  </a:cubicBezTo>
                  <a:cubicBezTo>
                    <a:pt x="73" y="18"/>
                    <a:pt x="72" y="17"/>
                    <a:pt x="71" y="17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8AD7F419-7B92-4449-BD89-C420227928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76375" y="896938"/>
              <a:ext cx="144463" cy="136525"/>
            </a:xfrm>
            <a:custGeom>
              <a:avLst/>
              <a:gdLst>
                <a:gd name="T0" fmla="*/ 34 w 88"/>
                <a:gd name="T1" fmla="*/ 0 h 83"/>
                <a:gd name="T2" fmla="*/ 38 w 88"/>
                <a:gd name="T3" fmla="*/ 2 h 83"/>
                <a:gd name="T4" fmla="*/ 36 w 88"/>
                <a:gd name="T5" fmla="*/ 6 h 83"/>
                <a:gd name="T6" fmla="*/ 25 w 88"/>
                <a:gd name="T7" fmla="*/ 8 h 83"/>
                <a:gd name="T8" fmla="*/ 25 w 88"/>
                <a:gd name="T9" fmla="*/ 23 h 83"/>
                <a:gd name="T10" fmla="*/ 37 w 88"/>
                <a:gd name="T11" fmla="*/ 23 h 83"/>
                <a:gd name="T12" fmla="*/ 37 w 88"/>
                <a:gd name="T13" fmla="*/ 30 h 83"/>
                <a:gd name="T14" fmla="*/ 25 w 88"/>
                <a:gd name="T15" fmla="*/ 30 h 83"/>
                <a:gd name="T16" fmla="*/ 25 w 88"/>
                <a:gd name="T17" fmla="*/ 32 h 83"/>
                <a:gd name="T18" fmla="*/ 39 w 88"/>
                <a:gd name="T19" fmla="*/ 49 h 83"/>
                <a:gd name="T20" fmla="*/ 38 w 88"/>
                <a:gd name="T21" fmla="*/ 54 h 83"/>
                <a:gd name="T22" fmla="*/ 34 w 88"/>
                <a:gd name="T23" fmla="*/ 53 h 83"/>
                <a:gd name="T24" fmla="*/ 25 w 88"/>
                <a:gd name="T25" fmla="*/ 41 h 83"/>
                <a:gd name="T26" fmla="*/ 25 w 88"/>
                <a:gd name="T27" fmla="*/ 79 h 83"/>
                <a:gd name="T28" fmla="*/ 22 w 88"/>
                <a:gd name="T29" fmla="*/ 82 h 83"/>
                <a:gd name="T30" fmla="*/ 19 w 88"/>
                <a:gd name="T31" fmla="*/ 79 h 83"/>
                <a:gd name="T32" fmla="*/ 19 w 88"/>
                <a:gd name="T33" fmla="*/ 42 h 83"/>
                <a:gd name="T34" fmla="*/ 7 w 88"/>
                <a:gd name="T35" fmla="*/ 59 h 83"/>
                <a:gd name="T36" fmla="*/ 1 w 88"/>
                <a:gd name="T37" fmla="*/ 59 h 83"/>
                <a:gd name="T38" fmla="*/ 2 w 88"/>
                <a:gd name="T39" fmla="*/ 54 h 83"/>
                <a:gd name="T40" fmla="*/ 18 w 88"/>
                <a:gd name="T41" fmla="*/ 30 h 83"/>
                <a:gd name="T42" fmla="*/ 5 w 88"/>
                <a:gd name="T43" fmla="*/ 30 h 83"/>
                <a:gd name="T44" fmla="*/ 5 w 88"/>
                <a:gd name="T45" fmla="*/ 23 h 83"/>
                <a:gd name="T46" fmla="*/ 19 w 88"/>
                <a:gd name="T47" fmla="*/ 23 h 83"/>
                <a:gd name="T48" fmla="*/ 19 w 88"/>
                <a:gd name="T49" fmla="*/ 9 h 83"/>
                <a:gd name="T50" fmla="*/ 7 w 88"/>
                <a:gd name="T51" fmla="*/ 10 h 83"/>
                <a:gd name="T52" fmla="*/ 6 w 88"/>
                <a:gd name="T53" fmla="*/ 3 h 83"/>
                <a:gd name="T54" fmla="*/ 34 w 88"/>
                <a:gd name="T55" fmla="*/ 0 h 83"/>
                <a:gd name="T56" fmla="*/ 76 w 88"/>
                <a:gd name="T57" fmla="*/ 4 h 83"/>
                <a:gd name="T58" fmla="*/ 76 w 88"/>
                <a:gd name="T59" fmla="*/ 52 h 83"/>
                <a:gd name="T60" fmla="*/ 81 w 88"/>
                <a:gd name="T61" fmla="*/ 51 h 83"/>
                <a:gd name="T62" fmla="*/ 84 w 88"/>
                <a:gd name="T63" fmla="*/ 50 h 83"/>
                <a:gd name="T64" fmla="*/ 85 w 88"/>
                <a:gd name="T65" fmla="*/ 58 h 83"/>
                <a:gd name="T66" fmla="*/ 76 w 88"/>
                <a:gd name="T67" fmla="*/ 59 h 83"/>
                <a:gd name="T68" fmla="*/ 76 w 88"/>
                <a:gd name="T69" fmla="*/ 80 h 83"/>
                <a:gd name="T70" fmla="*/ 72 w 88"/>
                <a:gd name="T71" fmla="*/ 83 h 83"/>
                <a:gd name="T72" fmla="*/ 69 w 88"/>
                <a:gd name="T73" fmla="*/ 80 h 83"/>
                <a:gd name="T74" fmla="*/ 69 w 88"/>
                <a:gd name="T75" fmla="*/ 60 h 83"/>
                <a:gd name="T76" fmla="*/ 37 w 88"/>
                <a:gd name="T77" fmla="*/ 65 h 83"/>
                <a:gd name="T78" fmla="*/ 33 w 88"/>
                <a:gd name="T79" fmla="*/ 62 h 83"/>
                <a:gd name="T80" fmla="*/ 36 w 88"/>
                <a:gd name="T81" fmla="*/ 58 h 83"/>
                <a:gd name="T82" fmla="*/ 42 w 88"/>
                <a:gd name="T83" fmla="*/ 57 h 83"/>
                <a:gd name="T84" fmla="*/ 69 w 88"/>
                <a:gd name="T85" fmla="*/ 53 h 83"/>
                <a:gd name="T86" fmla="*/ 69 w 88"/>
                <a:gd name="T87" fmla="*/ 5 h 83"/>
                <a:gd name="T88" fmla="*/ 72 w 88"/>
                <a:gd name="T89" fmla="*/ 2 h 83"/>
                <a:gd name="T90" fmla="*/ 76 w 88"/>
                <a:gd name="T91" fmla="*/ 4 h 83"/>
                <a:gd name="T92" fmla="*/ 47 w 88"/>
                <a:gd name="T93" fmla="*/ 26 h 83"/>
                <a:gd name="T94" fmla="*/ 60 w 88"/>
                <a:gd name="T95" fmla="*/ 40 h 83"/>
                <a:gd name="T96" fmla="*/ 59 w 88"/>
                <a:gd name="T97" fmla="*/ 45 h 83"/>
                <a:gd name="T98" fmla="*/ 55 w 88"/>
                <a:gd name="T99" fmla="*/ 45 h 83"/>
                <a:gd name="T100" fmla="*/ 42 w 88"/>
                <a:gd name="T101" fmla="*/ 31 h 83"/>
                <a:gd name="T102" fmla="*/ 42 w 88"/>
                <a:gd name="T103" fmla="*/ 26 h 83"/>
                <a:gd name="T104" fmla="*/ 47 w 88"/>
                <a:gd name="T105" fmla="*/ 26 h 83"/>
                <a:gd name="T106" fmla="*/ 51 w 88"/>
                <a:gd name="T107" fmla="*/ 5 h 83"/>
                <a:gd name="T108" fmla="*/ 65 w 88"/>
                <a:gd name="T109" fmla="*/ 21 h 83"/>
                <a:gd name="T110" fmla="*/ 64 w 88"/>
                <a:gd name="T111" fmla="*/ 26 h 83"/>
                <a:gd name="T112" fmla="*/ 60 w 88"/>
                <a:gd name="T113" fmla="*/ 25 h 83"/>
                <a:gd name="T114" fmla="*/ 46 w 88"/>
                <a:gd name="T115" fmla="*/ 10 h 83"/>
                <a:gd name="T116" fmla="*/ 46 w 88"/>
                <a:gd name="T117" fmla="*/ 5 h 83"/>
                <a:gd name="T118" fmla="*/ 51 w 88"/>
                <a:gd name="T119" fmla="*/ 5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8" h="83">
                  <a:moveTo>
                    <a:pt x="34" y="0"/>
                  </a:moveTo>
                  <a:cubicBezTo>
                    <a:pt x="36" y="0"/>
                    <a:pt x="38" y="0"/>
                    <a:pt x="38" y="2"/>
                  </a:cubicBezTo>
                  <a:cubicBezTo>
                    <a:pt x="39" y="4"/>
                    <a:pt x="38" y="6"/>
                    <a:pt x="36" y="6"/>
                  </a:cubicBezTo>
                  <a:cubicBezTo>
                    <a:pt x="33" y="7"/>
                    <a:pt x="29" y="8"/>
                    <a:pt x="25" y="8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41" y="26"/>
                    <a:pt x="41" y="28"/>
                    <a:pt x="37" y="30"/>
                  </a:cubicBezTo>
                  <a:cubicBezTo>
                    <a:pt x="25" y="30"/>
                    <a:pt x="25" y="30"/>
                    <a:pt x="25" y="30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31" y="38"/>
                    <a:pt x="36" y="43"/>
                    <a:pt x="39" y="49"/>
                  </a:cubicBezTo>
                  <a:cubicBezTo>
                    <a:pt x="40" y="51"/>
                    <a:pt x="40" y="53"/>
                    <a:pt x="38" y="54"/>
                  </a:cubicBezTo>
                  <a:cubicBezTo>
                    <a:pt x="36" y="56"/>
                    <a:pt x="35" y="55"/>
                    <a:pt x="34" y="53"/>
                  </a:cubicBezTo>
                  <a:cubicBezTo>
                    <a:pt x="32" y="50"/>
                    <a:pt x="29" y="46"/>
                    <a:pt x="25" y="41"/>
                  </a:cubicBezTo>
                  <a:cubicBezTo>
                    <a:pt x="25" y="79"/>
                    <a:pt x="25" y="79"/>
                    <a:pt x="25" y="79"/>
                  </a:cubicBezTo>
                  <a:cubicBezTo>
                    <a:pt x="25" y="80"/>
                    <a:pt x="24" y="81"/>
                    <a:pt x="22" y="82"/>
                  </a:cubicBezTo>
                  <a:cubicBezTo>
                    <a:pt x="20" y="81"/>
                    <a:pt x="19" y="80"/>
                    <a:pt x="19" y="79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5" y="49"/>
                    <a:pt x="11" y="54"/>
                    <a:pt x="7" y="59"/>
                  </a:cubicBezTo>
                  <a:cubicBezTo>
                    <a:pt x="5" y="61"/>
                    <a:pt x="3" y="61"/>
                    <a:pt x="1" y="59"/>
                  </a:cubicBezTo>
                  <a:cubicBezTo>
                    <a:pt x="0" y="58"/>
                    <a:pt x="0" y="56"/>
                    <a:pt x="2" y="54"/>
                  </a:cubicBezTo>
                  <a:cubicBezTo>
                    <a:pt x="9" y="48"/>
                    <a:pt x="14" y="40"/>
                    <a:pt x="18" y="30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1" y="28"/>
                    <a:pt x="1" y="25"/>
                    <a:pt x="5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5" y="10"/>
                    <a:pt x="11" y="10"/>
                    <a:pt x="7" y="10"/>
                  </a:cubicBezTo>
                  <a:cubicBezTo>
                    <a:pt x="3" y="9"/>
                    <a:pt x="3" y="6"/>
                    <a:pt x="6" y="3"/>
                  </a:cubicBezTo>
                  <a:cubicBezTo>
                    <a:pt x="15" y="3"/>
                    <a:pt x="25" y="2"/>
                    <a:pt x="34" y="0"/>
                  </a:cubicBezTo>
                  <a:close/>
                  <a:moveTo>
                    <a:pt x="76" y="4"/>
                  </a:moveTo>
                  <a:cubicBezTo>
                    <a:pt x="76" y="52"/>
                    <a:pt x="76" y="52"/>
                    <a:pt x="76" y="52"/>
                  </a:cubicBezTo>
                  <a:cubicBezTo>
                    <a:pt x="77" y="51"/>
                    <a:pt x="79" y="51"/>
                    <a:pt x="81" y="51"/>
                  </a:cubicBezTo>
                  <a:cubicBezTo>
                    <a:pt x="83" y="51"/>
                    <a:pt x="84" y="50"/>
                    <a:pt x="84" y="50"/>
                  </a:cubicBezTo>
                  <a:cubicBezTo>
                    <a:pt x="88" y="53"/>
                    <a:pt x="88" y="55"/>
                    <a:pt x="85" y="58"/>
                  </a:cubicBezTo>
                  <a:cubicBezTo>
                    <a:pt x="80" y="58"/>
                    <a:pt x="77" y="59"/>
                    <a:pt x="76" y="59"/>
                  </a:cubicBezTo>
                  <a:cubicBezTo>
                    <a:pt x="76" y="80"/>
                    <a:pt x="76" y="80"/>
                    <a:pt x="76" y="80"/>
                  </a:cubicBezTo>
                  <a:cubicBezTo>
                    <a:pt x="75" y="82"/>
                    <a:pt x="74" y="83"/>
                    <a:pt x="72" y="83"/>
                  </a:cubicBezTo>
                  <a:cubicBezTo>
                    <a:pt x="70" y="83"/>
                    <a:pt x="69" y="82"/>
                    <a:pt x="69" y="80"/>
                  </a:cubicBezTo>
                  <a:cubicBezTo>
                    <a:pt x="69" y="60"/>
                    <a:pt x="69" y="60"/>
                    <a:pt x="69" y="60"/>
                  </a:cubicBezTo>
                  <a:cubicBezTo>
                    <a:pt x="54" y="63"/>
                    <a:pt x="43" y="64"/>
                    <a:pt x="37" y="65"/>
                  </a:cubicBezTo>
                  <a:cubicBezTo>
                    <a:pt x="35" y="65"/>
                    <a:pt x="34" y="64"/>
                    <a:pt x="33" y="62"/>
                  </a:cubicBezTo>
                  <a:cubicBezTo>
                    <a:pt x="33" y="60"/>
                    <a:pt x="34" y="58"/>
                    <a:pt x="36" y="58"/>
                  </a:cubicBezTo>
                  <a:cubicBezTo>
                    <a:pt x="37" y="58"/>
                    <a:pt x="39" y="57"/>
                    <a:pt x="42" y="57"/>
                  </a:cubicBezTo>
                  <a:cubicBezTo>
                    <a:pt x="53" y="55"/>
                    <a:pt x="62" y="54"/>
                    <a:pt x="69" y="53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69" y="3"/>
                    <a:pt x="70" y="2"/>
                    <a:pt x="72" y="2"/>
                  </a:cubicBezTo>
                  <a:cubicBezTo>
                    <a:pt x="74" y="2"/>
                    <a:pt x="75" y="3"/>
                    <a:pt x="76" y="4"/>
                  </a:cubicBezTo>
                  <a:close/>
                  <a:moveTo>
                    <a:pt x="47" y="26"/>
                  </a:moveTo>
                  <a:cubicBezTo>
                    <a:pt x="52" y="30"/>
                    <a:pt x="56" y="34"/>
                    <a:pt x="60" y="40"/>
                  </a:cubicBezTo>
                  <a:cubicBezTo>
                    <a:pt x="61" y="42"/>
                    <a:pt x="61" y="44"/>
                    <a:pt x="59" y="45"/>
                  </a:cubicBezTo>
                  <a:cubicBezTo>
                    <a:pt x="57" y="47"/>
                    <a:pt x="56" y="46"/>
                    <a:pt x="55" y="45"/>
                  </a:cubicBezTo>
                  <a:cubicBezTo>
                    <a:pt x="51" y="39"/>
                    <a:pt x="47" y="35"/>
                    <a:pt x="42" y="31"/>
                  </a:cubicBezTo>
                  <a:cubicBezTo>
                    <a:pt x="41" y="30"/>
                    <a:pt x="40" y="28"/>
                    <a:pt x="42" y="26"/>
                  </a:cubicBezTo>
                  <a:cubicBezTo>
                    <a:pt x="43" y="25"/>
                    <a:pt x="45" y="25"/>
                    <a:pt x="47" y="26"/>
                  </a:cubicBezTo>
                  <a:close/>
                  <a:moveTo>
                    <a:pt x="51" y="5"/>
                  </a:moveTo>
                  <a:cubicBezTo>
                    <a:pt x="56" y="10"/>
                    <a:pt x="61" y="15"/>
                    <a:pt x="65" y="21"/>
                  </a:cubicBezTo>
                  <a:cubicBezTo>
                    <a:pt x="66" y="23"/>
                    <a:pt x="66" y="25"/>
                    <a:pt x="64" y="26"/>
                  </a:cubicBezTo>
                  <a:cubicBezTo>
                    <a:pt x="63" y="27"/>
                    <a:pt x="61" y="27"/>
                    <a:pt x="60" y="25"/>
                  </a:cubicBezTo>
                  <a:cubicBezTo>
                    <a:pt x="56" y="20"/>
                    <a:pt x="51" y="15"/>
                    <a:pt x="46" y="10"/>
                  </a:cubicBezTo>
                  <a:cubicBezTo>
                    <a:pt x="45" y="9"/>
                    <a:pt x="44" y="7"/>
                    <a:pt x="46" y="5"/>
                  </a:cubicBezTo>
                  <a:cubicBezTo>
                    <a:pt x="47" y="4"/>
                    <a:pt x="49" y="4"/>
                    <a:pt x="51" y="5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" name="Freeform 11">
              <a:extLst>
                <a:ext uri="{FF2B5EF4-FFF2-40B4-BE49-F238E27FC236}">
                  <a16:creationId xmlns:a16="http://schemas.microsoft.com/office/drawing/2014/main" id="{401B95EE-8FF9-4F6F-A3F3-FB517AB2AD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44650" y="896938"/>
              <a:ext cx="144463" cy="134937"/>
            </a:xfrm>
            <a:custGeom>
              <a:avLst/>
              <a:gdLst>
                <a:gd name="T0" fmla="*/ 20 w 88"/>
                <a:gd name="T1" fmla="*/ 17 h 82"/>
                <a:gd name="T2" fmla="*/ 30 w 88"/>
                <a:gd name="T3" fmla="*/ 20 h 82"/>
                <a:gd name="T4" fmla="*/ 20 w 88"/>
                <a:gd name="T5" fmla="*/ 23 h 82"/>
                <a:gd name="T6" fmla="*/ 26 w 88"/>
                <a:gd name="T7" fmla="*/ 38 h 82"/>
                <a:gd name="T8" fmla="*/ 30 w 88"/>
                <a:gd name="T9" fmla="*/ 43 h 82"/>
                <a:gd name="T10" fmla="*/ 20 w 88"/>
                <a:gd name="T11" fmla="*/ 75 h 82"/>
                <a:gd name="T12" fmla="*/ 3 w 88"/>
                <a:gd name="T13" fmla="*/ 76 h 82"/>
                <a:gd name="T14" fmla="*/ 13 w 88"/>
                <a:gd name="T15" fmla="*/ 72 h 82"/>
                <a:gd name="T16" fmla="*/ 9 w 88"/>
                <a:gd name="T17" fmla="*/ 52 h 82"/>
                <a:gd name="T18" fmla="*/ 0 w 88"/>
                <a:gd name="T19" fmla="*/ 52 h 82"/>
                <a:gd name="T20" fmla="*/ 5 w 88"/>
                <a:gd name="T21" fmla="*/ 47 h 82"/>
                <a:gd name="T22" fmla="*/ 13 w 88"/>
                <a:gd name="T23" fmla="*/ 23 h 82"/>
                <a:gd name="T24" fmla="*/ 2 w 88"/>
                <a:gd name="T25" fmla="*/ 20 h 82"/>
                <a:gd name="T26" fmla="*/ 13 w 88"/>
                <a:gd name="T27" fmla="*/ 17 h 82"/>
                <a:gd name="T28" fmla="*/ 17 w 88"/>
                <a:gd name="T29" fmla="*/ 1 h 82"/>
                <a:gd name="T30" fmla="*/ 58 w 88"/>
                <a:gd name="T31" fmla="*/ 3 h 82"/>
                <a:gd name="T32" fmla="*/ 81 w 88"/>
                <a:gd name="T33" fmla="*/ 8 h 82"/>
                <a:gd name="T34" fmla="*/ 81 w 88"/>
                <a:gd name="T35" fmla="*/ 15 h 82"/>
                <a:gd name="T36" fmla="*/ 58 w 88"/>
                <a:gd name="T37" fmla="*/ 28 h 82"/>
                <a:gd name="T38" fmla="*/ 80 w 88"/>
                <a:gd name="T39" fmla="*/ 38 h 82"/>
                <a:gd name="T40" fmla="*/ 85 w 88"/>
                <a:gd name="T41" fmla="*/ 75 h 82"/>
                <a:gd name="T42" fmla="*/ 82 w 88"/>
                <a:gd name="T43" fmla="*/ 82 h 82"/>
                <a:gd name="T44" fmla="*/ 29 w 88"/>
                <a:gd name="T45" fmla="*/ 81 h 82"/>
                <a:gd name="T46" fmla="*/ 26 w 88"/>
                <a:gd name="T47" fmla="*/ 74 h 82"/>
                <a:gd name="T48" fmla="*/ 34 w 88"/>
                <a:gd name="T49" fmla="*/ 40 h 82"/>
                <a:gd name="T50" fmla="*/ 33 w 88"/>
                <a:gd name="T51" fmla="*/ 35 h 82"/>
                <a:gd name="T52" fmla="*/ 34 w 88"/>
                <a:gd name="T53" fmla="*/ 28 h 82"/>
                <a:gd name="T54" fmla="*/ 51 w 88"/>
                <a:gd name="T55" fmla="*/ 15 h 82"/>
                <a:gd name="T56" fmla="*/ 28 w 88"/>
                <a:gd name="T57" fmla="*/ 12 h 82"/>
                <a:gd name="T58" fmla="*/ 51 w 88"/>
                <a:gd name="T59" fmla="*/ 8 h 82"/>
                <a:gd name="T60" fmla="*/ 55 w 88"/>
                <a:gd name="T61" fmla="*/ 0 h 82"/>
                <a:gd name="T62" fmla="*/ 70 w 88"/>
                <a:gd name="T63" fmla="*/ 35 h 82"/>
                <a:gd name="T64" fmla="*/ 40 w 88"/>
                <a:gd name="T65" fmla="*/ 36 h 82"/>
                <a:gd name="T66" fmla="*/ 72 w 88"/>
                <a:gd name="T67" fmla="*/ 38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8" h="82">
                  <a:moveTo>
                    <a:pt x="20" y="4"/>
                  </a:moveTo>
                  <a:cubicBezTo>
                    <a:pt x="20" y="17"/>
                    <a:pt x="20" y="17"/>
                    <a:pt x="20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9" y="17"/>
                    <a:pt x="30" y="18"/>
                    <a:pt x="30" y="20"/>
                  </a:cubicBezTo>
                  <a:cubicBezTo>
                    <a:pt x="30" y="22"/>
                    <a:pt x="29" y="23"/>
                    <a:pt x="27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2" y="40"/>
                    <a:pt x="24" y="39"/>
                    <a:pt x="26" y="38"/>
                  </a:cubicBezTo>
                  <a:cubicBezTo>
                    <a:pt x="28" y="37"/>
                    <a:pt x="29" y="38"/>
                    <a:pt x="30" y="39"/>
                  </a:cubicBezTo>
                  <a:cubicBezTo>
                    <a:pt x="31" y="41"/>
                    <a:pt x="31" y="42"/>
                    <a:pt x="30" y="43"/>
                  </a:cubicBezTo>
                  <a:cubicBezTo>
                    <a:pt x="28" y="44"/>
                    <a:pt x="25" y="46"/>
                    <a:pt x="20" y="48"/>
                  </a:cubicBezTo>
                  <a:cubicBezTo>
                    <a:pt x="20" y="75"/>
                    <a:pt x="20" y="75"/>
                    <a:pt x="20" y="75"/>
                  </a:cubicBezTo>
                  <a:cubicBezTo>
                    <a:pt x="19" y="80"/>
                    <a:pt x="15" y="82"/>
                    <a:pt x="6" y="80"/>
                  </a:cubicBezTo>
                  <a:cubicBezTo>
                    <a:pt x="4" y="80"/>
                    <a:pt x="3" y="78"/>
                    <a:pt x="3" y="76"/>
                  </a:cubicBezTo>
                  <a:cubicBezTo>
                    <a:pt x="4" y="74"/>
                    <a:pt x="5" y="73"/>
                    <a:pt x="7" y="74"/>
                  </a:cubicBezTo>
                  <a:cubicBezTo>
                    <a:pt x="12" y="75"/>
                    <a:pt x="14" y="75"/>
                    <a:pt x="13" y="72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13" y="51"/>
                    <a:pt x="11" y="52"/>
                    <a:pt x="9" y="52"/>
                  </a:cubicBezTo>
                  <a:cubicBezTo>
                    <a:pt x="7" y="53"/>
                    <a:pt x="5" y="54"/>
                    <a:pt x="5" y="54"/>
                  </a:cubicBezTo>
                  <a:cubicBezTo>
                    <a:pt x="2" y="55"/>
                    <a:pt x="1" y="54"/>
                    <a:pt x="0" y="52"/>
                  </a:cubicBezTo>
                  <a:cubicBezTo>
                    <a:pt x="0" y="50"/>
                    <a:pt x="0" y="49"/>
                    <a:pt x="2" y="48"/>
                  </a:cubicBezTo>
                  <a:cubicBezTo>
                    <a:pt x="3" y="48"/>
                    <a:pt x="4" y="48"/>
                    <a:pt x="5" y="47"/>
                  </a:cubicBezTo>
                  <a:cubicBezTo>
                    <a:pt x="8" y="46"/>
                    <a:pt x="11" y="45"/>
                    <a:pt x="13" y="44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3" y="23"/>
                    <a:pt x="2" y="22"/>
                    <a:pt x="2" y="20"/>
                  </a:cubicBezTo>
                  <a:cubicBezTo>
                    <a:pt x="2" y="18"/>
                    <a:pt x="3" y="17"/>
                    <a:pt x="5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2"/>
                    <a:pt x="14" y="1"/>
                    <a:pt x="17" y="1"/>
                  </a:cubicBezTo>
                  <a:cubicBezTo>
                    <a:pt x="19" y="1"/>
                    <a:pt x="20" y="2"/>
                    <a:pt x="20" y="4"/>
                  </a:cubicBezTo>
                  <a:close/>
                  <a:moveTo>
                    <a:pt x="58" y="3"/>
                  </a:moveTo>
                  <a:cubicBezTo>
                    <a:pt x="58" y="8"/>
                    <a:pt x="58" y="8"/>
                    <a:pt x="58" y="8"/>
                  </a:cubicBezTo>
                  <a:cubicBezTo>
                    <a:pt x="81" y="8"/>
                    <a:pt x="81" y="8"/>
                    <a:pt x="81" y="8"/>
                  </a:cubicBezTo>
                  <a:cubicBezTo>
                    <a:pt x="83" y="9"/>
                    <a:pt x="84" y="10"/>
                    <a:pt x="85" y="12"/>
                  </a:cubicBezTo>
                  <a:cubicBezTo>
                    <a:pt x="84" y="14"/>
                    <a:pt x="83" y="15"/>
                    <a:pt x="81" y="15"/>
                  </a:cubicBezTo>
                  <a:cubicBezTo>
                    <a:pt x="58" y="15"/>
                    <a:pt x="58" y="15"/>
                    <a:pt x="58" y="15"/>
                  </a:cubicBezTo>
                  <a:cubicBezTo>
                    <a:pt x="58" y="28"/>
                    <a:pt x="58" y="28"/>
                    <a:pt x="58" y="28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80" y="29"/>
                    <a:pt x="82" y="32"/>
                    <a:pt x="80" y="38"/>
                  </a:cubicBezTo>
                  <a:cubicBezTo>
                    <a:pt x="76" y="48"/>
                    <a:pt x="70" y="56"/>
                    <a:pt x="62" y="63"/>
                  </a:cubicBezTo>
                  <a:cubicBezTo>
                    <a:pt x="69" y="68"/>
                    <a:pt x="77" y="72"/>
                    <a:pt x="85" y="75"/>
                  </a:cubicBezTo>
                  <a:cubicBezTo>
                    <a:pt x="87" y="76"/>
                    <a:pt x="88" y="77"/>
                    <a:pt x="87" y="80"/>
                  </a:cubicBezTo>
                  <a:cubicBezTo>
                    <a:pt x="86" y="82"/>
                    <a:pt x="84" y="82"/>
                    <a:pt x="82" y="82"/>
                  </a:cubicBezTo>
                  <a:cubicBezTo>
                    <a:pt x="74" y="78"/>
                    <a:pt x="65" y="74"/>
                    <a:pt x="56" y="68"/>
                  </a:cubicBezTo>
                  <a:cubicBezTo>
                    <a:pt x="48" y="73"/>
                    <a:pt x="39" y="77"/>
                    <a:pt x="29" y="81"/>
                  </a:cubicBezTo>
                  <a:cubicBezTo>
                    <a:pt x="26" y="81"/>
                    <a:pt x="25" y="81"/>
                    <a:pt x="24" y="78"/>
                  </a:cubicBezTo>
                  <a:cubicBezTo>
                    <a:pt x="23" y="76"/>
                    <a:pt x="24" y="75"/>
                    <a:pt x="26" y="74"/>
                  </a:cubicBezTo>
                  <a:cubicBezTo>
                    <a:pt x="36" y="71"/>
                    <a:pt x="44" y="68"/>
                    <a:pt x="50" y="63"/>
                  </a:cubicBezTo>
                  <a:cubicBezTo>
                    <a:pt x="45" y="59"/>
                    <a:pt x="40" y="51"/>
                    <a:pt x="34" y="40"/>
                  </a:cubicBezTo>
                  <a:cubicBezTo>
                    <a:pt x="33" y="38"/>
                    <a:pt x="33" y="37"/>
                    <a:pt x="35" y="35"/>
                  </a:cubicBezTo>
                  <a:cubicBezTo>
                    <a:pt x="33" y="35"/>
                    <a:pt x="33" y="35"/>
                    <a:pt x="33" y="35"/>
                  </a:cubicBezTo>
                  <a:cubicBezTo>
                    <a:pt x="32" y="35"/>
                    <a:pt x="31" y="34"/>
                    <a:pt x="30" y="32"/>
                  </a:cubicBezTo>
                  <a:cubicBezTo>
                    <a:pt x="31" y="29"/>
                    <a:pt x="32" y="28"/>
                    <a:pt x="34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15"/>
                    <a:pt x="51" y="15"/>
                    <a:pt x="5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29" y="15"/>
                    <a:pt x="28" y="14"/>
                    <a:pt x="28" y="12"/>
                  </a:cubicBezTo>
                  <a:cubicBezTo>
                    <a:pt x="28" y="10"/>
                    <a:pt x="29" y="9"/>
                    <a:pt x="31" y="8"/>
                  </a:cubicBezTo>
                  <a:cubicBezTo>
                    <a:pt x="51" y="8"/>
                    <a:pt x="51" y="8"/>
                    <a:pt x="51" y="8"/>
                  </a:cubicBezTo>
                  <a:cubicBezTo>
                    <a:pt x="51" y="3"/>
                    <a:pt x="51" y="3"/>
                    <a:pt x="51" y="3"/>
                  </a:cubicBezTo>
                  <a:cubicBezTo>
                    <a:pt x="51" y="1"/>
                    <a:pt x="52" y="0"/>
                    <a:pt x="55" y="0"/>
                  </a:cubicBezTo>
                  <a:cubicBezTo>
                    <a:pt x="57" y="0"/>
                    <a:pt x="58" y="1"/>
                    <a:pt x="58" y="3"/>
                  </a:cubicBezTo>
                  <a:close/>
                  <a:moveTo>
                    <a:pt x="70" y="35"/>
                  </a:moveTo>
                  <a:cubicBezTo>
                    <a:pt x="39" y="35"/>
                    <a:pt x="39" y="35"/>
                    <a:pt x="39" y="35"/>
                  </a:cubicBezTo>
                  <a:cubicBezTo>
                    <a:pt x="39" y="36"/>
                    <a:pt x="39" y="36"/>
                    <a:pt x="40" y="36"/>
                  </a:cubicBezTo>
                  <a:cubicBezTo>
                    <a:pt x="47" y="47"/>
                    <a:pt x="52" y="55"/>
                    <a:pt x="56" y="58"/>
                  </a:cubicBezTo>
                  <a:cubicBezTo>
                    <a:pt x="63" y="52"/>
                    <a:pt x="68" y="46"/>
                    <a:pt x="72" y="38"/>
                  </a:cubicBezTo>
                  <a:cubicBezTo>
                    <a:pt x="72" y="37"/>
                    <a:pt x="72" y="36"/>
                    <a:pt x="70" y="35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6" name="组合 25">
            <a:extLst>
              <a:ext uri="{FF2B5EF4-FFF2-40B4-BE49-F238E27FC236}">
                <a16:creationId xmlns:a16="http://schemas.microsoft.com/office/drawing/2014/main" id="{99D829EC-C36B-4CA3-9BE3-6780CFDDBBC6}"/>
              </a:ext>
            </a:extLst>
          </p:cNvPr>
          <p:cNvGrpSpPr/>
          <p:nvPr userDrawn="1"/>
        </p:nvGrpSpPr>
        <p:grpSpPr>
          <a:xfrm>
            <a:off x="741424" y="4001310"/>
            <a:ext cx="5694681" cy="45719"/>
            <a:chOff x="777184" y="3817770"/>
            <a:chExt cx="5694681" cy="45719"/>
          </a:xfrm>
        </p:grpSpPr>
        <p:sp>
          <p:nvSpPr>
            <p:cNvPr id="27" name="矩形 26">
              <a:extLst>
                <a:ext uri="{FF2B5EF4-FFF2-40B4-BE49-F238E27FC236}">
                  <a16:creationId xmlns:a16="http://schemas.microsoft.com/office/drawing/2014/main" id="{4DC8BD2C-12C3-4B7E-8826-6FEAB8F88E63}"/>
                </a:ext>
              </a:extLst>
            </p:cNvPr>
            <p:cNvSpPr/>
            <p:nvPr/>
          </p:nvSpPr>
          <p:spPr>
            <a:xfrm>
              <a:off x="777184" y="3817770"/>
              <a:ext cx="857551" cy="45719"/>
            </a:xfrm>
            <a:prstGeom prst="rect">
              <a:avLst/>
            </a:prstGeom>
            <a:solidFill>
              <a:srgbClr val="EA550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28" name="直接连接符 27">
              <a:extLst>
                <a:ext uri="{FF2B5EF4-FFF2-40B4-BE49-F238E27FC236}">
                  <a16:creationId xmlns:a16="http://schemas.microsoft.com/office/drawing/2014/main" id="{165F6411-ABE2-4E63-9F45-30B6C5ECC943}"/>
                </a:ext>
              </a:extLst>
            </p:cNvPr>
            <p:cNvCxnSpPr>
              <a:cxnSpLocks/>
            </p:cNvCxnSpPr>
            <p:nvPr/>
          </p:nvCxnSpPr>
          <p:spPr>
            <a:xfrm>
              <a:off x="1606260" y="3837412"/>
              <a:ext cx="4865605" cy="0"/>
            </a:xfrm>
            <a:prstGeom prst="line">
              <a:avLst/>
            </a:prstGeom>
            <a:ln w="22225">
              <a:gradFill flip="none" rotWithShape="1">
                <a:gsLst>
                  <a:gs pos="0">
                    <a:schemeClr val="accent1">
                      <a:lumMod val="5000"/>
                      <a:lumOff val="95000"/>
                      <a:alpha val="0"/>
                    </a:schemeClr>
                  </a:gs>
                  <a:gs pos="54000">
                    <a:schemeClr val="accent1">
                      <a:lumMod val="45000"/>
                      <a:lumOff val="55000"/>
                    </a:schemeClr>
                  </a:gs>
                  <a:gs pos="83000">
                    <a:srgbClr val="FB832D"/>
                  </a:gs>
                  <a:gs pos="100000">
                    <a:srgbClr val="EA5504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任意多边形: 形状 29">
            <a:extLst>
              <a:ext uri="{FF2B5EF4-FFF2-40B4-BE49-F238E27FC236}">
                <a16:creationId xmlns:a16="http://schemas.microsoft.com/office/drawing/2014/main" id="{BF428FF4-2DDB-4F5E-9E12-8827B1EB1087}"/>
              </a:ext>
            </a:extLst>
          </p:cNvPr>
          <p:cNvSpPr/>
          <p:nvPr userDrawn="1"/>
        </p:nvSpPr>
        <p:spPr>
          <a:xfrm>
            <a:off x="6918699" y="3183037"/>
            <a:ext cx="3984653" cy="3682203"/>
          </a:xfrm>
          <a:custGeom>
            <a:avLst/>
            <a:gdLst>
              <a:gd name="connsiteX0" fmla="*/ 2696901 w 5266797"/>
              <a:gd name="connsiteY0" fmla="*/ 0 h 6875362"/>
              <a:gd name="connsiteX1" fmla="*/ 5266797 w 5266797"/>
              <a:gd name="connsiteY1" fmla="*/ 0 h 6875362"/>
              <a:gd name="connsiteX2" fmla="*/ 5266797 w 5266797"/>
              <a:gd name="connsiteY2" fmla="*/ 1408772 h 6875362"/>
              <a:gd name="connsiteX3" fmla="*/ 3126080 w 5266797"/>
              <a:gd name="connsiteY3" fmla="*/ 6866222 h 6875362"/>
              <a:gd name="connsiteX4" fmla="*/ 0 w 5266797"/>
              <a:gd name="connsiteY4" fmla="*/ 6875362 h 6875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66797" h="6875362">
                <a:moveTo>
                  <a:pt x="2696901" y="0"/>
                </a:moveTo>
                <a:lnTo>
                  <a:pt x="5266797" y="0"/>
                </a:lnTo>
                <a:lnTo>
                  <a:pt x="5266797" y="1408772"/>
                </a:lnTo>
                <a:lnTo>
                  <a:pt x="3126080" y="6866222"/>
                </a:lnTo>
                <a:lnTo>
                  <a:pt x="0" y="6875362"/>
                </a:lnTo>
                <a:close/>
              </a:path>
            </a:pathLst>
          </a:custGeom>
          <a:gradFill flip="none" rotWithShape="1">
            <a:gsLst>
              <a:gs pos="32000">
                <a:srgbClr val="FE832C"/>
              </a:gs>
              <a:gs pos="88000">
                <a:srgbClr val="FFCEAB"/>
              </a:gs>
              <a:gs pos="0">
                <a:srgbClr val="EA5504"/>
              </a:gs>
              <a:gs pos="100000">
                <a:srgbClr val="FBE9D5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文本占位符 31">
            <a:extLst>
              <a:ext uri="{FF2B5EF4-FFF2-40B4-BE49-F238E27FC236}">
                <a16:creationId xmlns:a16="http://schemas.microsoft.com/office/drawing/2014/main" id="{0DDD23E1-10C5-4442-9B53-96C56ADFDB0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9824" y="1904099"/>
            <a:ext cx="6449229" cy="1851875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l" defTabSz="914400" rtl="0" eaLnBrk="1" latinLnBrk="0" hangingPunct="1">
              <a:buNone/>
              <a:defRPr lang="zh-CN" altLang="en-US" sz="4800" b="1" kern="2300" spc="240" dirty="0" smtClean="0">
                <a:ln w="15875">
                  <a:solidFill>
                    <a:schemeClr val="accent1"/>
                  </a:solidFill>
                </a:ln>
                <a:noFill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>
              <a:buNone/>
              <a:defRPr/>
            </a:lvl2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altLang="zh-CN" dirty="0"/>
          </a:p>
        </p:txBody>
      </p:sp>
      <p:sp>
        <p:nvSpPr>
          <p:cNvPr id="23" name="文本占位符 5">
            <a:extLst>
              <a:ext uri="{FF2B5EF4-FFF2-40B4-BE49-F238E27FC236}">
                <a16:creationId xmlns:a16="http://schemas.microsoft.com/office/drawing/2014/main" id="{B8732D99-9C95-42E9-A73E-B487D23E40A5}"/>
              </a:ext>
            </a:extLst>
          </p:cNvPr>
          <p:cNvSpPr txBox="1">
            <a:spLocks/>
          </p:cNvSpPr>
          <p:nvPr userDrawn="1"/>
        </p:nvSpPr>
        <p:spPr>
          <a:xfrm>
            <a:off x="667674" y="4385323"/>
            <a:ext cx="3962401" cy="25224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b="0" dirty="0">
                <a:solidFill>
                  <a:srgbClr val="8F8F8F"/>
                </a:solidFill>
              </a:rPr>
              <a:t>www.pingan</a:t>
            </a:r>
            <a:r>
              <a:rPr lang="en-US" altLang="zh-CN" b="0">
                <a:solidFill>
                  <a:srgbClr val="8F8F8F"/>
                </a:solidFill>
              </a:rPr>
              <a:t>.cn </a:t>
            </a:r>
            <a:endParaRPr lang="en-US" altLang="zh-CN" b="0" dirty="0">
              <a:solidFill>
                <a:srgbClr val="8F8F8F"/>
              </a:solidFill>
            </a:endParaRP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C19DCADC-68A8-42E6-A6E3-0BC74A03BACA}"/>
              </a:ext>
            </a:extLst>
          </p:cNvPr>
          <p:cNvSpPr txBox="1">
            <a:spLocks/>
          </p:cNvSpPr>
          <p:nvPr userDrawn="1"/>
        </p:nvSpPr>
        <p:spPr>
          <a:xfrm>
            <a:off x="634599" y="4203138"/>
            <a:ext cx="4051702" cy="2522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70000"/>
              </a:lnSpc>
              <a:spcBef>
                <a:spcPts val="1000"/>
              </a:spcBef>
            </a:pPr>
            <a:r>
              <a:rPr lang="zh-CN" altLang="en-US" sz="1400" kern="800" spc="3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</a:rPr>
              <a:t>专业，让生活更简单</a:t>
            </a:r>
            <a:endParaRPr lang="zh-CN" altLang="en-US" sz="1400" kern="800" spc="3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</a:endParaRPr>
          </a:p>
        </p:txBody>
      </p:sp>
      <p:pic>
        <p:nvPicPr>
          <p:cNvPr id="25" name="图片 24">
            <a:extLst>
              <a:ext uri="{FF2B5EF4-FFF2-40B4-BE49-F238E27FC236}">
                <a16:creationId xmlns:a16="http://schemas.microsoft.com/office/drawing/2014/main" id="{A0B115EE-4580-444F-AB21-A504DB355E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6229392" y="1300480"/>
            <a:ext cx="5962607" cy="5557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566616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图片占位符 3">
            <a:extLst>
              <a:ext uri="{FF2B5EF4-FFF2-40B4-BE49-F238E27FC236}">
                <a16:creationId xmlns:a16="http://schemas.microsoft.com/office/drawing/2014/main" id="{1C2782E9-200B-E848-83B9-DABD9B98B19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082839" y="654527"/>
            <a:ext cx="2160632" cy="1898542"/>
          </a:xfrm>
          <a:prstGeom prst="rect">
            <a:avLst/>
          </a:pr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kumimoji="1" lang="zh-CN" alt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kumimoji="1" lang="zh-CN" altLang="en-US"/>
              <a:t>拖拽插入图片</a:t>
            </a:r>
          </a:p>
        </p:txBody>
      </p:sp>
    </p:spTree>
    <p:extLst>
      <p:ext uri="{BB962C8B-B14F-4D97-AF65-F5344CB8AC3E}">
        <p14:creationId xmlns:p14="http://schemas.microsoft.com/office/powerpoint/2010/main" val="428212349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对象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BCF4D">
              <a:alpha val="8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华文楷体" panose="02010600040101010101" pitchFamily="2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灯片编号占位符 5">
            <a:extLst>
              <a:ext uri="{FF2B5EF4-FFF2-40B4-BE49-F238E27FC236}">
                <a16:creationId xmlns:a16="http://schemas.microsoft.com/office/drawing/2014/main" id="{2C4AAB49-B02A-4DFD-A187-16F55D93430A}"/>
              </a:ext>
            </a:extLst>
          </p:cNvPr>
          <p:cNvSpPr txBox="1">
            <a:spLocks/>
          </p:cNvSpPr>
          <p:nvPr userDrawn="1"/>
        </p:nvSpPr>
        <p:spPr>
          <a:xfrm>
            <a:off x="8869679" y="6395878"/>
            <a:ext cx="2909888" cy="206381"/>
          </a:xfrm>
          <a:prstGeom prst="rect">
            <a:avLst/>
          </a:prstGeom>
        </p:spPr>
        <p:txBody>
          <a:bodyPr vert="horz" lIns="91440" tIns="0" rIns="91440" bIns="45720" rtlCol="0" anchor="b" anchorCtr="0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3DB80-B894-403A-B48E-6FDC1A72010E}" type="slidenum">
              <a:rPr kumimoji="0" lang="zh-CN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cxnSp>
        <p:nvCxnSpPr>
          <p:cNvPr id="11" name="直接连接符 10"/>
          <p:cNvCxnSpPr/>
          <p:nvPr userDrawn="1"/>
        </p:nvCxnSpPr>
        <p:spPr>
          <a:xfrm>
            <a:off x="171507" y="824671"/>
            <a:ext cx="11822373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1507" y="103259"/>
            <a:ext cx="11822373" cy="537443"/>
          </a:xfrm>
          <a:prstGeom prst="rect">
            <a:avLst/>
          </a:prstGeom>
        </p:spPr>
        <p:txBody>
          <a:bodyPr anchor="b"/>
          <a:lstStyle>
            <a:lvl1pPr>
              <a:defRPr/>
            </a:lvl1pPr>
          </a:lstStyle>
          <a:p>
            <a:r>
              <a:rPr lang="zh-CN" altLang="en-US" dirty="0"/>
              <a:t>标题</a:t>
            </a:r>
          </a:p>
        </p:txBody>
      </p:sp>
    </p:spTree>
    <p:extLst>
      <p:ext uri="{BB962C8B-B14F-4D97-AF65-F5344CB8AC3E}">
        <p14:creationId xmlns:p14="http://schemas.microsoft.com/office/powerpoint/2010/main" val="132969767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封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0"/>
            <a:ext cx="12192000" cy="6850506"/>
          </a:xfrm>
          <a:prstGeom prst="rect">
            <a:avLst/>
          </a:prstGeom>
        </p:spPr>
      </p:pic>
      <p:sp>
        <p:nvSpPr>
          <p:cNvPr id="24" name="Rectangle 2"/>
          <p:cNvSpPr/>
          <p:nvPr userDrawn="1"/>
        </p:nvSpPr>
        <p:spPr bwMode="auto">
          <a:xfrm flipH="1">
            <a:off x="0" y="3073313"/>
            <a:ext cx="10920534" cy="2262324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0"/>
                  <a:lumOff val="100000"/>
                </a:schemeClr>
              </a:gs>
              <a:gs pos="95000">
                <a:schemeClr val="accent1">
                  <a:lumMod val="0"/>
                  <a:lumOff val="100000"/>
                  <a:alpha val="0"/>
                </a:schemeClr>
              </a:gs>
              <a:gs pos="44000">
                <a:schemeClr val="accent2">
                  <a:alpha val="80000"/>
                </a:schemeClr>
              </a:gs>
              <a:gs pos="0">
                <a:schemeClr val="accent1">
                  <a:alpha val="80000"/>
                </a:schemeClr>
              </a:gs>
            </a:gsLst>
            <a:lin ang="10800000" scaled="1"/>
            <a:tileRect/>
          </a:gradFill>
          <a:ln>
            <a:noFill/>
          </a:ln>
        </p:spPr>
        <p:txBody>
          <a:bodyPr lIns="0" tIns="0" rIns="0" bIns="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4" name="对象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矩形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4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80604020202020204" pitchFamily="34" charset="0"/>
              <a:ea typeface="微软雅黑" panose="020B0503020204020204" pitchFamily="34" charset="-122"/>
              <a:cs typeface="+mn-cs"/>
              <a:sym typeface="Arial" panose="02080604020202020204" pitchFamily="34" charset="0"/>
            </a:endParaRPr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0" hasCustomPrompt="1"/>
          </p:nvPr>
        </p:nvSpPr>
        <p:spPr>
          <a:xfrm>
            <a:off x="435184" y="3212976"/>
            <a:ext cx="7567612" cy="108012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algn="l">
              <a:buNone/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此处编辑标题</a:t>
            </a:r>
          </a:p>
        </p:txBody>
      </p:sp>
      <p:sp>
        <p:nvSpPr>
          <p:cNvPr id="10" name="文本占位符 9"/>
          <p:cNvSpPr>
            <a:spLocks noGrp="1"/>
          </p:cNvSpPr>
          <p:nvPr>
            <p:ph type="body" sz="quarter" idx="11" hasCustomPrompt="1"/>
          </p:nvPr>
        </p:nvSpPr>
        <p:spPr>
          <a:xfrm>
            <a:off x="435184" y="4444190"/>
            <a:ext cx="7567612" cy="78501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此处编辑副标题</a:t>
            </a:r>
          </a:p>
        </p:txBody>
      </p:sp>
      <p:sp>
        <p:nvSpPr>
          <p:cNvPr id="12" name="矩形 11"/>
          <p:cNvSpPr/>
          <p:nvPr userDrawn="1"/>
        </p:nvSpPr>
        <p:spPr>
          <a:xfrm>
            <a:off x="-1" y="5335637"/>
            <a:ext cx="12191999" cy="15223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华文楷体"/>
              <a:ea typeface="华文楷体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3930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9300883" y="6381684"/>
            <a:ext cx="2743200" cy="365125"/>
          </a:xfrm>
        </p:spPr>
        <p:txBody>
          <a:bodyPr/>
          <a:lstStyle>
            <a:lvl1pPr algn="r">
              <a:defRPr sz="1600"/>
            </a:lvl1pPr>
          </a:lstStyle>
          <a:p>
            <a:fld id="{D174682D-7201-4549-AB46-A3B3CC68F057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1450112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封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4" name="Rectangle 2"/>
          <p:cNvSpPr/>
          <p:nvPr userDrawn="1"/>
        </p:nvSpPr>
        <p:spPr bwMode="auto">
          <a:xfrm flipH="1">
            <a:off x="4493" y="2451820"/>
            <a:ext cx="12190413" cy="1985292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noFill/>
          </a:ln>
        </p:spPr>
        <p:txBody>
          <a:bodyPr lIns="0" tIns="0" rIns="0" bIns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4" name="对象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矩形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4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80604020202020204" pitchFamily="34" charset="0"/>
              <a:ea typeface="微软雅黑" panose="020B0503020204020204" pitchFamily="34" charset="-122"/>
              <a:cs typeface="+mn-cs"/>
              <a:sym typeface="Arial" panose="02080604020202020204" pitchFamily="34" charset="0"/>
            </a:endParaRPr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0" hasCustomPrompt="1"/>
          </p:nvPr>
        </p:nvSpPr>
        <p:spPr>
          <a:xfrm>
            <a:off x="4495" y="2970699"/>
            <a:ext cx="12190413" cy="94753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/>
              <a:t>谢谢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5469782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270" imgH="270" progId="TCLayout.ActiveDocument.1">
                  <p:embed/>
                </p:oleObj>
              </mc:Choice>
              <mc:Fallback>
                <p:oleObj name="think-cell 幻灯片" r:id="rId4" imgW="270" imgH="270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altLang="zh-CN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2105 TED Sample Slides WhiteV13_Gaoliao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140399"/>
            <a:ext cx="10934700" cy="72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lnSpc>
                <a:spcPct val="100000"/>
              </a:lnSpc>
              <a:defRPr b="1"/>
            </a:lvl1pPr>
          </a:lstStyle>
          <a:p>
            <a:r>
              <a:rPr lang="en-US" altLang="zh-CN" dirty="0"/>
              <a:t>Click to add title</a:t>
            </a:r>
            <a:endParaRPr lang="en-US" dirty="0"/>
          </a:p>
        </p:txBody>
      </p:sp>
      <p:sp>
        <p:nvSpPr>
          <p:cNvPr id="8" name="文本占位符 6"/>
          <p:cNvSpPr>
            <a:spLocks noGrp="1"/>
          </p:cNvSpPr>
          <p:nvPr>
            <p:ph type="body" sz="quarter" idx="11" hasCustomPrompt="1"/>
          </p:nvPr>
        </p:nvSpPr>
        <p:spPr>
          <a:xfrm>
            <a:off x="360000" y="6408210"/>
            <a:ext cx="10934700" cy="422275"/>
          </a:xfrm>
        </p:spPr>
        <p:txBody>
          <a:bodyPr tIns="0" bIns="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zh-CN" dirty="0"/>
              <a:t>Note:</a:t>
            </a:r>
            <a:br>
              <a:rPr lang="en-US" altLang="zh-CN" dirty="0"/>
            </a:br>
            <a:r>
              <a:rPr lang="en-US" altLang="zh-CN" dirty="0"/>
              <a:t>Source: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73165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3" descr="1321321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29" t="-11413" r="28311" b="-8087"/>
          <a:stretch/>
        </p:blipFill>
        <p:spPr bwMode="auto">
          <a:xfrm>
            <a:off x="-2" y="6537324"/>
            <a:ext cx="12192001" cy="335915"/>
          </a:xfrm>
          <a:prstGeom prst="rect">
            <a:avLst/>
          </a:prstGeom>
          <a:noFill/>
          <a:ln>
            <a:noFill/>
          </a:ln>
          <a:effectLst>
            <a:glow>
              <a:schemeClr val="accent1">
                <a:alpha val="40000"/>
              </a:schemeClr>
            </a:glow>
            <a:outerShdw blurRad="50800" dist="50800" dir="5400000" algn="ctr" rotWithShape="0">
              <a:srgbClr val="000000">
                <a:alpha val="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标题 1"/>
          <p:cNvSpPr txBox="1">
            <a:spLocks/>
          </p:cNvSpPr>
          <p:nvPr userDrawn="1"/>
        </p:nvSpPr>
        <p:spPr>
          <a:xfrm>
            <a:off x="335360" y="241511"/>
            <a:ext cx="11390032" cy="431136"/>
          </a:xfrm>
          <a:prstGeom prst="rect">
            <a:avLst/>
          </a:prstGeom>
        </p:spPr>
        <p:txBody>
          <a:bodyPr lIns="0" rIns="47997" anchor="ctr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+mj-lt"/>
                <a:ea typeface="华文楷体" panose="02010600040101010101" pitchFamily="2" charset="-122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5867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5867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5867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5867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609585" algn="ctr" rtl="0" fontAlgn="base">
              <a:spcBef>
                <a:spcPct val="0"/>
              </a:spcBef>
              <a:spcAft>
                <a:spcPct val="0"/>
              </a:spcAft>
              <a:defRPr sz="5867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1219170" algn="ctr" rtl="0" fontAlgn="base">
              <a:spcBef>
                <a:spcPct val="0"/>
              </a:spcBef>
              <a:spcAft>
                <a:spcPct val="0"/>
              </a:spcAft>
              <a:defRPr sz="5867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828754" algn="ctr" rtl="0" fontAlgn="base">
              <a:spcBef>
                <a:spcPct val="0"/>
              </a:spcBef>
              <a:spcAft>
                <a:spcPct val="0"/>
              </a:spcAft>
              <a:defRPr sz="5867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2438339" algn="ctr" rtl="0" fontAlgn="base">
              <a:spcBef>
                <a:spcPct val="0"/>
              </a:spcBef>
              <a:spcAft>
                <a:spcPct val="0"/>
              </a:spcAft>
              <a:defRPr sz="5867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j-cs"/>
            </a:endParaRPr>
          </a:p>
        </p:txBody>
      </p:sp>
      <p:sp>
        <p:nvSpPr>
          <p:cNvPr id="8" name="灯片编号占位符 3"/>
          <p:cNvSpPr>
            <a:spLocks noGrp="1"/>
          </p:cNvSpPr>
          <p:nvPr>
            <p:ph type="sldNum" sz="quarter" idx="4"/>
          </p:nvPr>
        </p:nvSpPr>
        <p:spPr>
          <a:xfrm>
            <a:off x="9342967" y="6534854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华文楷体" panose="02010600040101010101" pitchFamily="2" charset="-122"/>
                <a:ea typeface="华文楷体" panose="02010600040101010101" pitchFamily="2" charset="-122"/>
              </a:defRPr>
            </a:lvl1pPr>
          </a:lstStyle>
          <a:p>
            <a:pPr algn="r">
              <a:defRPr/>
            </a:pPr>
            <a:r>
              <a:rPr lang="zh-CN" altLang="en-US"/>
              <a:t>第</a:t>
            </a:r>
            <a:fld id="{05D54425-7CA0-47B8-BF13-C0F370DB0253}" type="slidenum">
              <a:rPr lang="zh-CN" altLang="en-US" smtClean="0"/>
              <a:pPr algn="r">
                <a:defRPr/>
              </a:pPr>
              <a:t>‹#›</a:t>
            </a:fld>
            <a:r>
              <a:rPr lang="zh-CN" altLang="en-US"/>
              <a:t>页</a:t>
            </a:r>
            <a:endParaRPr lang="zh-CN" altLang="en-US" dirty="0"/>
          </a:p>
        </p:txBody>
      </p:sp>
      <p:pic>
        <p:nvPicPr>
          <p:cNvPr id="9" name="Picture 21" descr="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325" y="6644961"/>
            <a:ext cx="1387290" cy="1271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976372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图片占位符 3">
            <a:extLst>
              <a:ext uri="{FF2B5EF4-FFF2-40B4-BE49-F238E27FC236}">
                <a16:creationId xmlns:a16="http://schemas.microsoft.com/office/drawing/2014/main" id="{A7710C29-5F58-7647-80F7-F5FD18ECC9E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91727" y="4113203"/>
            <a:ext cx="3285901" cy="1765813"/>
          </a:xfrm>
          <a:prstGeom prst="rect">
            <a:avLst/>
          </a:pr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kumimoji="1" lang="zh-CN" alt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kumimoji="1" lang="zh-CN" altLang="en-US"/>
              <a:t>拖拽插入图片</a:t>
            </a:r>
          </a:p>
        </p:txBody>
      </p:sp>
      <p:sp>
        <p:nvSpPr>
          <p:cNvPr id="6" name="图片占位符 3">
            <a:extLst>
              <a:ext uri="{FF2B5EF4-FFF2-40B4-BE49-F238E27FC236}">
                <a16:creationId xmlns:a16="http://schemas.microsoft.com/office/drawing/2014/main" id="{BDFE1B8C-F241-BF42-9E4E-A0EE67D85E9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453048" y="4113203"/>
            <a:ext cx="3285901" cy="1765813"/>
          </a:xfrm>
          <a:prstGeom prst="rect">
            <a:avLst/>
          </a:pr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kumimoji="1" lang="zh-CN" alt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kumimoji="1" lang="zh-CN" altLang="en-US"/>
              <a:t>拖拽插入图片</a:t>
            </a:r>
          </a:p>
        </p:txBody>
      </p:sp>
      <p:sp>
        <p:nvSpPr>
          <p:cNvPr id="7" name="图片占位符 3">
            <a:extLst>
              <a:ext uri="{FF2B5EF4-FFF2-40B4-BE49-F238E27FC236}">
                <a16:creationId xmlns:a16="http://schemas.microsoft.com/office/drawing/2014/main" id="{46ED8263-5F93-2346-8BA4-91A4CD56F4A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114371" y="4113203"/>
            <a:ext cx="3285901" cy="1765813"/>
          </a:xfrm>
          <a:prstGeom prst="rect">
            <a:avLst/>
          </a:pr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kumimoji="1" lang="zh-CN" alt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kumimoji="1" lang="zh-CN" altLang="en-US"/>
              <a:t>拖拽插入图片</a:t>
            </a:r>
          </a:p>
        </p:txBody>
      </p:sp>
    </p:spTree>
    <p:extLst>
      <p:ext uri="{BB962C8B-B14F-4D97-AF65-F5344CB8AC3E}">
        <p14:creationId xmlns:p14="http://schemas.microsoft.com/office/powerpoint/2010/main" val="128968210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图片占位符 3">
            <a:extLst>
              <a:ext uri="{FF2B5EF4-FFF2-40B4-BE49-F238E27FC236}">
                <a16:creationId xmlns:a16="http://schemas.microsoft.com/office/drawing/2014/main" id="{BD03B9C7-7945-1F40-93AB-6AB3B51C90A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kumimoji="1" lang="zh-CN" alt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kumimoji="1" lang="zh-CN" altLang="en-US"/>
              <a:t>拖拽插入图片</a:t>
            </a:r>
          </a:p>
        </p:txBody>
      </p:sp>
    </p:spTree>
    <p:extLst>
      <p:ext uri="{BB962C8B-B14F-4D97-AF65-F5344CB8AC3E}">
        <p14:creationId xmlns:p14="http://schemas.microsoft.com/office/powerpoint/2010/main" val="7054487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封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0"/>
            <a:ext cx="12192000" cy="6850506"/>
          </a:xfrm>
          <a:prstGeom prst="rect">
            <a:avLst/>
          </a:prstGeom>
        </p:spPr>
      </p:pic>
      <p:sp>
        <p:nvSpPr>
          <p:cNvPr id="24" name="Rectangle 2"/>
          <p:cNvSpPr/>
          <p:nvPr userDrawn="1"/>
        </p:nvSpPr>
        <p:spPr bwMode="auto">
          <a:xfrm flipH="1">
            <a:off x="0" y="3073313"/>
            <a:ext cx="10920534" cy="2262324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0"/>
                  <a:lumOff val="100000"/>
                </a:schemeClr>
              </a:gs>
              <a:gs pos="95000">
                <a:schemeClr val="accent1">
                  <a:lumMod val="0"/>
                  <a:lumOff val="100000"/>
                  <a:alpha val="0"/>
                </a:schemeClr>
              </a:gs>
              <a:gs pos="44000">
                <a:schemeClr val="accent2">
                  <a:alpha val="80000"/>
                </a:schemeClr>
              </a:gs>
              <a:gs pos="0">
                <a:schemeClr val="accent1">
                  <a:alpha val="80000"/>
                </a:schemeClr>
              </a:gs>
            </a:gsLst>
            <a:lin ang="10800000" scaled="1"/>
            <a:tileRect/>
          </a:gradFill>
          <a:ln>
            <a:noFill/>
          </a:ln>
        </p:spPr>
        <p:txBody>
          <a:bodyPr lIns="0" tIns="0" rIns="0" bIns="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4" name="对象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矩形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4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80604020202020204" pitchFamily="34" charset="0"/>
              <a:ea typeface="微软雅黑" panose="020B0503020204020204" pitchFamily="34" charset="-122"/>
              <a:cs typeface="+mn-cs"/>
              <a:sym typeface="Arial" panose="02080604020202020204" pitchFamily="34" charset="0"/>
            </a:endParaRPr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0" hasCustomPrompt="1"/>
          </p:nvPr>
        </p:nvSpPr>
        <p:spPr>
          <a:xfrm>
            <a:off x="435184" y="3212976"/>
            <a:ext cx="7567612" cy="108012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algn="l">
              <a:buNone/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此处编辑标题</a:t>
            </a:r>
          </a:p>
        </p:txBody>
      </p:sp>
      <p:sp>
        <p:nvSpPr>
          <p:cNvPr id="10" name="文本占位符 9"/>
          <p:cNvSpPr>
            <a:spLocks noGrp="1"/>
          </p:cNvSpPr>
          <p:nvPr>
            <p:ph type="body" sz="quarter" idx="11" hasCustomPrompt="1"/>
          </p:nvPr>
        </p:nvSpPr>
        <p:spPr>
          <a:xfrm>
            <a:off x="435184" y="4444190"/>
            <a:ext cx="7567612" cy="78501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此处编辑副标题</a:t>
            </a:r>
          </a:p>
        </p:txBody>
      </p:sp>
      <p:sp>
        <p:nvSpPr>
          <p:cNvPr id="12" name="矩形 11"/>
          <p:cNvSpPr/>
          <p:nvPr userDrawn="1"/>
        </p:nvSpPr>
        <p:spPr>
          <a:xfrm>
            <a:off x="-1" y="5335637"/>
            <a:ext cx="12191999" cy="15223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华文楷体"/>
              <a:ea typeface="华文楷体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91717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9300883" y="6381684"/>
            <a:ext cx="2743200" cy="365125"/>
          </a:xfrm>
        </p:spPr>
        <p:txBody>
          <a:bodyPr/>
          <a:lstStyle>
            <a:lvl1pPr algn="r">
              <a:defRPr sz="1600"/>
            </a:lvl1pPr>
          </a:lstStyle>
          <a:p>
            <a:fld id="{D174682D-7201-4549-AB46-A3B3CC68F057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4" name="菱形 3">
            <a:extLst>
              <a:ext uri="{FF2B5EF4-FFF2-40B4-BE49-F238E27FC236}">
                <a16:creationId xmlns:a16="http://schemas.microsoft.com/office/drawing/2014/main" id="{FFD51CE2-ADF4-3E4A-50C4-FA46A3A10457}"/>
              </a:ext>
            </a:extLst>
          </p:cNvPr>
          <p:cNvSpPr/>
          <p:nvPr userDrawn="1"/>
        </p:nvSpPr>
        <p:spPr>
          <a:xfrm>
            <a:off x="309054" y="387927"/>
            <a:ext cx="324000" cy="324000"/>
          </a:xfrm>
          <a:prstGeom prst="diamond">
            <a:avLst/>
          </a:prstGeom>
          <a:solidFill>
            <a:srgbClr val="F05A23"/>
          </a:solidFill>
          <a:ln w="9525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36000" tIns="108000" rIns="36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endParaRPr lang="zh-CN" altLang="en-US" sz="1100" b="1" kern="0">
              <a:solidFill>
                <a:prstClr val="black"/>
              </a:solidFill>
              <a:latin typeface="Arial"/>
              <a:ea typeface="华文楷体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1442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oleObject" Target="../embeddings/oleObject6.bin"/><Relationship Id="rId5" Type="http://schemas.openxmlformats.org/officeDocument/2006/relationships/slideLayout" Target="../slideLayouts/slideLayout12.xml"/><Relationship Id="rId10" Type="http://schemas.openxmlformats.org/officeDocument/2006/relationships/tags" Target="../tags/tag12.xml"/><Relationship Id="rId4" Type="http://schemas.openxmlformats.org/officeDocument/2006/relationships/slideLayout" Target="../slideLayouts/slideLayout11.xml"/><Relationship Id="rId9" Type="http://schemas.openxmlformats.org/officeDocument/2006/relationships/tags" Target="../tags/tag1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7.xml"/><Relationship Id="rId7" Type="http://schemas.openxmlformats.org/officeDocument/2006/relationships/tags" Target="../tags/tag19.xml"/><Relationship Id="rId12" Type="http://schemas.openxmlformats.org/officeDocument/2006/relationships/oleObject" Target="../embeddings/oleObject11.bin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theme" Target="../theme/theme3.xml"/><Relationship Id="rId11" Type="http://schemas.openxmlformats.org/officeDocument/2006/relationships/image" Target="../media/image8.emf"/><Relationship Id="rId5" Type="http://schemas.openxmlformats.org/officeDocument/2006/relationships/slideLayout" Target="../slideLayouts/slideLayout19.xml"/><Relationship Id="rId10" Type="http://schemas.openxmlformats.org/officeDocument/2006/relationships/oleObject" Target="../embeddings/oleObject10.bin"/><Relationship Id="rId4" Type="http://schemas.openxmlformats.org/officeDocument/2006/relationships/slideLayout" Target="../slideLayouts/slideLayout18.xml"/><Relationship Id="rId9" Type="http://schemas.openxmlformats.org/officeDocument/2006/relationships/tags" Target="../tags/tag2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3" Type="http://schemas.openxmlformats.org/officeDocument/2006/relationships/slideLayout" Target="../slideLayouts/slideLayout22.xml"/><Relationship Id="rId7" Type="http://schemas.openxmlformats.org/officeDocument/2006/relationships/tags" Target="../tags/tag3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tags" Target="../tags/tag30.xml"/><Relationship Id="rId11" Type="http://schemas.openxmlformats.org/officeDocument/2006/relationships/oleObject" Target="../embeddings/oleObject18.bin"/><Relationship Id="rId5" Type="http://schemas.openxmlformats.org/officeDocument/2006/relationships/theme" Target="../theme/theme4.xml"/><Relationship Id="rId10" Type="http://schemas.openxmlformats.org/officeDocument/2006/relationships/image" Target="../media/image8.emf"/><Relationship Id="rId4" Type="http://schemas.openxmlformats.org/officeDocument/2006/relationships/slideLayout" Target="../slideLayouts/slideLayout23.xml"/><Relationship Id="rId9" Type="http://schemas.openxmlformats.org/officeDocument/2006/relationships/oleObject" Target="../embeddings/oleObject17.bin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slideLayout" Target="../slideLayouts/slideLayout49.xml"/><Relationship Id="rId39" Type="http://schemas.openxmlformats.org/officeDocument/2006/relationships/oleObject" Target="../embeddings/oleObject24.bin"/><Relationship Id="rId21" Type="http://schemas.openxmlformats.org/officeDocument/2006/relationships/slideLayout" Target="../slideLayouts/slideLayout44.xml"/><Relationship Id="rId34" Type="http://schemas.openxmlformats.org/officeDocument/2006/relationships/slideLayout" Target="../slideLayouts/slideLayout57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slideLayout" Target="../slideLayouts/slideLayout48.xml"/><Relationship Id="rId33" Type="http://schemas.openxmlformats.org/officeDocument/2006/relationships/slideLayout" Target="../slideLayouts/slideLayout56.xml"/><Relationship Id="rId38" Type="http://schemas.openxmlformats.org/officeDocument/2006/relationships/tags" Target="../tags/tag42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29" Type="http://schemas.openxmlformats.org/officeDocument/2006/relationships/slideLayout" Target="../slideLayouts/slideLayout52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slideLayout" Target="../slideLayouts/slideLayout47.xml"/><Relationship Id="rId32" Type="http://schemas.openxmlformats.org/officeDocument/2006/relationships/slideLayout" Target="../slideLayouts/slideLayout55.xml"/><Relationship Id="rId37" Type="http://schemas.openxmlformats.org/officeDocument/2006/relationships/tags" Target="../tags/tag41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slideLayout" Target="../slideLayouts/slideLayout46.xml"/><Relationship Id="rId28" Type="http://schemas.openxmlformats.org/officeDocument/2006/relationships/slideLayout" Target="../slideLayouts/slideLayout51.xml"/><Relationship Id="rId36" Type="http://schemas.openxmlformats.org/officeDocument/2006/relationships/theme" Target="../theme/theme5.xml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31" Type="http://schemas.openxmlformats.org/officeDocument/2006/relationships/slideLayout" Target="../slideLayouts/slideLayout54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Relationship Id="rId27" Type="http://schemas.openxmlformats.org/officeDocument/2006/relationships/slideLayout" Target="../slideLayouts/slideLayout50.xml"/><Relationship Id="rId30" Type="http://schemas.openxmlformats.org/officeDocument/2006/relationships/slideLayout" Target="../slideLayouts/slideLayout53.xml"/><Relationship Id="rId35" Type="http://schemas.openxmlformats.org/officeDocument/2006/relationships/slideLayout" Target="../slideLayouts/slideLayout58.xml"/><Relationship Id="rId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49.xml"/><Relationship Id="rId3" Type="http://schemas.openxmlformats.org/officeDocument/2006/relationships/slideLayout" Target="../slideLayouts/slideLayout61.xml"/><Relationship Id="rId7" Type="http://schemas.openxmlformats.org/officeDocument/2006/relationships/theme" Target="../theme/theme6.x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3.xml"/><Relationship Id="rId10" Type="http://schemas.openxmlformats.org/officeDocument/2006/relationships/oleObject" Target="../embeddings/oleObject28.bin"/><Relationship Id="rId4" Type="http://schemas.openxmlformats.org/officeDocument/2006/relationships/slideLayout" Target="../slideLayouts/slideLayout62.xml"/><Relationship Id="rId9" Type="http://schemas.openxmlformats.org/officeDocument/2006/relationships/tags" Target="../tags/tag5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3" Type="http://schemas.openxmlformats.org/officeDocument/2006/relationships/slideLayout" Target="../slideLayouts/slideLayout67.xml"/><Relationship Id="rId7" Type="http://schemas.openxmlformats.org/officeDocument/2006/relationships/slideLayout" Target="../slideLayouts/slideLayout71.xml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8.xml"/><Relationship Id="rId9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heme" Target="../theme/theme8.xml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oleObject" Target="../embeddings/oleObject33.bin"/><Relationship Id="rId5" Type="http://schemas.openxmlformats.org/officeDocument/2006/relationships/slideLayout" Target="../slideLayouts/slideLayout77.xml"/><Relationship Id="rId10" Type="http://schemas.openxmlformats.org/officeDocument/2006/relationships/tags" Target="../tags/tag60.xml"/><Relationship Id="rId4" Type="http://schemas.openxmlformats.org/officeDocument/2006/relationships/slideLayout" Target="../slideLayouts/slideLayout76.xml"/><Relationship Id="rId9" Type="http://schemas.openxmlformats.org/officeDocument/2006/relationships/tags" Target="../tags/tag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BCF4D">
              <a:alpha val="8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zh-CN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华文楷体" panose="02010600040101010101" pitchFamily="2" charset="-122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17065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700" r:id="rId3"/>
    <p:sldLayoutId id="2147483917" r:id="rId4"/>
    <p:sldLayoutId id="2147483922" r:id="rId5"/>
    <p:sldLayoutId id="2147483924" r:id="rId6"/>
    <p:sldLayoutId id="2147483926" r:id="rId7"/>
  </p:sldLayoutIdLst>
  <p:hf hdr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7800" indent="-177800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914354" rtl="0" eaLnBrk="1" latinLnBrk="0" hangingPunct="1">
        <a:lnSpc>
          <a:spcPct val="90000"/>
        </a:lnSpc>
        <a:spcBef>
          <a:spcPts val="500"/>
        </a:spcBef>
        <a:buFont typeface="华文楷体" panose="02010600040101010101" pitchFamily="2" charset="-122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1338" indent="-185738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9138" indent="-177800" algn="l" defTabSz="914354" rtl="0" eaLnBrk="1" latinLnBrk="0" hangingPunct="1">
        <a:lnSpc>
          <a:spcPct val="90000"/>
        </a:lnSpc>
        <a:spcBef>
          <a:spcPts val="500"/>
        </a:spcBef>
        <a:buFont typeface="华文楷体" panose="02010600040101010101" pitchFamily="2" charset="-122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6938" indent="-177800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>
          <p15:clr>
            <a:srgbClr val="F26B43"/>
          </p15:clr>
        </p15:guide>
        <p15:guide id="2" pos="7257">
          <p15:clr>
            <a:srgbClr val="F26B43"/>
          </p15:clr>
        </p15:guide>
        <p15:guide id="3" orient="horz" pos="648">
          <p15:clr>
            <a:srgbClr val="F26B43"/>
          </p15:clr>
        </p15:guide>
        <p15:guide id="4" orient="horz" pos="708">
          <p15:clr>
            <a:srgbClr val="F26B43"/>
          </p15:clr>
        </p15:guide>
        <p15:guide id="5" orient="horz" pos="3931">
          <p15:clr>
            <a:srgbClr val="F26B43"/>
          </p15:clr>
        </p15:guide>
        <p15:guide id="6" orient="horz" pos="387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0" imgH="0" progId="TCLayout.ActiveDocument.1">
                  <p:embed/>
                </p:oleObj>
              </mc:Choice>
              <mc:Fallback>
                <p:oleObj name="think-cell Slide" r:id="rId11" imgW="0" imgH="0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BCF4D">
              <a:alpha val="8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80604020202020204" pitchFamily="34" charset="0"/>
              <a:ea typeface="华文楷体" panose="02010600040101010101" pitchFamily="2" charset="-122"/>
              <a:cs typeface="+mn-cs"/>
              <a:sym typeface="Arial" panose="02080604020202020204" pitchFamily="34" charset="0"/>
            </a:endParaRPr>
          </a:p>
        </p:txBody>
      </p:sp>
      <p:sp>
        <p:nvSpPr>
          <p:cNvPr id="10" name="标题占位符 1"/>
          <p:cNvSpPr>
            <a:spLocks noGrp="1"/>
          </p:cNvSpPr>
          <p:nvPr>
            <p:ph type="title"/>
          </p:nvPr>
        </p:nvSpPr>
        <p:spPr>
          <a:xfrm>
            <a:off x="193674" y="144077"/>
            <a:ext cx="11664951" cy="54743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zh-CN" altLang="en-US" dirty="0"/>
              <a:t>主题</a:t>
            </a:r>
          </a:p>
        </p:txBody>
      </p:sp>
      <p:sp>
        <p:nvSpPr>
          <p:cNvPr id="11" name="文本占位符 2"/>
          <p:cNvSpPr>
            <a:spLocks noGrp="1"/>
          </p:cNvSpPr>
          <p:nvPr>
            <p:ph type="body" idx="1"/>
          </p:nvPr>
        </p:nvSpPr>
        <p:spPr>
          <a:xfrm>
            <a:off x="269873" y="1123950"/>
            <a:ext cx="11588751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sp>
        <p:nvSpPr>
          <p:cNvPr id="13" name="日期占位符 3"/>
          <p:cNvSpPr>
            <a:spLocks noGrp="1"/>
          </p:cNvSpPr>
          <p:nvPr>
            <p:ph type="dt" sz="half" idx="2"/>
          </p:nvPr>
        </p:nvSpPr>
        <p:spPr>
          <a:xfrm>
            <a:off x="5369980" y="6461057"/>
            <a:ext cx="1388536" cy="206381"/>
          </a:xfrm>
          <a:prstGeom prst="rect">
            <a:avLst/>
          </a:prstGeom>
        </p:spPr>
        <p:txBody>
          <a:bodyPr vert="horz" lIns="91440" tIns="0" rIns="91440" bIns="45720" rtlCol="0" anchor="t" anchorCtr="0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14" name="页脚占位符 4"/>
          <p:cNvSpPr>
            <a:spLocks noGrp="1"/>
          </p:cNvSpPr>
          <p:nvPr>
            <p:ph type="ftr" sz="quarter" idx="3"/>
          </p:nvPr>
        </p:nvSpPr>
        <p:spPr>
          <a:xfrm>
            <a:off x="269873" y="6461057"/>
            <a:ext cx="4886327" cy="215839"/>
          </a:xfrm>
          <a:prstGeom prst="rect">
            <a:avLst/>
          </a:prstGeom>
        </p:spPr>
        <p:txBody>
          <a:bodyPr vert="horz" lIns="91440" tIns="0" rIns="91440" bIns="45720" rtlCol="0" anchor="t" anchorCtr="0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华文楷体"/>
              <a:cs typeface="+mn-cs"/>
            </a:endParaRPr>
          </a:p>
        </p:txBody>
      </p:sp>
      <p:cxnSp>
        <p:nvCxnSpPr>
          <p:cNvPr id="5" name="直接连接符 4"/>
          <p:cNvCxnSpPr/>
          <p:nvPr/>
        </p:nvCxnSpPr>
        <p:spPr>
          <a:xfrm>
            <a:off x="193674" y="889643"/>
            <a:ext cx="11664951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9300883" y="6381684"/>
            <a:ext cx="2743200" cy="365125"/>
          </a:xfrm>
        </p:spPr>
        <p:txBody>
          <a:bodyPr/>
          <a:lstStyle>
            <a:lvl1pPr algn="r">
              <a:defRPr sz="1600"/>
            </a:lvl1pPr>
          </a:lstStyle>
          <a:p>
            <a:fld id="{D174682D-7201-4549-AB46-A3B3CC68F057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196491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9" r:id="rId3"/>
    <p:sldLayoutId id="2147483696" r:id="rId4"/>
    <p:sldLayoutId id="2147483697" r:id="rId5"/>
    <p:sldLayoutId id="2147483698" r:id="rId6"/>
    <p:sldLayoutId id="2147483935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7800" indent="-177800" algn="l" defTabSz="914400" rtl="0" eaLnBrk="1" latinLnBrk="0" hangingPunct="1">
        <a:lnSpc>
          <a:spcPct val="90000"/>
        </a:lnSpc>
        <a:spcBef>
          <a:spcPts val="1000"/>
        </a:spcBef>
        <a:buFont typeface="Arial" panose="0208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914400" rtl="0" eaLnBrk="1" latinLnBrk="0" hangingPunct="1">
        <a:lnSpc>
          <a:spcPct val="90000"/>
        </a:lnSpc>
        <a:spcBef>
          <a:spcPts val="500"/>
        </a:spcBef>
        <a:buFont typeface="华文楷体" panose="02010600040101010101" pitchFamily="2" charset="-122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1655" indent="-186055" algn="l" defTabSz="914400" rtl="0" eaLnBrk="1" latinLnBrk="0" hangingPunct="1">
        <a:lnSpc>
          <a:spcPct val="90000"/>
        </a:lnSpc>
        <a:spcBef>
          <a:spcPts val="500"/>
        </a:spcBef>
        <a:buFont typeface="Arial" panose="0208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9455" indent="-177800" algn="l" defTabSz="914400" rtl="0" eaLnBrk="1" latinLnBrk="0" hangingPunct="1">
        <a:lnSpc>
          <a:spcPct val="90000"/>
        </a:lnSpc>
        <a:spcBef>
          <a:spcPts val="500"/>
        </a:spcBef>
        <a:buFont typeface="华文楷体" panose="02010600040101010101" pitchFamily="2" charset="-122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7255" indent="-177800" algn="l" defTabSz="914400" rtl="0" eaLnBrk="1" latinLnBrk="0" hangingPunct="1">
        <a:lnSpc>
          <a:spcPct val="90000"/>
        </a:lnSpc>
        <a:spcBef>
          <a:spcPts val="500"/>
        </a:spcBef>
        <a:buFont typeface="Arial" panose="0208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8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8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8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8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427110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11579382" y="6437745"/>
            <a:ext cx="612617" cy="42025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60000" y="140399"/>
            <a:ext cx="10934700" cy="72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360000" y="977153"/>
            <a:ext cx="10934700" cy="50318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cxnSp>
        <p:nvCxnSpPr>
          <p:cNvPr id="6" name="直接连接符 5"/>
          <p:cNvCxnSpPr/>
          <p:nvPr/>
        </p:nvCxnSpPr>
        <p:spPr>
          <a:xfrm>
            <a:off x="0" y="6390900"/>
            <a:ext cx="12192000" cy="0"/>
          </a:xfrm>
          <a:prstGeom prst="line">
            <a:avLst/>
          </a:prstGeom>
          <a:ln w="12700" cap="rnd">
            <a:solidFill>
              <a:schemeClr val="accent1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矩形 7" hidden="1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BCF4D">
              <a:alpha val="8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zh-CN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华文楷体" panose="02010600040101010101" pitchFamily="2" charset="-122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42184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925" r:id="rId5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Arial" panose="020B0604020202020204" pitchFamily="34" charset="0"/>
        <a:buChar char="​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•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tx2"/>
        </a:buClr>
        <a:buFont typeface="Trebuchet MS" panose="020B0603020202020204" pitchFamily="34" charset="0"/>
        <a:buChar char="–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8105026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9" imgW="270" imgH="270" progId="TCLayout.ActiveDocument.1">
                  <p:embed/>
                </p:oleObj>
              </mc:Choice>
              <mc:Fallback>
                <p:oleObj name="think-cell 幻灯片" r:id="rId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11579382" y="6437745"/>
            <a:ext cx="612617" cy="42025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60000" y="140399"/>
            <a:ext cx="10934700" cy="72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360000" y="977153"/>
            <a:ext cx="10934700" cy="50318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cxnSp>
        <p:nvCxnSpPr>
          <p:cNvPr id="6" name="直接连接符 5"/>
          <p:cNvCxnSpPr/>
          <p:nvPr/>
        </p:nvCxnSpPr>
        <p:spPr>
          <a:xfrm>
            <a:off x="0" y="6390900"/>
            <a:ext cx="12192000" cy="0"/>
          </a:xfrm>
          <a:prstGeom prst="line">
            <a:avLst/>
          </a:prstGeom>
          <a:ln w="12700" cap="rnd">
            <a:solidFill>
              <a:schemeClr val="accent1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7" name="对象 6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矩形 7" hidden="1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BCF4D">
              <a:alpha val="8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zh-CN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华文楷体" panose="02010600040101010101" pitchFamily="2" charset="-122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5021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Arial" panose="020B0604020202020204" pitchFamily="34" charset="0"/>
        <a:buChar char="​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•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tx2"/>
        </a:buClr>
        <a:buFont typeface="Trebuchet MS" panose="020B0603020202020204" pitchFamily="34" charset="0"/>
        <a:buChar char="–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3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9" imgW="270" imgH="270" progId="TCLayout.ActiveDocument.1">
                  <p:embed/>
                </p:oleObj>
              </mc:Choice>
              <mc:Fallback>
                <p:oleObj name="think-cell Slide" r:id="rId39" imgW="270" imgH="270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 userDrawn="1">
            <p:custDataLst>
              <p:tags r:id="rId3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BCF4D">
              <a:alpha val="8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华文楷体" panose="02010600040101010101" pitchFamily="2" charset="-122"/>
              <a:cs typeface="+mn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53175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8" r:id="rId5"/>
    <p:sldLayoutId id="2147483719" r:id="rId6"/>
    <p:sldLayoutId id="2147483722" r:id="rId7"/>
    <p:sldLayoutId id="2147483733" r:id="rId8"/>
    <p:sldLayoutId id="2147483735" r:id="rId9"/>
    <p:sldLayoutId id="2147483736" r:id="rId10"/>
    <p:sldLayoutId id="2147483737" r:id="rId11"/>
    <p:sldLayoutId id="2147483738" r:id="rId12"/>
    <p:sldLayoutId id="2147483739" r:id="rId13"/>
    <p:sldLayoutId id="2147483740" r:id="rId14"/>
    <p:sldLayoutId id="2147483741" r:id="rId15"/>
    <p:sldLayoutId id="2147483742" r:id="rId16"/>
    <p:sldLayoutId id="2147483743" r:id="rId17"/>
    <p:sldLayoutId id="2147483744" r:id="rId18"/>
    <p:sldLayoutId id="2147483745" r:id="rId19"/>
    <p:sldLayoutId id="2147483746" r:id="rId20"/>
    <p:sldLayoutId id="2147483747" r:id="rId21"/>
    <p:sldLayoutId id="2147483748" r:id="rId22"/>
    <p:sldLayoutId id="2147483749" r:id="rId23"/>
    <p:sldLayoutId id="2147483750" r:id="rId24"/>
    <p:sldLayoutId id="2147483751" r:id="rId25"/>
    <p:sldLayoutId id="2147483752" r:id="rId26"/>
    <p:sldLayoutId id="2147483753" r:id="rId27"/>
    <p:sldLayoutId id="2147483754" r:id="rId28"/>
    <p:sldLayoutId id="2147483755" r:id="rId29"/>
    <p:sldLayoutId id="2147483756" r:id="rId30"/>
    <p:sldLayoutId id="2147483757" r:id="rId31"/>
    <p:sldLayoutId id="2147483758" r:id="rId32"/>
    <p:sldLayoutId id="2147483759" r:id="rId33"/>
    <p:sldLayoutId id="2147483907" r:id="rId34"/>
    <p:sldLayoutId id="2147483921" r:id="rId35"/>
  </p:sldLayoutIdLst>
  <p:hf sldNum="0" hdr="0" ft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7800" indent="-177800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914354" rtl="0" eaLnBrk="1" latinLnBrk="0" hangingPunct="1">
        <a:lnSpc>
          <a:spcPct val="90000"/>
        </a:lnSpc>
        <a:spcBef>
          <a:spcPts val="500"/>
        </a:spcBef>
        <a:buFont typeface="华文楷体" panose="02010600040101010101" pitchFamily="2" charset="-122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1338" indent="-185738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9138" indent="-177800" algn="l" defTabSz="914354" rtl="0" eaLnBrk="1" latinLnBrk="0" hangingPunct="1">
        <a:lnSpc>
          <a:spcPct val="90000"/>
        </a:lnSpc>
        <a:spcBef>
          <a:spcPts val="500"/>
        </a:spcBef>
        <a:buFont typeface="华文楷体" panose="02010600040101010101" pitchFamily="2" charset="-122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6938" indent="-177800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>
          <p15:clr>
            <a:srgbClr val="F26B43"/>
          </p15:clr>
        </p15:guide>
        <p15:guide id="2" pos="7257">
          <p15:clr>
            <a:srgbClr val="F26B43"/>
          </p15:clr>
        </p15:guide>
        <p15:guide id="3" orient="horz" pos="648">
          <p15:clr>
            <a:srgbClr val="F26B43"/>
          </p15:clr>
        </p15:guide>
        <p15:guide id="4" orient="horz" pos="708">
          <p15:clr>
            <a:srgbClr val="F26B43"/>
          </p15:clr>
        </p15:guide>
        <p15:guide id="5" orient="horz" pos="3931">
          <p15:clr>
            <a:srgbClr val="F26B43"/>
          </p15:clr>
        </p15:guide>
        <p15:guide id="6" orient="horz" pos="387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BCF4D">
              <a:alpha val="8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zh-CN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华文楷体" panose="02010600040101010101" pitchFamily="2" charset="-122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19299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30" r:id="rId6"/>
  </p:sldLayoutIdLst>
  <p:hf hdr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7800" indent="-177800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914354" rtl="0" eaLnBrk="1" latinLnBrk="0" hangingPunct="1">
        <a:lnSpc>
          <a:spcPct val="90000"/>
        </a:lnSpc>
        <a:spcBef>
          <a:spcPts val="500"/>
        </a:spcBef>
        <a:buFont typeface="华文楷体" panose="02010600040101010101" pitchFamily="2" charset="-122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1338" indent="-185738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9138" indent="-177800" algn="l" defTabSz="914354" rtl="0" eaLnBrk="1" latinLnBrk="0" hangingPunct="1">
        <a:lnSpc>
          <a:spcPct val="90000"/>
        </a:lnSpc>
        <a:spcBef>
          <a:spcPts val="500"/>
        </a:spcBef>
        <a:buFont typeface="华文楷体" panose="02010600040101010101" pitchFamily="2" charset="-122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6938" indent="-177800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>
          <p15:clr>
            <a:srgbClr val="F26B43"/>
          </p15:clr>
        </p15:guide>
        <p15:guide id="2" pos="7257">
          <p15:clr>
            <a:srgbClr val="F26B43"/>
          </p15:clr>
        </p15:guide>
        <p15:guide id="3" orient="horz" pos="648">
          <p15:clr>
            <a:srgbClr val="F26B43"/>
          </p15:clr>
        </p15:guide>
        <p15:guide id="4" orient="horz" pos="708">
          <p15:clr>
            <a:srgbClr val="F26B43"/>
          </p15:clr>
        </p15:guide>
        <p15:guide id="5" orient="horz" pos="3931">
          <p15:clr>
            <a:srgbClr val="F26B43"/>
          </p15:clr>
        </p15:guide>
        <p15:guide id="6" orient="horz" pos="387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CD108FE0-B10A-44A1-B499-04F07E737559}"/>
              </a:ext>
            </a:extLst>
          </p:cNvPr>
          <p:cNvSpPr/>
          <p:nvPr userDrawn="1"/>
        </p:nvSpPr>
        <p:spPr>
          <a:xfrm>
            <a:off x="0" y="1"/>
            <a:ext cx="12185496" cy="6855118"/>
          </a:xfrm>
          <a:prstGeom prst="rect">
            <a:avLst/>
          </a:prstGeom>
          <a:gradFill flip="none" rotWithShape="1">
            <a:gsLst>
              <a:gs pos="20000">
                <a:srgbClr val="FEF6F4">
                  <a:alpha val="96000"/>
                </a:srgbClr>
              </a:gs>
              <a:gs pos="33000">
                <a:srgbClr val="FFFCFB">
                  <a:alpha val="80000"/>
                </a:srgbClr>
              </a:gs>
              <a:gs pos="61000">
                <a:schemeClr val="bg1">
                  <a:alpha val="76000"/>
                </a:schemeClr>
              </a:gs>
              <a:gs pos="0">
                <a:srgbClr val="FDEEE9"/>
              </a:gs>
              <a:gs pos="100000">
                <a:schemeClr val="bg1">
                  <a:alpha val="76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标题占位符 1">
            <a:extLst>
              <a:ext uri="{FF2B5EF4-FFF2-40B4-BE49-F238E27FC236}">
                <a16:creationId xmlns:a16="http://schemas.microsoft.com/office/drawing/2014/main" id="{2FE71535-ADB9-49C7-BA02-1553B90F6B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900" y="0"/>
            <a:ext cx="11000390" cy="97380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zh-CN" altLang="en-US" dirty="0"/>
              <a:t>页面大标题字号建议（</a:t>
            </a:r>
            <a:r>
              <a:rPr lang="en-US" altLang="zh-CN" dirty="0"/>
              <a:t>28-36</a:t>
            </a:r>
            <a:r>
              <a:rPr lang="zh-CN" altLang="en-US" dirty="0"/>
              <a:t>）</a:t>
            </a:r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D6F5F188-67A5-4227-8B75-2C02A6BB06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29256" y="6235700"/>
            <a:ext cx="5261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fld id="{09321FF8-95CF-4FCD-B001-FA7673DD6BBC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553302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9" r:id="rId1"/>
    <p:sldLayoutId id="2147483910" r:id="rId2"/>
    <p:sldLayoutId id="2147483911" r:id="rId3"/>
    <p:sldLayoutId id="2147483912" r:id="rId4"/>
    <p:sldLayoutId id="2147483913" r:id="rId5"/>
    <p:sldLayoutId id="2147483914" r:id="rId6"/>
    <p:sldLayoutId id="2147483915" r:id="rId7"/>
    <p:sldLayoutId id="2147483916" r:id="rId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514350" indent="-514350" algn="l" defTabSz="914400" rtl="0" eaLnBrk="1" latinLnBrk="0" hangingPunct="1">
        <a:lnSpc>
          <a:spcPct val="120000"/>
        </a:lnSpc>
        <a:spcBef>
          <a:spcPts val="1000"/>
        </a:spcBef>
        <a:buFont typeface="+mj-ea"/>
        <a:buAutoNum type="ea1JpnChsDbPeriod"/>
        <a:defRPr sz="20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1pPr>
      <a:lvl2pPr marL="800100" indent="-342900" algn="l" defTabSz="914400" rtl="0" eaLnBrk="1" latinLnBrk="0" hangingPunct="1">
        <a:lnSpc>
          <a:spcPct val="120000"/>
        </a:lnSpc>
        <a:spcBef>
          <a:spcPts val="500"/>
        </a:spcBef>
        <a:buFont typeface="+mj-lt"/>
        <a:buAutoNum type="arabicPeriod"/>
        <a:defRPr sz="18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2pPr>
      <a:lvl3pPr marL="1257300" indent="-342900" algn="l" defTabSz="914400" rtl="0" eaLnBrk="1" latinLnBrk="0" hangingPunct="1">
        <a:lnSpc>
          <a:spcPct val="120000"/>
        </a:lnSpc>
        <a:spcBef>
          <a:spcPts val="500"/>
        </a:spcBef>
        <a:buFont typeface="+mj-ea"/>
        <a:buAutoNum type="circleNumDbPlain"/>
        <a:defRPr sz="16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3pPr>
      <a:lvl4pPr marL="1714500" indent="-342900" algn="l" defTabSz="914400" rtl="0" eaLnBrk="1" latinLnBrk="0" hangingPunct="1">
        <a:lnSpc>
          <a:spcPct val="120000"/>
        </a:lnSpc>
        <a:spcBef>
          <a:spcPts val="500"/>
        </a:spcBef>
        <a:buFont typeface="+mj-lt"/>
        <a:buAutoNum type="alphaLcParenR"/>
        <a:defRPr sz="14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48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0" imgH="0" progId="TCLayout.ActiveDocument.1">
                  <p:embed/>
                </p:oleObj>
              </mc:Choice>
              <mc:Fallback>
                <p:oleObj name="think-cell Slide" r:id="rId11" imgW="0" imgH="0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BCF4D">
              <a:alpha val="8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80604020202020204" pitchFamily="34" charset="0"/>
              <a:ea typeface="华文楷体" panose="02010600040101010101" pitchFamily="2" charset="-122"/>
              <a:cs typeface="+mn-cs"/>
              <a:sym typeface="Arial" panose="02080604020202020204" pitchFamily="34" charset="0"/>
            </a:endParaRPr>
          </a:p>
        </p:txBody>
      </p:sp>
      <p:sp>
        <p:nvSpPr>
          <p:cNvPr id="10" name="标题占位符 1"/>
          <p:cNvSpPr>
            <a:spLocks noGrp="1"/>
          </p:cNvSpPr>
          <p:nvPr>
            <p:ph type="title"/>
          </p:nvPr>
        </p:nvSpPr>
        <p:spPr>
          <a:xfrm>
            <a:off x="193674" y="144077"/>
            <a:ext cx="11664951" cy="54743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zh-CN" altLang="en-US" dirty="0"/>
              <a:t>主题</a:t>
            </a:r>
          </a:p>
        </p:txBody>
      </p:sp>
      <p:sp>
        <p:nvSpPr>
          <p:cNvPr id="11" name="文本占位符 2"/>
          <p:cNvSpPr>
            <a:spLocks noGrp="1"/>
          </p:cNvSpPr>
          <p:nvPr>
            <p:ph type="body" idx="1"/>
          </p:nvPr>
        </p:nvSpPr>
        <p:spPr>
          <a:xfrm>
            <a:off x="269873" y="1123950"/>
            <a:ext cx="11588751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sp>
        <p:nvSpPr>
          <p:cNvPr id="13" name="日期占位符 3"/>
          <p:cNvSpPr>
            <a:spLocks noGrp="1"/>
          </p:cNvSpPr>
          <p:nvPr>
            <p:ph type="dt" sz="half" idx="2"/>
          </p:nvPr>
        </p:nvSpPr>
        <p:spPr>
          <a:xfrm>
            <a:off x="5369980" y="6461057"/>
            <a:ext cx="1388536" cy="206381"/>
          </a:xfrm>
          <a:prstGeom prst="rect">
            <a:avLst/>
          </a:prstGeom>
        </p:spPr>
        <p:txBody>
          <a:bodyPr vert="horz" lIns="91440" tIns="0" rIns="91440" bIns="45720" rtlCol="0" anchor="t" anchorCtr="0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14" name="页脚占位符 4"/>
          <p:cNvSpPr>
            <a:spLocks noGrp="1"/>
          </p:cNvSpPr>
          <p:nvPr>
            <p:ph type="ftr" sz="quarter" idx="3"/>
          </p:nvPr>
        </p:nvSpPr>
        <p:spPr>
          <a:xfrm>
            <a:off x="269873" y="6461057"/>
            <a:ext cx="4886327" cy="215839"/>
          </a:xfrm>
          <a:prstGeom prst="rect">
            <a:avLst/>
          </a:prstGeom>
        </p:spPr>
        <p:txBody>
          <a:bodyPr vert="horz" lIns="91440" tIns="0" rIns="91440" bIns="45720" rtlCol="0" anchor="t" anchorCtr="0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华文楷体"/>
              <a:cs typeface="+mn-cs"/>
            </a:endParaRPr>
          </a:p>
        </p:txBody>
      </p:sp>
      <p:cxnSp>
        <p:nvCxnSpPr>
          <p:cNvPr id="5" name="直接连接符 4"/>
          <p:cNvCxnSpPr/>
          <p:nvPr/>
        </p:nvCxnSpPr>
        <p:spPr>
          <a:xfrm>
            <a:off x="193674" y="806516"/>
            <a:ext cx="11664951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9300883" y="6381684"/>
            <a:ext cx="2743200" cy="365125"/>
          </a:xfrm>
        </p:spPr>
        <p:txBody>
          <a:bodyPr/>
          <a:lstStyle>
            <a:lvl1pPr algn="r">
              <a:defRPr sz="1600"/>
            </a:lvl1pPr>
          </a:lstStyle>
          <a:p>
            <a:fld id="{D174682D-7201-4549-AB46-A3B3CC68F057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261688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29" r:id="rId2"/>
    <p:sldLayoutId id="2147483930" r:id="rId3"/>
    <p:sldLayoutId id="2147483931" r:id="rId4"/>
    <p:sldLayoutId id="2147483932" r:id="rId5"/>
    <p:sldLayoutId id="2147483933" r:id="rId6"/>
    <p:sldLayoutId id="2147483934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7800" indent="-177800" algn="l" defTabSz="914400" rtl="0" eaLnBrk="1" latinLnBrk="0" hangingPunct="1">
        <a:lnSpc>
          <a:spcPct val="90000"/>
        </a:lnSpc>
        <a:spcBef>
          <a:spcPts val="1000"/>
        </a:spcBef>
        <a:buFont typeface="Arial" panose="0208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914400" rtl="0" eaLnBrk="1" latinLnBrk="0" hangingPunct="1">
        <a:lnSpc>
          <a:spcPct val="90000"/>
        </a:lnSpc>
        <a:spcBef>
          <a:spcPts val="500"/>
        </a:spcBef>
        <a:buFont typeface="华文楷体" panose="02010600040101010101" pitchFamily="2" charset="-122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1655" indent="-186055" algn="l" defTabSz="914400" rtl="0" eaLnBrk="1" latinLnBrk="0" hangingPunct="1">
        <a:lnSpc>
          <a:spcPct val="90000"/>
        </a:lnSpc>
        <a:spcBef>
          <a:spcPts val="500"/>
        </a:spcBef>
        <a:buFont typeface="Arial" panose="0208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9455" indent="-177800" algn="l" defTabSz="914400" rtl="0" eaLnBrk="1" latinLnBrk="0" hangingPunct="1">
        <a:lnSpc>
          <a:spcPct val="90000"/>
        </a:lnSpc>
        <a:spcBef>
          <a:spcPts val="500"/>
        </a:spcBef>
        <a:buFont typeface="华文楷体" panose="02010600040101010101" pitchFamily="2" charset="-122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7255" indent="-177800" algn="l" defTabSz="914400" rtl="0" eaLnBrk="1" latinLnBrk="0" hangingPunct="1">
        <a:lnSpc>
          <a:spcPct val="90000"/>
        </a:lnSpc>
        <a:spcBef>
          <a:spcPts val="500"/>
        </a:spcBef>
        <a:buFont typeface="Arial" panose="0208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8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8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8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8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73.xml"/><Relationship Id="rId4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74.xml"/><Relationship Id="rId4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75.xml"/><Relationship Id="rId4" Type="http://schemas.openxmlformats.org/officeDocument/2006/relationships/image" Target="../media/image1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7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77.xml"/><Relationship Id="rId5" Type="http://schemas.openxmlformats.org/officeDocument/2006/relationships/image" Target="../media/image20.png"/><Relationship Id="rId4" Type="http://schemas.openxmlformats.org/officeDocument/2006/relationships/image" Target="../media/image1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78.xml"/><Relationship Id="rId4" Type="http://schemas.openxmlformats.org/officeDocument/2006/relationships/image" Target="../media/image1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79.xml"/><Relationship Id="rId4" Type="http://schemas.openxmlformats.org/officeDocument/2006/relationships/image" Target="../media/image1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80.xml"/><Relationship Id="rId4" Type="http://schemas.openxmlformats.org/officeDocument/2006/relationships/image" Target="../media/image1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81.xml"/><Relationship Id="rId4" Type="http://schemas.openxmlformats.org/officeDocument/2006/relationships/image" Target="../media/image1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19.png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82.xml"/><Relationship Id="rId4" Type="http://schemas.openxmlformats.org/officeDocument/2006/relationships/image" Target="../media/image17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83.xml"/><Relationship Id="rId4" Type="http://schemas.openxmlformats.org/officeDocument/2006/relationships/image" Target="../media/image17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84.xml"/><Relationship Id="rId4" Type="http://schemas.openxmlformats.org/officeDocument/2006/relationships/image" Target="../media/image17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8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86.xml"/><Relationship Id="rId4" Type="http://schemas.openxmlformats.org/officeDocument/2006/relationships/image" Target="../media/image17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87.xml"/><Relationship Id="rId5" Type="http://schemas.openxmlformats.org/officeDocument/2006/relationships/image" Target="../media/image23.png"/><Relationship Id="rId4" Type="http://schemas.openxmlformats.org/officeDocument/2006/relationships/image" Target="../media/image22.jp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88.xml"/><Relationship Id="rId4" Type="http://schemas.openxmlformats.org/officeDocument/2006/relationships/image" Target="../media/image17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89.xml"/><Relationship Id="rId4" Type="http://schemas.openxmlformats.org/officeDocument/2006/relationships/image" Target="../media/image17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90.xml"/><Relationship Id="rId4" Type="http://schemas.openxmlformats.org/officeDocument/2006/relationships/image" Target="../media/image1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91.xml"/><Relationship Id="rId4" Type="http://schemas.openxmlformats.org/officeDocument/2006/relationships/image" Target="../media/image17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92.xml"/><Relationship Id="rId5" Type="http://schemas.openxmlformats.org/officeDocument/2006/relationships/image" Target="../media/image24.gif"/><Relationship Id="rId4" Type="http://schemas.openxmlformats.org/officeDocument/2006/relationships/image" Target="../media/image17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93.xml"/><Relationship Id="rId4" Type="http://schemas.openxmlformats.org/officeDocument/2006/relationships/image" Target="../media/image17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8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94.xml"/><Relationship Id="rId4" Type="http://schemas.openxmlformats.org/officeDocument/2006/relationships/image" Target="../media/image17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95.xml"/><Relationship Id="rId5" Type="http://schemas.openxmlformats.org/officeDocument/2006/relationships/image" Target="../media/image25.png"/><Relationship Id="rId4" Type="http://schemas.openxmlformats.org/officeDocument/2006/relationships/image" Target="../media/image17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96.xml"/><Relationship Id="rId4" Type="http://schemas.openxmlformats.org/officeDocument/2006/relationships/image" Target="../media/image17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97.xml"/><Relationship Id="rId4" Type="http://schemas.openxmlformats.org/officeDocument/2006/relationships/image" Target="../media/image17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4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98.xml"/><Relationship Id="rId4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70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4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35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71.xml"/><Relationship Id="rId4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72.xml"/><Relationship Id="rId4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>
            <a:extLst>
              <a:ext uri="{FF2B5EF4-FFF2-40B4-BE49-F238E27FC236}">
                <a16:creationId xmlns:a16="http://schemas.microsoft.com/office/drawing/2014/main" id="{01F3003B-6FE5-4092-B543-6DDDD8641F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3198" y="1840475"/>
            <a:ext cx="7241433" cy="2802791"/>
          </a:xfrm>
        </p:spPr>
        <p:txBody>
          <a:bodyPr>
            <a:normAutofit/>
          </a:bodyPr>
          <a:lstStyle/>
          <a:p>
            <a:r>
              <a:rPr lang="zh-CN" altLang="en-US" dirty="0">
                <a:solidFill>
                  <a:schemeClr val="accent1"/>
                </a:solidFill>
              </a:rPr>
              <a:t>高转化文案实战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4E77560-2E00-2807-F63D-8FE34AE14BD3}"/>
              </a:ext>
            </a:extLst>
          </p:cNvPr>
          <p:cNvSpPr txBox="1"/>
          <p:nvPr/>
        </p:nvSpPr>
        <p:spPr>
          <a:xfrm>
            <a:off x="545174" y="2141651"/>
            <a:ext cx="5306096" cy="57955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lstStyle/>
          <a:p>
            <a:pPr marL="105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创课计划 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——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华文楷体"/>
              <a:ea typeface="华文楷体"/>
              <a:cs typeface="+mn-cs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E9E64419-D3C9-0BB9-2EBC-061D09862FF1}"/>
              </a:ext>
            </a:extLst>
          </p:cNvPr>
          <p:cNvSpPr txBox="1"/>
          <p:nvPr/>
        </p:nvSpPr>
        <p:spPr>
          <a:xfrm>
            <a:off x="829340" y="4114800"/>
            <a:ext cx="2913320" cy="3961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120000"/>
              </a:lnSpc>
            </a:pPr>
            <a:r>
              <a:rPr lang="zh-CN" altLang="en-US" kern="600" spc="160" dirty="0"/>
              <a:t>口袋</a:t>
            </a:r>
            <a:r>
              <a:rPr lang="en-US" altLang="zh-CN" kern="600" spc="160" dirty="0"/>
              <a:t>E</a:t>
            </a:r>
            <a:r>
              <a:rPr lang="zh-CN" altLang="en-US" kern="600" spc="160" dirty="0"/>
              <a:t>平台团队  王小芳</a:t>
            </a:r>
          </a:p>
        </p:txBody>
      </p:sp>
    </p:spTree>
    <p:extLst>
      <p:ext uri="{BB962C8B-B14F-4D97-AF65-F5344CB8AC3E}">
        <p14:creationId xmlns:p14="http://schemas.microsoft.com/office/powerpoint/2010/main" val="158027164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图片 39">
            <a:extLst>
              <a:ext uri="{FF2B5EF4-FFF2-40B4-BE49-F238E27FC236}">
                <a16:creationId xmlns:a16="http://schemas.microsoft.com/office/drawing/2014/main" id="{7CB1490E-39EF-785B-93D8-3B5E023A7BD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9418" y="253211"/>
            <a:ext cx="1837445" cy="501494"/>
          </a:xfrm>
          <a:prstGeom prst="rect">
            <a:avLst/>
          </a:prstGeom>
        </p:spPr>
      </p:pic>
      <p:sp>
        <p:nvSpPr>
          <p:cNvPr id="2" name="PA_文本框 21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>
            <a:extLst>
              <a:ext uri="{FF2B5EF4-FFF2-40B4-BE49-F238E27FC236}">
                <a16:creationId xmlns:a16="http://schemas.microsoft.com/office/drawing/2014/main" id="{EB15CC80-CF2A-2BCF-9F74-8937D327667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80230" y="330214"/>
            <a:ext cx="5152913" cy="46166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zh-CN"/>
            </a:defPPr>
            <a:lvl1pPr marL="12700" marR="0" lvl="0" indent="0" fontAlgn="auto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F05A23"/>
                </a:solidFill>
                <a:effectLst/>
                <a:uLnTx/>
                <a:uFillTx/>
                <a:latin typeface="Arial"/>
                <a:ea typeface="华文楷体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  <a:lvl6pPr>
              <a:defRPr>
                <a:latin typeface="+mn-lt"/>
                <a:ea typeface="+mn-ea"/>
                <a:cs typeface="+mn-cs"/>
              </a:defRPr>
            </a:lvl6pPr>
            <a:lvl7pPr>
              <a:defRPr>
                <a:latin typeface="+mn-lt"/>
                <a:ea typeface="+mn-ea"/>
                <a:cs typeface="+mn-cs"/>
              </a:defRPr>
            </a:lvl7pPr>
            <a:lvl8pPr>
              <a:defRPr>
                <a:latin typeface="+mn-lt"/>
                <a:ea typeface="+mn-ea"/>
                <a:cs typeface="+mn-cs"/>
              </a:defRPr>
            </a:lvl8pPr>
            <a:lvl9pPr>
              <a:defRPr>
                <a:latin typeface="+mn-lt"/>
                <a:ea typeface="+mn-ea"/>
                <a:cs typeface="+mn-cs"/>
              </a:defRPr>
            </a:lvl9pPr>
          </a:lstStyle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转化之道，有迹可循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2B23F7BC-282A-284C-1BC8-0CF3B481E51A}"/>
              </a:ext>
            </a:extLst>
          </p:cNvPr>
          <p:cNvSpPr txBox="1"/>
          <p:nvPr/>
        </p:nvSpPr>
        <p:spPr>
          <a:xfrm>
            <a:off x="280650" y="358385"/>
            <a:ext cx="6744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</a:t>
            </a:r>
            <a:r>
              <a:rPr lang="en-US" altLang="zh-CN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4" name="组合 3">
            <a:extLst>
              <a:ext uri="{FF2B5EF4-FFF2-40B4-BE49-F238E27FC236}">
                <a16:creationId xmlns:a16="http://schemas.microsoft.com/office/drawing/2014/main" id="{3983357E-505C-C769-BDE9-0368C8D6FBD2}"/>
              </a:ext>
            </a:extLst>
          </p:cNvPr>
          <p:cNvGrpSpPr/>
          <p:nvPr/>
        </p:nvGrpSpPr>
        <p:grpSpPr>
          <a:xfrm>
            <a:off x="802630" y="2872736"/>
            <a:ext cx="10866438" cy="3431449"/>
            <a:chOff x="654051" y="1904516"/>
            <a:chExt cx="10866437" cy="3431449"/>
          </a:xfrm>
        </p:grpSpPr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9844A7A2-261B-DA5D-CA97-616330B6B0D0}"/>
                </a:ext>
              </a:extLst>
            </p:cNvPr>
            <p:cNvSpPr/>
            <p:nvPr/>
          </p:nvSpPr>
          <p:spPr bwMode="auto">
            <a:xfrm rot="10800000" flipV="1">
              <a:off x="3525502" y="4800624"/>
              <a:ext cx="398188" cy="402612"/>
            </a:xfrm>
            <a:custGeom>
              <a:avLst/>
              <a:gdLst>
                <a:gd name="T0" fmla="*/ 0 w 180"/>
                <a:gd name="T1" fmla="*/ 0 h 182"/>
                <a:gd name="T2" fmla="*/ 180 w 180"/>
                <a:gd name="T3" fmla="*/ 0 h 182"/>
                <a:gd name="T4" fmla="*/ 180 w 180"/>
                <a:gd name="T5" fmla="*/ 182 h 182"/>
                <a:gd name="T6" fmla="*/ 0 w 180"/>
                <a:gd name="T7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0" h="182">
                  <a:moveTo>
                    <a:pt x="0" y="0"/>
                  </a:moveTo>
                  <a:lnTo>
                    <a:pt x="180" y="0"/>
                  </a:lnTo>
                  <a:lnTo>
                    <a:pt x="180" y="18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alpha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8AE2BDED-59FD-9F15-D537-C52EBBAC4A8E}"/>
                </a:ext>
              </a:extLst>
            </p:cNvPr>
            <p:cNvSpPr/>
            <p:nvPr/>
          </p:nvSpPr>
          <p:spPr bwMode="auto">
            <a:xfrm rot="10800000" flipV="1">
              <a:off x="3525500" y="5004142"/>
              <a:ext cx="199094" cy="331823"/>
            </a:xfrm>
            <a:custGeom>
              <a:avLst/>
              <a:gdLst>
                <a:gd name="T0" fmla="*/ 45 w 45"/>
                <a:gd name="T1" fmla="*/ 45 h 75"/>
                <a:gd name="T2" fmla="*/ 0 w 45"/>
                <a:gd name="T3" fmla="*/ 0 h 75"/>
                <a:gd name="T4" fmla="*/ 0 w 45"/>
                <a:gd name="T5" fmla="*/ 63 h 75"/>
                <a:gd name="T6" fmla="*/ 7 w 45"/>
                <a:gd name="T7" fmla="*/ 74 h 75"/>
                <a:gd name="T8" fmla="*/ 19 w 45"/>
                <a:gd name="T9" fmla="*/ 71 h 75"/>
                <a:gd name="T10" fmla="*/ 45 w 45"/>
                <a:gd name="T11" fmla="*/ 4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" h="75">
                  <a:moveTo>
                    <a:pt x="45" y="4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8"/>
                    <a:pt x="3" y="72"/>
                    <a:pt x="7" y="74"/>
                  </a:cubicBezTo>
                  <a:cubicBezTo>
                    <a:pt x="11" y="75"/>
                    <a:pt x="16" y="74"/>
                    <a:pt x="19" y="71"/>
                  </a:cubicBezTo>
                  <a:lnTo>
                    <a:pt x="45" y="45"/>
                  </a:lnTo>
                  <a:close/>
                </a:path>
              </a:pathLst>
            </a:custGeom>
            <a:solidFill>
              <a:schemeClr val="accent2">
                <a:alpha val="1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A016023D-DFC3-1943-314B-DE1F4C6B5ACB}"/>
                </a:ext>
              </a:extLst>
            </p:cNvPr>
            <p:cNvSpPr/>
            <p:nvPr/>
          </p:nvSpPr>
          <p:spPr bwMode="auto">
            <a:xfrm rot="10800000" flipV="1">
              <a:off x="7323901" y="3653899"/>
              <a:ext cx="398188" cy="402612"/>
            </a:xfrm>
            <a:custGeom>
              <a:avLst/>
              <a:gdLst>
                <a:gd name="T0" fmla="*/ 0 w 180"/>
                <a:gd name="T1" fmla="*/ 0 h 182"/>
                <a:gd name="T2" fmla="*/ 180 w 180"/>
                <a:gd name="T3" fmla="*/ 0 h 182"/>
                <a:gd name="T4" fmla="*/ 180 w 180"/>
                <a:gd name="T5" fmla="*/ 182 h 182"/>
                <a:gd name="T6" fmla="*/ 0 w 180"/>
                <a:gd name="T7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0" h="182">
                  <a:moveTo>
                    <a:pt x="0" y="0"/>
                  </a:moveTo>
                  <a:lnTo>
                    <a:pt x="180" y="0"/>
                  </a:lnTo>
                  <a:lnTo>
                    <a:pt x="180" y="18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7353227E-8F24-1358-7B40-8622500BC0EA}"/>
                </a:ext>
              </a:extLst>
            </p:cNvPr>
            <p:cNvSpPr/>
            <p:nvPr/>
          </p:nvSpPr>
          <p:spPr bwMode="auto">
            <a:xfrm rot="10800000" flipV="1">
              <a:off x="7323899" y="3857417"/>
              <a:ext cx="199094" cy="331823"/>
            </a:xfrm>
            <a:custGeom>
              <a:avLst/>
              <a:gdLst>
                <a:gd name="T0" fmla="*/ 45 w 45"/>
                <a:gd name="T1" fmla="*/ 45 h 75"/>
                <a:gd name="T2" fmla="*/ 0 w 45"/>
                <a:gd name="T3" fmla="*/ 0 h 75"/>
                <a:gd name="T4" fmla="*/ 0 w 45"/>
                <a:gd name="T5" fmla="*/ 63 h 75"/>
                <a:gd name="T6" fmla="*/ 7 w 45"/>
                <a:gd name="T7" fmla="*/ 74 h 75"/>
                <a:gd name="T8" fmla="*/ 19 w 45"/>
                <a:gd name="T9" fmla="*/ 71 h 75"/>
                <a:gd name="T10" fmla="*/ 45 w 45"/>
                <a:gd name="T11" fmla="*/ 4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" h="75">
                  <a:moveTo>
                    <a:pt x="45" y="4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8"/>
                    <a:pt x="3" y="72"/>
                    <a:pt x="7" y="74"/>
                  </a:cubicBezTo>
                  <a:cubicBezTo>
                    <a:pt x="11" y="75"/>
                    <a:pt x="16" y="74"/>
                    <a:pt x="19" y="71"/>
                  </a:cubicBezTo>
                  <a:lnTo>
                    <a:pt x="45" y="45"/>
                  </a:lnTo>
                  <a:close/>
                </a:path>
              </a:pathLst>
            </a:custGeom>
            <a:solidFill>
              <a:schemeClr val="accent1">
                <a:alpha val="1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60A1710D-0AFB-1F26-5325-C20556A47C8E}"/>
                </a:ext>
              </a:extLst>
            </p:cNvPr>
            <p:cNvSpPr/>
            <p:nvPr/>
          </p:nvSpPr>
          <p:spPr bwMode="auto">
            <a:xfrm rot="10800000" flipV="1">
              <a:off x="11122300" y="2507174"/>
              <a:ext cx="398188" cy="402612"/>
            </a:xfrm>
            <a:custGeom>
              <a:avLst/>
              <a:gdLst>
                <a:gd name="T0" fmla="*/ 0 w 180"/>
                <a:gd name="T1" fmla="*/ 0 h 182"/>
                <a:gd name="T2" fmla="*/ 180 w 180"/>
                <a:gd name="T3" fmla="*/ 0 h 182"/>
                <a:gd name="T4" fmla="*/ 180 w 180"/>
                <a:gd name="T5" fmla="*/ 182 h 182"/>
                <a:gd name="T6" fmla="*/ 0 w 180"/>
                <a:gd name="T7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0" h="182">
                  <a:moveTo>
                    <a:pt x="0" y="0"/>
                  </a:moveTo>
                  <a:lnTo>
                    <a:pt x="180" y="0"/>
                  </a:lnTo>
                  <a:lnTo>
                    <a:pt x="180" y="18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alpha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0D8CB5DE-666F-6A8B-E1E0-A489C896D5B6}"/>
                </a:ext>
              </a:extLst>
            </p:cNvPr>
            <p:cNvSpPr/>
            <p:nvPr/>
          </p:nvSpPr>
          <p:spPr bwMode="auto">
            <a:xfrm rot="10800000" flipV="1">
              <a:off x="11122298" y="2710692"/>
              <a:ext cx="199094" cy="331823"/>
            </a:xfrm>
            <a:custGeom>
              <a:avLst/>
              <a:gdLst>
                <a:gd name="T0" fmla="*/ 45 w 45"/>
                <a:gd name="T1" fmla="*/ 45 h 75"/>
                <a:gd name="T2" fmla="*/ 0 w 45"/>
                <a:gd name="T3" fmla="*/ 0 h 75"/>
                <a:gd name="T4" fmla="*/ 0 w 45"/>
                <a:gd name="T5" fmla="*/ 63 h 75"/>
                <a:gd name="T6" fmla="*/ 7 w 45"/>
                <a:gd name="T7" fmla="*/ 74 h 75"/>
                <a:gd name="T8" fmla="*/ 19 w 45"/>
                <a:gd name="T9" fmla="*/ 71 h 75"/>
                <a:gd name="T10" fmla="*/ 45 w 45"/>
                <a:gd name="T11" fmla="*/ 4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" h="75">
                  <a:moveTo>
                    <a:pt x="45" y="4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8"/>
                    <a:pt x="3" y="72"/>
                    <a:pt x="7" y="74"/>
                  </a:cubicBezTo>
                  <a:cubicBezTo>
                    <a:pt x="11" y="75"/>
                    <a:pt x="16" y="74"/>
                    <a:pt x="19" y="71"/>
                  </a:cubicBezTo>
                  <a:lnTo>
                    <a:pt x="45" y="45"/>
                  </a:lnTo>
                  <a:close/>
                </a:path>
              </a:pathLst>
            </a:custGeom>
            <a:solidFill>
              <a:schemeClr val="accent2">
                <a:alpha val="1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8" name="矩形 47">
              <a:extLst>
                <a:ext uri="{FF2B5EF4-FFF2-40B4-BE49-F238E27FC236}">
                  <a16:creationId xmlns:a16="http://schemas.microsoft.com/office/drawing/2014/main" id="{A6BEE059-D9AA-5C6C-CE32-B16561389640}"/>
                </a:ext>
              </a:extLst>
            </p:cNvPr>
            <p:cNvSpPr/>
            <p:nvPr/>
          </p:nvSpPr>
          <p:spPr bwMode="auto">
            <a:xfrm rot="10800000" flipV="1">
              <a:off x="654051" y="4197966"/>
              <a:ext cx="3261318" cy="602657"/>
            </a:xfrm>
            <a:prstGeom prst="rect">
              <a:avLst/>
            </a:prstGeom>
            <a:solidFill>
              <a:schemeClr val="accent2">
                <a:alpha val="1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ctr" anchorCtr="1" compatLnSpc="1">
              <a:prstTxWarp prst="textNoShape">
                <a:avLst/>
              </a:prstTxWarp>
              <a:normAutofit/>
            </a:bodyPr>
            <a:lstStyle/>
            <a:p>
              <a:pPr algn="ctr" defTabSz="914377">
                <a:defRPr/>
              </a:pPr>
              <a:r>
                <a:rPr lang="zh-CN" altLang="en-US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什么样的文案才能高转化？</a:t>
              </a:r>
              <a:endParaRPr 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4" name="矩形 43">
              <a:extLst>
                <a:ext uri="{FF2B5EF4-FFF2-40B4-BE49-F238E27FC236}">
                  <a16:creationId xmlns:a16="http://schemas.microsoft.com/office/drawing/2014/main" id="{C4F53E0B-704A-9318-27AE-5D6BEDEA9185}"/>
                </a:ext>
              </a:extLst>
            </p:cNvPr>
            <p:cNvSpPr/>
            <p:nvPr/>
          </p:nvSpPr>
          <p:spPr bwMode="auto">
            <a:xfrm rot="10800000" flipV="1">
              <a:off x="4452450" y="3051241"/>
              <a:ext cx="3261318" cy="602657"/>
            </a:xfrm>
            <a:prstGeom prst="rect">
              <a:avLst/>
            </a:prstGeom>
            <a:solidFill>
              <a:schemeClr val="accent1">
                <a:alpha val="1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ctr" anchorCtr="1" compatLnSpc="1">
              <a:prstTxWarp prst="textNoShape">
                <a:avLst/>
              </a:prstTxWarp>
              <a:normAutofit/>
            </a:bodyPr>
            <a:lstStyle/>
            <a:p>
              <a:pPr algn="ctr" defTabSz="914377">
                <a:defRPr/>
              </a:pPr>
              <a:r>
                <a:rPr lang="zh-CN" altLang="en-US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背后有可复制的方法吗？</a:t>
              </a:r>
              <a:endParaRPr 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9" name="矩形 38">
              <a:extLst>
                <a:ext uri="{FF2B5EF4-FFF2-40B4-BE49-F238E27FC236}">
                  <a16:creationId xmlns:a16="http://schemas.microsoft.com/office/drawing/2014/main" id="{F231DC3E-20A4-4091-7461-B579AEF186E5}"/>
                </a:ext>
              </a:extLst>
            </p:cNvPr>
            <p:cNvSpPr/>
            <p:nvPr/>
          </p:nvSpPr>
          <p:spPr bwMode="auto">
            <a:xfrm rot="10800000" flipV="1">
              <a:off x="8250849" y="1904516"/>
              <a:ext cx="3261318" cy="602657"/>
            </a:xfrm>
            <a:prstGeom prst="rect">
              <a:avLst/>
            </a:prstGeom>
            <a:solidFill>
              <a:schemeClr val="accent2">
                <a:alpha val="1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ctr" anchorCtr="1" compatLnSpc="1">
              <a:prstTxWarp prst="textNoShape">
                <a:avLst/>
              </a:prstTxWarp>
              <a:normAutofit lnSpcReduction="10000"/>
            </a:bodyPr>
            <a:lstStyle/>
            <a:p>
              <a:pPr algn="ctr" defTabSz="914377">
                <a:defRPr/>
              </a:pPr>
              <a:r>
                <a:rPr lang="zh-CN" altLang="en-US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我没有文案功底可以写出高转化文案吗？</a:t>
              </a:r>
              <a:endParaRPr 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55" name="箭头: 右 54">
            <a:extLst>
              <a:ext uri="{FF2B5EF4-FFF2-40B4-BE49-F238E27FC236}">
                <a16:creationId xmlns:a16="http://schemas.microsoft.com/office/drawing/2014/main" id="{37575654-E808-78D6-F343-691187EEF477}"/>
              </a:ext>
            </a:extLst>
          </p:cNvPr>
          <p:cNvSpPr/>
          <p:nvPr/>
        </p:nvSpPr>
        <p:spPr>
          <a:xfrm rot="20735700">
            <a:off x="3826141" y="4995123"/>
            <a:ext cx="7690867" cy="342127"/>
          </a:xfrm>
          <a:prstGeom prst="rightArrow">
            <a:avLst>
              <a:gd name="adj1" fmla="val 67167"/>
              <a:gd name="adj2" fmla="val 44925"/>
            </a:avLst>
          </a:prstGeom>
          <a:solidFill>
            <a:srgbClr val="FEF2EE"/>
          </a:solidFill>
          <a:ln w="9525" cap="flat" cmpd="sng" algn="ctr">
            <a:solidFill>
              <a:srgbClr val="FECEAF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36000" tIns="108000" rIns="36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endParaRPr lang="zh-CN" altLang="en-US" sz="1100" b="1" ker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57" name="标题 24">
            <a:extLst>
              <a:ext uri="{FF2B5EF4-FFF2-40B4-BE49-F238E27FC236}">
                <a16:creationId xmlns:a16="http://schemas.microsoft.com/office/drawing/2014/main" id="{ACC1E1A3-461A-E347-BEF5-303C887C063B}"/>
              </a:ext>
            </a:extLst>
          </p:cNvPr>
          <p:cNvSpPr txBox="1">
            <a:spLocks/>
          </p:cNvSpPr>
          <p:nvPr/>
        </p:nvSpPr>
        <p:spPr>
          <a:xfrm>
            <a:off x="1606231" y="2154342"/>
            <a:ext cx="5866247" cy="659803"/>
          </a:xfr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2200" dirty="0"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普通人也能写出</a:t>
            </a:r>
            <a:r>
              <a:rPr lang="zh-CN" altLang="en-US" sz="3000" dirty="0">
                <a:solidFill>
                  <a:srgbClr val="F05A2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高转化</a:t>
            </a:r>
            <a:r>
              <a:rPr lang="zh-CN" altLang="en-US" sz="2200" dirty="0"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文案</a:t>
            </a:r>
            <a:endParaRPr lang="zh-CN" altLang="en-US" sz="3000" b="0" dirty="0">
              <a:solidFill>
                <a:srgbClr val="F05A2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6492961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图片 39">
            <a:extLst>
              <a:ext uri="{FF2B5EF4-FFF2-40B4-BE49-F238E27FC236}">
                <a16:creationId xmlns:a16="http://schemas.microsoft.com/office/drawing/2014/main" id="{7CB1490E-39EF-785B-93D8-3B5E023A7BD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9418" y="253211"/>
            <a:ext cx="1837445" cy="501494"/>
          </a:xfrm>
          <a:prstGeom prst="rect">
            <a:avLst/>
          </a:prstGeom>
        </p:spPr>
      </p:pic>
      <p:sp>
        <p:nvSpPr>
          <p:cNvPr id="2" name="PA_文本框 21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>
            <a:extLst>
              <a:ext uri="{FF2B5EF4-FFF2-40B4-BE49-F238E27FC236}">
                <a16:creationId xmlns:a16="http://schemas.microsoft.com/office/drawing/2014/main" id="{EB15CC80-CF2A-2BCF-9F74-8937D327667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80230" y="330214"/>
            <a:ext cx="5152913" cy="46166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zh-CN"/>
            </a:defPPr>
            <a:lvl1pPr marL="12700" marR="0" lvl="0" indent="0" fontAlgn="auto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F05A23"/>
                </a:solidFill>
                <a:effectLst/>
                <a:uLnTx/>
                <a:uFillTx/>
                <a:latin typeface="Arial"/>
                <a:ea typeface="华文楷体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  <a:lvl6pPr>
              <a:defRPr>
                <a:latin typeface="+mn-lt"/>
                <a:ea typeface="+mn-ea"/>
                <a:cs typeface="+mn-cs"/>
              </a:defRPr>
            </a:lvl6pPr>
            <a:lvl7pPr>
              <a:defRPr>
                <a:latin typeface="+mn-lt"/>
                <a:ea typeface="+mn-ea"/>
                <a:cs typeface="+mn-cs"/>
              </a:defRPr>
            </a:lvl7pPr>
            <a:lvl8pPr>
              <a:defRPr>
                <a:latin typeface="+mn-lt"/>
                <a:ea typeface="+mn-ea"/>
                <a:cs typeface="+mn-cs"/>
              </a:defRPr>
            </a:lvl8pPr>
            <a:lvl9pPr>
              <a:defRPr>
                <a:latin typeface="+mn-lt"/>
                <a:ea typeface="+mn-ea"/>
                <a:cs typeface="+mn-cs"/>
              </a:defRPr>
            </a:lvl9pPr>
          </a:lstStyle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转化之道，有迹可循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2B23F7BC-282A-284C-1BC8-0CF3B481E51A}"/>
              </a:ext>
            </a:extLst>
          </p:cNvPr>
          <p:cNvSpPr txBox="1"/>
          <p:nvPr/>
        </p:nvSpPr>
        <p:spPr>
          <a:xfrm>
            <a:off x="280650" y="358385"/>
            <a:ext cx="6744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2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4" name="组合 3">
            <a:extLst>
              <a:ext uri="{FF2B5EF4-FFF2-40B4-BE49-F238E27FC236}">
                <a16:creationId xmlns:a16="http://schemas.microsoft.com/office/drawing/2014/main" id="{7B997A9B-ECD9-4C36-3F6C-2331FC81A712}"/>
              </a:ext>
            </a:extLst>
          </p:cNvPr>
          <p:cNvGrpSpPr/>
          <p:nvPr/>
        </p:nvGrpSpPr>
        <p:grpSpPr>
          <a:xfrm>
            <a:off x="666750" y="1750884"/>
            <a:ext cx="10858500" cy="3761454"/>
            <a:chOff x="660400" y="1130300"/>
            <a:chExt cx="10858500" cy="3761454"/>
          </a:xfrm>
        </p:grpSpPr>
        <p:sp>
          <p:nvSpPr>
            <p:cNvPr id="6" name="文本框 5">
              <a:extLst>
                <a:ext uri="{FF2B5EF4-FFF2-40B4-BE49-F238E27FC236}">
                  <a16:creationId xmlns:a16="http://schemas.microsoft.com/office/drawing/2014/main" id="{6E00BDBF-6952-1F95-1485-319559CA9AE0}"/>
                </a:ext>
              </a:extLst>
            </p:cNvPr>
            <p:cNvSpPr txBox="1"/>
            <p:nvPr/>
          </p:nvSpPr>
          <p:spPr>
            <a:xfrm>
              <a:off x="1701800" y="1130300"/>
              <a:ext cx="8788400" cy="576577"/>
            </a:xfrm>
            <a:prstGeom prst="rect">
              <a:avLst/>
            </a:prstGeom>
            <a:noFill/>
          </p:spPr>
          <p:txBody>
            <a:bodyPr wrap="square" anchor="b" anchorCtr="0">
              <a:normAutofit/>
            </a:bodyPr>
            <a:lstStyle/>
            <a:p>
              <a:pPr algn="ctr"/>
              <a:r>
                <a:rPr lang="en-US" altLang="zh-CN" sz="2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AIDA</a:t>
              </a:r>
              <a:r>
                <a:rPr lang="zh-CN" altLang="en-US" sz="2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营销模型，</a:t>
              </a:r>
              <a:r>
                <a:rPr lang="zh-CN" altLang="en-US" sz="3000" b="1" dirty="0">
                  <a:solidFill>
                    <a:srgbClr val="F05A23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文案转化的本质</a:t>
              </a:r>
              <a:endParaRPr lang="en-US" altLang="zh-CN" sz="3000" b="1" dirty="0">
                <a:solidFill>
                  <a:srgbClr val="F05A23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6419FC93-A82E-3E44-9092-A42019433D35}"/>
                </a:ext>
              </a:extLst>
            </p:cNvPr>
            <p:cNvGrpSpPr/>
            <p:nvPr/>
          </p:nvGrpSpPr>
          <p:grpSpPr>
            <a:xfrm>
              <a:off x="660400" y="2846344"/>
              <a:ext cx="2583543" cy="2045410"/>
              <a:chOff x="660400" y="2846344"/>
              <a:chExt cx="2583543" cy="2045410"/>
            </a:xfrm>
          </p:grpSpPr>
          <p:cxnSp>
            <p:nvCxnSpPr>
              <p:cNvPr id="25" name="直接连接符 24">
                <a:extLst>
                  <a:ext uri="{FF2B5EF4-FFF2-40B4-BE49-F238E27FC236}">
                    <a16:creationId xmlns:a16="http://schemas.microsoft.com/office/drawing/2014/main" id="{BF62C2CF-953E-5826-3237-A07D2EE32A4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626561" y="3600999"/>
                <a:ext cx="0" cy="1290755"/>
              </a:xfrm>
              <a:prstGeom prst="line">
                <a:avLst/>
              </a:prstGeom>
              <a:ln>
                <a:solidFill>
                  <a:schemeClr val="accent1">
                    <a:alpha val="80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箭头: 右 25">
                <a:extLst>
                  <a:ext uri="{FF2B5EF4-FFF2-40B4-BE49-F238E27FC236}">
                    <a16:creationId xmlns:a16="http://schemas.microsoft.com/office/drawing/2014/main" id="{F15439E8-8684-6250-9872-36E1552BAF08}"/>
                  </a:ext>
                </a:extLst>
              </p:cNvPr>
              <p:cNvSpPr/>
              <p:nvPr/>
            </p:nvSpPr>
            <p:spPr>
              <a:xfrm>
                <a:off x="660400" y="2846344"/>
                <a:ext cx="2583543" cy="1180301"/>
              </a:xfrm>
              <a:prstGeom prst="rightArrow">
                <a:avLst>
                  <a:gd name="adj1" fmla="val 50000"/>
                  <a:gd name="adj2" fmla="val 49038"/>
                </a:avLst>
              </a:prstGeom>
              <a:solidFill>
                <a:schemeClr val="accent1"/>
              </a:solidFill>
              <a:ln w="12700" cap="flat">
                <a:noFill/>
                <a:prstDash val="solid"/>
                <a:miter/>
              </a:ln>
              <a:effectLst>
                <a:outerShdw blurRad="127000" dist="63500" dir="2700000" algn="tl" rotWithShape="0">
                  <a:schemeClr val="accent1">
                    <a:alpha val="40000"/>
                  </a:schemeClr>
                </a:outerShdw>
              </a:effectLst>
            </p:spPr>
            <p:txBody>
              <a:bodyPr wrap="square" lIns="91440" tIns="45720" rIns="91440" bIns="45720" rtlCol="0" anchor="ctr">
                <a:normAutofit lnSpcReduction="10000"/>
              </a:bodyPr>
              <a:lstStyle/>
              <a:p>
                <a:pPr algn="ctr"/>
                <a:r>
                  <a:rPr lang="zh-CN" altLang="en-US" b="1" dirty="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引起注意</a:t>
                </a:r>
                <a:endParaRPr lang="en-US" altLang="zh-CN" b="1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algn="ctr"/>
                <a:r>
                  <a:rPr lang="en-US" altLang="zh-CN" b="1" dirty="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Attention</a:t>
                </a:r>
              </a:p>
            </p:txBody>
          </p:sp>
        </p:grpSp>
        <p:grpSp>
          <p:nvGrpSpPr>
            <p:cNvPr id="9" name="组合 8">
              <a:extLst>
                <a:ext uri="{FF2B5EF4-FFF2-40B4-BE49-F238E27FC236}">
                  <a16:creationId xmlns:a16="http://schemas.microsoft.com/office/drawing/2014/main" id="{B561486A-F6A0-631E-5177-543F37EB1643}"/>
                </a:ext>
              </a:extLst>
            </p:cNvPr>
            <p:cNvGrpSpPr/>
            <p:nvPr/>
          </p:nvGrpSpPr>
          <p:grpSpPr>
            <a:xfrm>
              <a:off x="3418719" y="2846344"/>
              <a:ext cx="2583543" cy="2045410"/>
              <a:chOff x="3418719" y="2846344"/>
              <a:chExt cx="2583543" cy="2045410"/>
            </a:xfrm>
          </p:grpSpPr>
          <p:cxnSp>
            <p:nvCxnSpPr>
              <p:cNvPr id="21" name="直接连接符 20">
                <a:extLst>
                  <a:ext uri="{FF2B5EF4-FFF2-40B4-BE49-F238E27FC236}">
                    <a16:creationId xmlns:a16="http://schemas.microsoft.com/office/drawing/2014/main" id="{021D58E5-09A0-9058-9C62-20EE45999E6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384880" y="3600999"/>
                <a:ext cx="0" cy="1290755"/>
              </a:xfrm>
              <a:prstGeom prst="line">
                <a:avLst/>
              </a:prstGeom>
              <a:ln>
                <a:solidFill>
                  <a:schemeClr val="accent2">
                    <a:alpha val="80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2" name="箭头: 右 21">
                <a:extLst>
                  <a:ext uri="{FF2B5EF4-FFF2-40B4-BE49-F238E27FC236}">
                    <a16:creationId xmlns:a16="http://schemas.microsoft.com/office/drawing/2014/main" id="{AC7E949F-4E98-2D32-32B5-7DE8C782BB52}"/>
                  </a:ext>
                </a:extLst>
              </p:cNvPr>
              <p:cNvSpPr/>
              <p:nvPr/>
            </p:nvSpPr>
            <p:spPr>
              <a:xfrm>
                <a:off x="3418719" y="2846344"/>
                <a:ext cx="2583543" cy="1180301"/>
              </a:xfrm>
              <a:prstGeom prst="rightArrow">
                <a:avLst>
                  <a:gd name="adj1" fmla="val 50000"/>
                  <a:gd name="adj2" fmla="val 49038"/>
                </a:avLst>
              </a:prstGeom>
              <a:solidFill>
                <a:schemeClr val="accent2"/>
              </a:solidFill>
              <a:ln w="12700" cap="flat">
                <a:noFill/>
                <a:prstDash val="solid"/>
                <a:miter/>
              </a:ln>
              <a:effectLst>
                <a:outerShdw blurRad="127000" dist="63500" dir="2700000" algn="tl" rotWithShape="0">
                  <a:schemeClr val="accent2">
                    <a:alpha val="40000"/>
                  </a:schemeClr>
                </a:outerShdw>
              </a:effectLst>
            </p:spPr>
            <p:txBody>
              <a:bodyPr wrap="square" lIns="91440" tIns="45720" rIns="91440" bIns="45720" rtlCol="0" anchor="ctr">
                <a:normAutofit lnSpcReduction="10000"/>
              </a:bodyPr>
              <a:lstStyle/>
              <a:p>
                <a:pPr algn="ctr"/>
                <a:r>
                  <a:rPr lang="zh-CN" altLang="en-US" b="1" dirty="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引发兴趣</a:t>
                </a:r>
                <a:endParaRPr lang="en-US" altLang="zh-CN" b="1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algn="ctr"/>
                <a:r>
                  <a:rPr lang="en-US" altLang="zh-CN" b="1" dirty="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Interest</a:t>
                </a:r>
              </a:p>
            </p:txBody>
          </p:sp>
        </p:grpSp>
        <p:grpSp>
          <p:nvGrpSpPr>
            <p:cNvPr id="10" name="组合 9">
              <a:extLst>
                <a:ext uri="{FF2B5EF4-FFF2-40B4-BE49-F238E27FC236}">
                  <a16:creationId xmlns:a16="http://schemas.microsoft.com/office/drawing/2014/main" id="{750905B5-5E5C-8603-20D6-544D48B33BF9}"/>
                </a:ext>
              </a:extLst>
            </p:cNvPr>
            <p:cNvGrpSpPr/>
            <p:nvPr/>
          </p:nvGrpSpPr>
          <p:grpSpPr>
            <a:xfrm>
              <a:off x="6177038" y="2846344"/>
              <a:ext cx="2583543" cy="2045410"/>
              <a:chOff x="6177038" y="2846344"/>
              <a:chExt cx="2583543" cy="2045410"/>
            </a:xfrm>
          </p:grpSpPr>
          <p:cxnSp>
            <p:nvCxnSpPr>
              <p:cNvPr id="17" name="直接连接符 16">
                <a:extLst>
                  <a:ext uri="{FF2B5EF4-FFF2-40B4-BE49-F238E27FC236}">
                    <a16:creationId xmlns:a16="http://schemas.microsoft.com/office/drawing/2014/main" id="{1F9247DC-06CC-2E13-D274-620B8C0CAAC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143199" y="3600999"/>
                <a:ext cx="0" cy="1290755"/>
              </a:xfrm>
              <a:prstGeom prst="line">
                <a:avLst/>
              </a:prstGeom>
              <a:ln>
                <a:solidFill>
                  <a:schemeClr val="accent1">
                    <a:alpha val="80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" name="箭头: 右 17">
                <a:extLst>
                  <a:ext uri="{FF2B5EF4-FFF2-40B4-BE49-F238E27FC236}">
                    <a16:creationId xmlns:a16="http://schemas.microsoft.com/office/drawing/2014/main" id="{259CA438-D115-BE0A-6C78-3F9AAB0A74A5}"/>
                  </a:ext>
                </a:extLst>
              </p:cNvPr>
              <p:cNvSpPr/>
              <p:nvPr/>
            </p:nvSpPr>
            <p:spPr>
              <a:xfrm>
                <a:off x="6177038" y="2846344"/>
                <a:ext cx="2583543" cy="1180301"/>
              </a:xfrm>
              <a:prstGeom prst="rightArrow">
                <a:avLst>
                  <a:gd name="adj1" fmla="val 50000"/>
                  <a:gd name="adj2" fmla="val 49038"/>
                </a:avLst>
              </a:prstGeom>
              <a:solidFill>
                <a:schemeClr val="accent1"/>
              </a:solidFill>
              <a:ln w="12700" cap="flat">
                <a:noFill/>
                <a:prstDash val="solid"/>
                <a:miter/>
              </a:ln>
              <a:effectLst>
                <a:outerShdw blurRad="127000" dist="63500" dir="2700000" algn="tl" rotWithShape="0">
                  <a:schemeClr val="accent1">
                    <a:alpha val="40000"/>
                  </a:schemeClr>
                </a:outerShdw>
              </a:effectLst>
            </p:spPr>
            <p:txBody>
              <a:bodyPr wrap="square" lIns="91440" tIns="45720" rIns="91440" bIns="45720" rtlCol="0" anchor="ctr">
                <a:normAutofit lnSpcReduction="10000"/>
              </a:bodyPr>
              <a:lstStyle/>
              <a:p>
                <a:pPr algn="ctr"/>
                <a:r>
                  <a:rPr lang="zh-CN" altLang="en-US" b="1" dirty="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激发欲望</a:t>
                </a:r>
                <a:endParaRPr lang="en-US" altLang="zh-CN" b="1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algn="ctr"/>
                <a:r>
                  <a:rPr lang="en-US" altLang="zh-CN" b="1" dirty="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Desire</a:t>
                </a:r>
              </a:p>
            </p:txBody>
          </p:sp>
        </p:grpSp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9F9DA5DA-50F0-0C46-183C-E8DD5FFC2967}"/>
                </a:ext>
              </a:extLst>
            </p:cNvPr>
            <p:cNvGrpSpPr/>
            <p:nvPr/>
          </p:nvGrpSpPr>
          <p:grpSpPr>
            <a:xfrm>
              <a:off x="8935357" y="2846344"/>
              <a:ext cx="2583543" cy="2045410"/>
              <a:chOff x="8935357" y="2846344"/>
              <a:chExt cx="2583543" cy="2045410"/>
            </a:xfrm>
          </p:grpSpPr>
          <p:cxnSp>
            <p:nvCxnSpPr>
              <p:cNvPr id="13" name="直接连接符 12">
                <a:extLst>
                  <a:ext uri="{FF2B5EF4-FFF2-40B4-BE49-F238E27FC236}">
                    <a16:creationId xmlns:a16="http://schemas.microsoft.com/office/drawing/2014/main" id="{78278292-6C86-CCCB-54DC-66264C986A9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901518" y="3600999"/>
                <a:ext cx="0" cy="1290755"/>
              </a:xfrm>
              <a:prstGeom prst="line">
                <a:avLst/>
              </a:prstGeom>
              <a:ln>
                <a:solidFill>
                  <a:schemeClr val="accent2">
                    <a:alpha val="80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4" name="箭头: 右 13">
                <a:extLst>
                  <a:ext uri="{FF2B5EF4-FFF2-40B4-BE49-F238E27FC236}">
                    <a16:creationId xmlns:a16="http://schemas.microsoft.com/office/drawing/2014/main" id="{200F1D2D-D8EF-F77A-179E-C9440455A7F6}"/>
                  </a:ext>
                </a:extLst>
              </p:cNvPr>
              <p:cNvSpPr/>
              <p:nvPr/>
            </p:nvSpPr>
            <p:spPr>
              <a:xfrm>
                <a:off x="8935357" y="2846344"/>
                <a:ext cx="2583543" cy="1180301"/>
              </a:xfrm>
              <a:prstGeom prst="rightArrow">
                <a:avLst>
                  <a:gd name="adj1" fmla="val 50000"/>
                  <a:gd name="adj2" fmla="val 49038"/>
                </a:avLst>
              </a:prstGeom>
              <a:solidFill>
                <a:schemeClr val="accent2"/>
              </a:solidFill>
              <a:ln w="12700" cap="flat">
                <a:noFill/>
                <a:prstDash val="solid"/>
                <a:miter/>
              </a:ln>
              <a:effectLst>
                <a:outerShdw blurRad="127000" dist="63500" dir="2700000" algn="tl" rotWithShape="0">
                  <a:schemeClr val="accent2">
                    <a:alpha val="40000"/>
                  </a:schemeClr>
                </a:outerShdw>
              </a:effectLst>
            </p:spPr>
            <p:txBody>
              <a:bodyPr wrap="square" lIns="91440" tIns="45720" rIns="91440" bIns="45720" rtlCol="0" anchor="ctr">
                <a:normAutofit lnSpcReduction="10000"/>
              </a:bodyPr>
              <a:lstStyle/>
              <a:p>
                <a:pPr algn="ctr"/>
                <a:r>
                  <a:rPr lang="zh-CN" altLang="en-US" b="1" dirty="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促使行动</a:t>
                </a:r>
                <a:endParaRPr lang="en-US" altLang="zh-CN" b="1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algn="ctr"/>
                <a:r>
                  <a:rPr lang="en-US" altLang="zh-CN" b="1" dirty="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Action</a:t>
                </a:r>
              </a:p>
            </p:txBody>
          </p:sp>
        </p:grpSp>
      </p:grpSp>
      <p:sp>
        <p:nvSpPr>
          <p:cNvPr id="30" name="矩形: 圆角 29">
            <a:extLst>
              <a:ext uri="{FF2B5EF4-FFF2-40B4-BE49-F238E27FC236}">
                <a16:creationId xmlns:a16="http://schemas.microsoft.com/office/drawing/2014/main" id="{471DE066-58F4-37BF-CCD8-49EA140FE785}"/>
              </a:ext>
            </a:extLst>
          </p:cNvPr>
          <p:cNvSpPr/>
          <p:nvPr/>
        </p:nvSpPr>
        <p:spPr>
          <a:xfrm>
            <a:off x="885044" y="5163671"/>
            <a:ext cx="9983096" cy="796065"/>
          </a:xfrm>
          <a:prstGeom prst="roundRect">
            <a:avLst/>
          </a:prstGeom>
          <a:solidFill>
            <a:sysClr val="window" lastClr="FFFFFF"/>
          </a:solidFill>
          <a:ln w="9525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zh-CN" altLang="en-US" b="1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如果我们是客户，我们转化的是不是逃不出这个模型</a:t>
            </a:r>
          </a:p>
        </p:txBody>
      </p:sp>
    </p:spTree>
    <p:extLst>
      <p:ext uri="{BB962C8B-B14F-4D97-AF65-F5344CB8AC3E}">
        <p14:creationId xmlns:p14="http://schemas.microsoft.com/office/powerpoint/2010/main" val="361928161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图片 39">
            <a:extLst>
              <a:ext uri="{FF2B5EF4-FFF2-40B4-BE49-F238E27FC236}">
                <a16:creationId xmlns:a16="http://schemas.microsoft.com/office/drawing/2014/main" id="{7CB1490E-39EF-785B-93D8-3B5E023A7BD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9418" y="253211"/>
            <a:ext cx="1837445" cy="501494"/>
          </a:xfrm>
          <a:prstGeom prst="rect">
            <a:avLst/>
          </a:prstGeom>
        </p:spPr>
      </p:pic>
      <p:sp>
        <p:nvSpPr>
          <p:cNvPr id="2" name="PA_文本框 21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>
            <a:extLst>
              <a:ext uri="{FF2B5EF4-FFF2-40B4-BE49-F238E27FC236}">
                <a16:creationId xmlns:a16="http://schemas.microsoft.com/office/drawing/2014/main" id="{EB15CC80-CF2A-2BCF-9F74-8937D327667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80230" y="330214"/>
            <a:ext cx="5152913" cy="46166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zh-CN"/>
            </a:defPPr>
            <a:lvl1pPr marL="12700" marR="0" lvl="0" indent="0" fontAlgn="auto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F05A23"/>
                </a:solidFill>
                <a:effectLst/>
                <a:uLnTx/>
                <a:uFillTx/>
                <a:latin typeface="Arial"/>
                <a:ea typeface="华文楷体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  <a:lvl6pPr>
              <a:defRPr>
                <a:latin typeface="+mn-lt"/>
                <a:ea typeface="+mn-ea"/>
                <a:cs typeface="+mn-cs"/>
              </a:defRPr>
            </a:lvl6pPr>
            <a:lvl7pPr>
              <a:defRPr>
                <a:latin typeface="+mn-lt"/>
                <a:ea typeface="+mn-ea"/>
                <a:cs typeface="+mn-cs"/>
              </a:defRPr>
            </a:lvl7pPr>
            <a:lvl8pPr>
              <a:defRPr>
                <a:latin typeface="+mn-lt"/>
                <a:ea typeface="+mn-ea"/>
                <a:cs typeface="+mn-cs"/>
              </a:defRPr>
            </a:lvl8pPr>
            <a:lvl9pPr>
              <a:defRPr>
                <a:latin typeface="+mn-lt"/>
                <a:ea typeface="+mn-ea"/>
                <a:cs typeface="+mn-cs"/>
              </a:defRPr>
            </a:lvl9pPr>
          </a:lstStyle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转化之道，有迹可循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2B23F7BC-282A-284C-1BC8-0CF3B481E51A}"/>
              </a:ext>
            </a:extLst>
          </p:cNvPr>
          <p:cNvSpPr txBox="1"/>
          <p:nvPr/>
        </p:nvSpPr>
        <p:spPr>
          <a:xfrm>
            <a:off x="280650" y="358385"/>
            <a:ext cx="6744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2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8" name="组合 7">
            <a:extLst>
              <a:ext uri="{FF2B5EF4-FFF2-40B4-BE49-F238E27FC236}">
                <a16:creationId xmlns:a16="http://schemas.microsoft.com/office/drawing/2014/main" id="{EBB5DBE2-F37C-BD3E-8CD3-3DEE4962C841}"/>
              </a:ext>
            </a:extLst>
          </p:cNvPr>
          <p:cNvGrpSpPr/>
          <p:nvPr/>
        </p:nvGrpSpPr>
        <p:grpSpPr>
          <a:xfrm>
            <a:off x="775083" y="1498977"/>
            <a:ext cx="10716118" cy="4479705"/>
            <a:chOff x="802781" y="1446590"/>
            <a:chExt cx="10716118" cy="4479705"/>
          </a:xfrm>
        </p:grpSpPr>
        <p:sp>
          <p:nvSpPr>
            <p:cNvPr id="15" name="文本框 14">
              <a:extLst>
                <a:ext uri="{FF2B5EF4-FFF2-40B4-BE49-F238E27FC236}">
                  <a16:creationId xmlns:a16="http://schemas.microsoft.com/office/drawing/2014/main" id="{A36358F1-E7D1-F104-1732-5959C111F4A4}"/>
                </a:ext>
              </a:extLst>
            </p:cNvPr>
            <p:cNvSpPr txBox="1"/>
            <p:nvPr/>
          </p:nvSpPr>
          <p:spPr>
            <a:xfrm>
              <a:off x="1434682" y="1446590"/>
              <a:ext cx="9017946" cy="61846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b" anchorCtr="0">
              <a:normAutofit/>
            </a:bodyPr>
            <a:lstStyle/>
            <a:p>
              <a:pPr algn="ctr" defTabSz="913742">
                <a:buSzPct val="25000"/>
                <a:defRPr/>
              </a:pPr>
              <a:r>
                <a:rPr lang="zh-CN" altLang="en-US" sz="2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高转化文案有</a:t>
              </a:r>
              <a:r>
                <a:rPr lang="en-US" altLang="zh-CN" sz="3000" b="1" dirty="0">
                  <a:solidFill>
                    <a:srgbClr val="F05A23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</a:t>
              </a:r>
              <a:r>
                <a:rPr lang="zh-CN" altLang="en-US" sz="3000" b="1" dirty="0">
                  <a:solidFill>
                    <a:srgbClr val="F05A23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个通用公式</a:t>
              </a:r>
              <a:endParaRPr lang="en-US" altLang="zh-CN" sz="30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6" name="组合 15">
              <a:extLst>
                <a:ext uri="{FF2B5EF4-FFF2-40B4-BE49-F238E27FC236}">
                  <a16:creationId xmlns:a16="http://schemas.microsoft.com/office/drawing/2014/main" id="{3B8027E5-F3F7-FA99-3611-79719713E2D3}"/>
                </a:ext>
              </a:extLst>
            </p:cNvPr>
            <p:cNvGrpSpPr/>
            <p:nvPr/>
          </p:nvGrpSpPr>
          <p:grpSpPr>
            <a:xfrm>
              <a:off x="802781" y="3175470"/>
              <a:ext cx="2132543" cy="2750825"/>
              <a:chOff x="802781" y="3175470"/>
              <a:chExt cx="2132543" cy="2750825"/>
            </a:xfrm>
          </p:grpSpPr>
          <p:sp>
            <p:nvSpPr>
              <p:cNvPr id="41" name="任意多边形: 形状 40">
                <a:extLst>
                  <a:ext uri="{FF2B5EF4-FFF2-40B4-BE49-F238E27FC236}">
                    <a16:creationId xmlns:a16="http://schemas.microsoft.com/office/drawing/2014/main" id="{E7098DE7-0B09-BE3B-E78E-21486343CABB}"/>
                  </a:ext>
                </a:extLst>
              </p:cNvPr>
              <p:cNvSpPr/>
              <p:nvPr/>
            </p:nvSpPr>
            <p:spPr bwMode="auto">
              <a:xfrm>
                <a:off x="1309814" y="3755164"/>
                <a:ext cx="969909" cy="942430"/>
              </a:xfrm>
              <a:custGeom>
                <a:avLst/>
                <a:gdLst>
                  <a:gd name="T0" fmla="*/ 988 w 988"/>
                  <a:gd name="T1" fmla="*/ 0 h 988"/>
                  <a:gd name="T2" fmla="*/ 0 w 988"/>
                  <a:gd name="T3" fmla="*/ 0 h 988"/>
                  <a:gd name="T4" fmla="*/ 343 w 988"/>
                  <a:gd name="T5" fmla="*/ 668 h 988"/>
                  <a:gd name="T6" fmla="*/ 241 w 988"/>
                  <a:gd name="T7" fmla="*/ 668 h 988"/>
                  <a:gd name="T8" fmla="*/ 520 w 988"/>
                  <a:gd name="T9" fmla="*/ 988 h 988"/>
                  <a:gd name="T10" fmla="*/ 804 w 988"/>
                  <a:gd name="T11" fmla="*/ 668 h 988"/>
                  <a:gd name="T12" fmla="*/ 696 w 988"/>
                  <a:gd name="T13" fmla="*/ 668 h 988"/>
                  <a:gd name="T14" fmla="*/ 988 w 988"/>
                  <a:gd name="T15" fmla="*/ 0 h 9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88" h="988">
                    <a:moveTo>
                      <a:pt x="988" y="0"/>
                    </a:moveTo>
                    <a:lnTo>
                      <a:pt x="0" y="0"/>
                    </a:lnTo>
                    <a:lnTo>
                      <a:pt x="343" y="668"/>
                    </a:lnTo>
                    <a:lnTo>
                      <a:pt x="241" y="668"/>
                    </a:lnTo>
                    <a:lnTo>
                      <a:pt x="520" y="988"/>
                    </a:lnTo>
                    <a:lnTo>
                      <a:pt x="804" y="668"/>
                    </a:lnTo>
                    <a:lnTo>
                      <a:pt x="696" y="668"/>
                    </a:lnTo>
                    <a:lnTo>
                      <a:pt x="988" y="0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40000"/>
                    </a:scheme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zh-CN" altLang="en-US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2" name="矩形: 圆角 41">
                <a:extLst>
                  <a:ext uri="{FF2B5EF4-FFF2-40B4-BE49-F238E27FC236}">
                    <a16:creationId xmlns:a16="http://schemas.microsoft.com/office/drawing/2014/main" id="{D2156A26-6D12-A5BC-161F-6F1E108D964B}"/>
                  </a:ext>
                </a:extLst>
              </p:cNvPr>
              <p:cNvSpPr/>
              <p:nvPr/>
            </p:nvSpPr>
            <p:spPr>
              <a:xfrm>
                <a:off x="802782" y="3175470"/>
                <a:ext cx="2132542" cy="579694"/>
              </a:xfrm>
              <a:prstGeom prst="roundRect">
                <a:avLst>
                  <a:gd name="adj" fmla="val 50000"/>
                </a:avLst>
              </a:prstGeom>
              <a:solidFill>
                <a:schemeClr val="accent1">
                  <a:alpha val="15000"/>
                </a:schemeClr>
              </a:solidFill>
              <a:ln w="5715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/>
              <a:p>
                <a:pPr algn="ctr" defTabSz="913742"/>
                <a:r>
                  <a:rPr lang="zh-CN" altLang="en-US" b="1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吸睛的标题</a:t>
                </a:r>
                <a:endParaRPr lang="en-US" altLang="zh-CN" b="1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3" name="矩形 42">
                <a:extLst>
                  <a:ext uri="{FF2B5EF4-FFF2-40B4-BE49-F238E27FC236}">
                    <a16:creationId xmlns:a16="http://schemas.microsoft.com/office/drawing/2014/main" id="{8311A11A-D73C-F03D-D1B2-E612D1C70906}"/>
                  </a:ext>
                </a:extLst>
              </p:cNvPr>
              <p:cNvSpPr/>
              <p:nvPr/>
            </p:nvSpPr>
            <p:spPr bwMode="auto">
              <a:xfrm>
                <a:off x="802781" y="4865580"/>
                <a:ext cx="2132543" cy="106071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1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r>
                  <a:rPr kumimoji="1" lang="zh-CN" altLang="en-US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用标题吸引注意力</a:t>
                </a:r>
                <a:endParaRPr kumimoji="1"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9" name="组合 18">
              <a:extLst>
                <a:ext uri="{FF2B5EF4-FFF2-40B4-BE49-F238E27FC236}">
                  <a16:creationId xmlns:a16="http://schemas.microsoft.com/office/drawing/2014/main" id="{F82F1965-B7B0-4153-D2A5-D14AB6E0B9A1}"/>
                </a:ext>
              </a:extLst>
            </p:cNvPr>
            <p:cNvGrpSpPr/>
            <p:nvPr/>
          </p:nvGrpSpPr>
          <p:grpSpPr>
            <a:xfrm>
              <a:off x="3589688" y="3175470"/>
              <a:ext cx="2281113" cy="2750824"/>
              <a:chOff x="3589688" y="3175470"/>
              <a:chExt cx="2281113" cy="2750824"/>
            </a:xfrm>
          </p:grpSpPr>
          <p:sp>
            <p:nvSpPr>
              <p:cNvPr id="36" name="任意多边形: 形状 35">
                <a:extLst>
                  <a:ext uri="{FF2B5EF4-FFF2-40B4-BE49-F238E27FC236}">
                    <a16:creationId xmlns:a16="http://schemas.microsoft.com/office/drawing/2014/main" id="{D0134073-3CEC-876B-F851-C3C9180BEEA9}"/>
                  </a:ext>
                </a:extLst>
              </p:cNvPr>
              <p:cNvSpPr/>
              <p:nvPr/>
            </p:nvSpPr>
            <p:spPr bwMode="auto">
              <a:xfrm>
                <a:off x="4171006" y="3755164"/>
                <a:ext cx="969909" cy="942430"/>
              </a:xfrm>
              <a:custGeom>
                <a:avLst/>
                <a:gdLst>
                  <a:gd name="T0" fmla="*/ 988 w 988"/>
                  <a:gd name="T1" fmla="*/ 0 h 988"/>
                  <a:gd name="T2" fmla="*/ 0 w 988"/>
                  <a:gd name="T3" fmla="*/ 0 h 988"/>
                  <a:gd name="T4" fmla="*/ 343 w 988"/>
                  <a:gd name="T5" fmla="*/ 668 h 988"/>
                  <a:gd name="T6" fmla="*/ 241 w 988"/>
                  <a:gd name="T7" fmla="*/ 668 h 988"/>
                  <a:gd name="T8" fmla="*/ 520 w 988"/>
                  <a:gd name="T9" fmla="*/ 988 h 988"/>
                  <a:gd name="T10" fmla="*/ 804 w 988"/>
                  <a:gd name="T11" fmla="*/ 668 h 988"/>
                  <a:gd name="T12" fmla="*/ 696 w 988"/>
                  <a:gd name="T13" fmla="*/ 668 h 988"/>
                  <a:gd name="T14" fmla="*/ 988 w 988"/>
                  <a:gd name="T15" fmla="*/ 0 h 9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88" h="988">
                    <a:moveTo>
                      <a:pt x="988" y="0"/>
                    </a:moveTo>
                    <a:lnTo>
                      <a:pt x="0" y="0"/>
                    </a:lnTo>
                    <a:lnTo>
                      <a:pt x="343" y="668"/>
                    </a:lnTo>
                    <a:lnTo>
                      <a:pt x="241" y="668"/>
                    </a:lnTo>
                    <a:lnTo>
                      <a:pt x="520" y="988"/>
                    </a:lnTo>
                    <a:lnTo>
                      <a:pt x="804" y="668"/>
                    </a:lnTo>
                    <a:lnTo>
                      <a:pt x="696" y="668"/>
                    </a:lnTo>
                    <a:lnTo>
                      <a:pt x="988" y="0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40000"/>
                    </a:scheme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zh-CN" altLang="en-US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7" name="矩形: 圆角 36">
                <a:extLst>
                  <a:ext uri="{FF2B5EF4-FFF2-40B4-BE49-F238E27FC236}">
                    <a16:creationId xmlns:a16="http://schemas.microsoft.com/office/drawing/2014/main" id="{0DF9B83A-8E91-9BA0-7067-39BE76B251DC}"/>
                  </a:ext>
                </a:extLst>
              </p:cNvPr>
              <p:cNvSpPr/>
              <p:nvPr/>
            </p:nvSpPr>
            <p:spPr>
              <a:xfrm>
                <a:off x="3663974" y="3175470"/>
                <a:ext cx="2132542" cy="579694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95000"/>
                </a:schemeClr>
              </a:solidFill>
              <a:ln w="57150" cap="rnd">
                <a:noFill/>
                <a:prstDash val="solid"/>
                <a:round/>
              </a:ln>
              <a:effectLst>
                <a:outerShdw blurRad="50800" dist="50800" dir="5400000" algn="ctr" rotWithShape="0">
                  <a:schemeClr val="accent1">
                    <a:alpha val="20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/>
              <a:p>
                <a:pPr algn="ctr" defTabSz="913742"/>
                <a:r>
                  <a:rPr lang="zh-CN" altLang="en-US" b="1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有趣的开头</a:t>
                </a:r>
                <a:endParaRPr lang="en-US" altLang="zh-CN" b="1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8" name="矩形 37">
                <a:extLst>
                  <a:ext uri="{FF2B5EF4-FFF2-40B4-BE49-F238E27FC236}">
                    <a16:creationId xmlns:a16="http://schemas.microsoft.com/office/drawing/2014/main" id="{03A4A017-ED42-3486-73AB-F8B24B8FFDAD}"/>
                  </a:ext>
                </a:extLst>
              </p:cNvPr>
              <p:cNvSpPr/>
              <p:nvPr/>
            </p:nvSpPr>
            <p:spPr bwMode="auto">
              <a:xfrm>
                <a:off x="3589688" y="4865579"/>
                <a:ext cx="2281113" cy="106071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1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r>
                  <a:rPr kumimoji="1" lang="zh-CN" altLang="en-US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开头故事让用户感兴趣</a:t>
                </a:r>
                <a:endParaRPr kumimoji="1"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20" name="组合 19">
              <a:extLst>
                <a:ext uri="{FF2B5EF4-FFF2-40B4-BE49-F238E27FC236}">
                  <a16:creationId xmlns:a16="http://schemas.microsoft.com/office/drawing/2014/main" id="{D1EC8C56-EB99-DF2D-F875-3A558F58A986}"/>
                </a:ext>
              </a:extLst>
            </p:cNvPr>
            <p:cNvGrpSpPr/>
            <p:nvPr/>
          </p:nvGrpSpPr>
          <p:grpSpPr>
            <a:xfrm>
              <a:off x="6376596" y="3175470"/>
              <a:ext cx="2355398" cy="2661523"/>
              <a:chOff x="6376596" y="3175470"/>
              <a:chExt cx="2355398" cy="2661523"/>
            </a:xfrm>
          </p:grpSpPr>
          <p:sp>
            <p:nvSpPr>
              <p:cNvPr id="32" name="任意多边形: 形状 31">
                <a:extLst>
                  <a:ext uri="{FF2B5EF4-FFF2-40B4-BE49-F238E27FC236}">
                    <a16:creationId xmlns:a16="http://schemas.microsoft.com/office/drawing/2014/main" id="{A48FCDF7-8BE5-BE67-A581-2717D1A56AB5}"/>
                  </a:ext>
                </a:extLst>
              </p:cNvPr>
              <p:cNvSpPr/>
              <p:nvPr/>
            </p:nvSpPr>
            <p:spPr bwMode="auto">
              <a:xfrm>
                <a:off x="7106482" y="3755164"/>
                <a:ext cx="969909" cy="942430"/>
              </a:xfrm>
              <a:custGeom>
                <a:avLst/>
                <a:gdLst>
                  <a:gd name="T0" fmla="*/ 988 w 988"/>
                  <a:gd name="T1" fmla="*/ 0 h 988"/>
                  <a:gd name="T2" fmla="*/ 0 w 988"/>
                  <a:gd name="T3" fmla="*/ 0 h 988"/>
                  <a:gd name="T4" fmla="*/ 343 w 988"/>
                  <a:gd name="T5" fmla="*/ 668 h 988"/>
                  <a:gd name="T6" fmla="*/ 241 w 988"/>
                  <a:gd name="T7" fmla="*/ 668 h 988"/>
                  <a:gd name="T8" fmla="*/ 520 w 988"/>
                  <a:gd name="T9" fmla="*/ 988 h 988"/>
                  <a:gd name="T10" fmla="*/ 804 w 988"/>
                  <a:gd name="T11" fmla="*/ 668 h 988"/>
                  <a:gd name="T12" fmla="*/ 696 w 988"/>
                  <a:gd name="T13" fmla="*/ 668 h 988"/>
                  <a:gd name="T14" fmla="*/ 988 w 988"/>
                  <a:gd name="T15" fmla="*/ 0 h 9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88" h="988">
                    <a:moveTo>
                      <a:pt x="988" y="0"/>
                    </a:moveTo>
                    <a:lnTo>
                      <a:pt x="0" y="0"/>
                    </a:lnTo>
                    <a:lnTo>
                      <a:pt x="343" y="668"/>
                    </a:lnTo>
                    <a:lnTo>
                      <a:pt x="241" y="668"/>
                    </a:lnTo>
                    <a:lnTo>
                      <a:pt x="520" y="988"/>
                    </a:lnTo>
                    <a:lnTo>
                      <a:pt x="804" y="668"/>
                    </a:lnTo>
                    <a:lnTo>
                      <a:pt x="696" y="668"/>
                    </a:lnTo>
                    <a:lnTo>
                      <a:pt x="988" y="0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40000"/>
                    </a:scheme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zh-CN" altLang="en-US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3" name="矩形: 圆角 32">
                <a:extLst>
                  <a:ext uri="{FF2B5EF4-FFF2-40B4-BE49-F238E27FC236}">
                    <a16:creationId xmlns:a16="http://schemas.microsoft.com/office/drawing/2014/main" id="{BBD72306-816A-7C6E-3636-82DA335F29F5}"/>
                  </a:ext>
                </a:extLst>
              </p:cNvPr>
              <p:cNvSpPr/>
              <p:nvPr/>
            </p:nvSpPr>
            <p:spPr>
              <a:xfrm>
                <a:off x="6525166" y="3175470"/>
                <a:ext cx="2132542" cy="579694"/>
              </a:xfrm>
              <a:prstGeom prst="roundRect">
                <a:avLst>
                  <a:gd name="adj" fmla="val 50000"/>
                </a:avLst>
              </a:prstGeom>
              <a:solidFill>
                <a:schemeClr val="accent1">
                  <a:alpha val="15000"/>
                </a:schemeClr>
              </a:solidFill>
              <a:ln w="5715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/>
              <a:p>
                <a:pPr algn="ctr" defTabSz="913742"/>
                <a:r>
                  <a:rPr lang="zh-CN" altLang="en-US" b="1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实用的产品内容</a:t>
                </a:r>
                <a:endParaRPr lang="en-US" altLang="zh-CN" b="1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4" name="矩形 33">
                <a:extLst>
                  <a:ext uri="{FF2B5EF4-FFF2-40B4-BE49-F238E27FC236}">
                    <a16:creationId xmlns:a16="http://schemas.microsoft.com/office/drawing/2014/main" id="{4885E656-2032-6878-596A-ABF4626F7350}"/>
                  </a:ext>
                </a:extLst>
              </p:cNvPr>
              <p:cNvSpPr/>
              <p:nvPr/>
            </p:nvSpPr>
            <p:spPr bwMode="auto">
              <a:xfrm>
                <a:off x="6376596" y="4776278"/>
                <a:ext cx="2355398" cy="106071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1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r>
                  <a:rPr kumimoji="1" lang="zh-CN" altLang="en-US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产品卖点激发用户欲望</a:t>
                </a:r>
                <a:endParaRPr kumimoji="1"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23" name="组合 22">
              <a:extLst>
                <a:ext uri="{FF2B5EF4-FFF2-40B4-BE49-F238E27FC236}">
                  <a16:creationId xmlns:a16="http://schemas.microsoft.com/office/drawing/2014/main" id="{B760E230-3417-38C0-8F3B-DE14C31F5670}"/>
                </a:ext>
              </a:extLst>
            </p:cNvPr>
            <p:cNvGrpSpPr/>
            <p:nvPr/>
          </p:nvGrpSpPr>
          <p:grpSpPr>
            <a:xfrm>
              <a:off x="9098879" y="3175470"/>
              <a:ext cx="2420020" cy="2660290"/>
              <a:chOff x="9098879" y="3175470"/>
              <a:chExt cx="2420020" cy="2660290"/>
            </a:xfrm>
          </p:grpSpPr>
          <p:sp>
            <p:nvSpPr>
              <p:cNvPr id="27" name="任意多边形: 形状 26">
                <a:extLst>
                  <a:ext uri="{FF2B5EF4-FFF2-40B4-BE49-F238E27FC236}">
                    <a16:creationId xmlns:a16="http://schemas.microsoft.com/office/drawing/2014/main" id="{FD935059-3C2A-2CC4-E60A-A009AD25FAB5}"/>
                  </a:ext>
                </a:extLst>
              </p:cNvPr>
              <p:cNvSpPr/>
              <p:nvPr/>
            </p:nvSpPr>
            <p:spPr bwMode="auto">
              <a:xfrm>
                <a:off x="9977116" y="3755164"/>
                <a:ext cx="969909" cy="942430"/>
              </a:xfrm>
              <a:custGeom>
                <a:avLst/>
                <a:gdLst>
                  <a:gd name="T0" fmla="*/ 988 w 988"/>
                  <a:gd name="T1" fmla="*/ 0 h 988"/>
                  <a:gd name="T2" fmla="*/ 0 w 988"/>
                  <a:gd name="T3" fmla="*/ 0 h 988"/>
                  <a:gd name="T4" fmla="*/ 343 w 988"/>
                  <a:gd name="T5" fmla="*/ 668 h 988"/>
                  <a:gd name="T6" fmla="*/ 241 w 988"/>
                  <a:gd name="T7" fmla="*/ 668 h 988"/>
                  <a:gd name="T8" fmla="*/ 520 w 988"/>
                  <a:gd name="T9" fmla="*/ 988 h 988"/>
                  <a:gd name="T10" fmla="*/ 804 w 988"/>
                  <a:gd name="T11" fmla="*/ 668 h 988"/>
                  <a:gd name="T12" fmla="*/ 696 w 988"/>
                  <a:gd name="T13" fmla="*/ 668 h 988"/>
                  <a:gd name="T14" fmla="*/ 988 w 988"/>
                  <a:gd name="T15" fmla="*/ 0 h 9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88" h="988">
                    <a:moveTo>
                      <a:pt x="988" y="0"/>
                    </a:moveTo>
                    <a:lnTo>
                      <a:pt x="0" y="0"/>
                    </a:lnTo>
                    <a:lnTo>
                      <a:pt x="343" y="668"/>
                    </a:lnTo>
                    <a:lnTo>
                      <a:pt x="241" y="668"/>
                    </a:lnTo>
                    <a:lnTo>
                      <a:pt x="520" y="988"/>
                    </a:lnTo>
                    <a:lnTo>
                      <a:pt x="804" y="668"/>
                    </a:lnTo>
                    <a:lnTo>
                      <a:pt x="696" y="668"/>
                    </a:lnTo>
                    <a:lnTo>
                      <a:pt x="988" y="0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40000"/>
                    </a:scheme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zh-CN" altLang="en-US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8" name="矩形: 圆角 27">
                <a:extLst>
                  <a:ext uri="{FF2B5EF4-FFF2-40B4-BE49-F238E27FC236}">
                    <a16:creationId xmlns:a16="http://schemas.microsoft.com/office/drawing/2014/main" id="{C1B4E1E0-5617-4A52-C41D-45B6B7118F9C}"/>
                  </a:ext>
                </a:extLst>
              </p:cNvPr>
              <p:cNvSpPr/>
              <p:nvPr/>
            </p:nvSpPr>
            <p:spPr>
              <a:xfrm>
                <a:off x="9386357" y="3175470"/>
                <a:ext cx="2132542" cy="579694"/>
              </a:xfrm>
              <a:prstGeom prst="roundRect">
                <a:avLst>
                  <a:gd name="adj" fmla="val 50000"/>
                </a:avLst>
              </a:prstGeom>
              <a:solidFill>
                <a:schemeClr val="accent1">
                  <a:alpha val="15000"/>
                </a:schemeClr>
              </a:solidFill>
              <a:ln w="5715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/>
              <a:p>
                <a:pPr algn="ctr" defTabSz="913742"/>
                <a:r>
                  <a:rPr lang="zh-CN" altLang="en-US" b="1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明确的行动指引</a:t>
                </a:r>
                <a:endParaRPr lang="en-US" altLang="zh-CN" b="1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9" name="矩形 28">
                <a:extLst>
                  <a:ext uri="{FF2B5EF4-FFF2-40B4-BE49-F238E27FC236}">
                    <a16:creationId xmlns:a16="http://schemas.microsoft.com/office/drawing/2014/main" id="{B6C1D1CB-E4D0-CFDE-ED8B-FEE665F0B4E2}"/>
                  </a:ext>
                </a:extLst>
              </p:cNvPr>
              <p:cNvSpPr/>
              <p:nvPr/>
            </p:nvSpPr>
            <p:spPr bwMode="auto">
              <a:xfrm>
                <a:off x="9098879" y="4775045"/>
                <a:ext cx="2355397" cy="106071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1">
                <a:no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r>
                  <a:rPr kumimoji="1" lang="zh-CN" altLang="en-US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行动指引不给用户拖延</a:t>
                </a:r>
                <a:endParaRPr kumimoji="1"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0587926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805780" y="3816481"/>
            <a:ext cx="10934700" cy="720000"/>
          </a:xfrm>
        </p:spPr>
        <p:txBody>
          <a:bodyPr/>
          <a:lstStyle/>
          <a:p>
            <a:pPr algn="ctr"/>
            <a:r>
              <a:rPr lang="zh-CN" altLang="en-US" sz="3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解密之钥 人人可取</a:t>
            </a:r>
          </a:p>
        </p:txBody>
      </p:sp>
      <p:sp>
        <p:nvSpPr>
          <p:cNvPr id="33" name="文本框 32">
            <a:extLst>
              <a:ext uri="{FF2B5EF4-FFF2-40B4-BE49-F238E27FC236}">
                <a16:creationId xmlns:a16="http://schemas.microsoft.com/office/drawing/2014/main" id="{7AFC2838-CF4E-43A9-9D9C-867B10CE8878}"/>
              </a:ext>
            </a:extLst>
          </p:cNvPr>
          <p:cNvSpPr txBox="1">
            <a:spLocks/>
          </p:cNvSpPr>
          <p:nvPr/>
        </p:nvSpPr>
        <p:spPr>
          <a:xfrm>
            <a:off x="5567362" y="2921131"/>
            <a:ext cx="1057275" cy="89535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7500" lnSpcReduction="20000"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6600" dirty="0">
                <a:solidFill>
                  <a:srgbClr val="FC6C1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3</a:t>
            </a:r>
            <a:endParaRPr lang="zh-CN" altLang="en-US" sz="6600" dirty="0">
              <a:solidFill>
                <a:srgbClr val="FC6C1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22" name="图片 121">
            <a:extLst>
              <a:ext uri="{FF2B5EF4-FFF2-40B4-BE49-F238E27FC236}">
                <a16:creationId xmlns:a16="http://schemas.microsoft.com/office/drawing/2014/main" id="{150FA2AE-8371-873E-0E67-A9B69B9AD5D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3035" y="299594"/>
            <a:ext cx="1837445" cy="501494"/>
          </a:xfrm>
          <a:prstGeom prst="rect">
            <a:avLst/>
          </a:prstGeom>
        </p:spPr>
      </p:pic>
      <p:sp>
        <p:nvSpPr>
          <p:cNvPr id="2" name="Shape 14885">
            <a:extLst>
              <a:ext uri="{FF2B5EF4-FFF2-40B4-BE49-F238E27FC236}">
                <a16:creationId xmlns:a16="http://schemas.microsoft.com/office/drawing/2014/main" id="{4F859FEC-3C0E-D79D-A692-2414D7287FD4}"/>
              </a:ext>
            </a:extLst>
          </p:cNvPr>
          <p:cNvSpPr/>
          <p:nvPr/>
        </p:nvSpPr>
        <p:spPr>
          <a:xfrm>
            <a:off x="1699711" y="4934514"/>
            <a:ext cx="9320139" cy="1"/>
          </a:xfrm>
          <a:prstGeom prst="line">
            <a:avLst/>
          </a:prstGeom>
          <a:ln>
            <a:solidFill>
              <a:srgbClr val="FFFFFF">
                <a:alpha val="30000"/>
              </a:srgbClr>
            </a:solidFill>
            <a:round/>
          </a:ln>
        </p:spPr>
        <p:txBody>
          <a:bodyPr lIns="0" tIns="0" rIns="0" bIns="0"/>
          <a:lstStyle/>
          <a:p>
            <a:pPr lvl="0">
              <a:defRPr sz="1200">
                <a:uFillTx/>
                <a:latin typeface="+mj-lt"/>
                <a:ea typeface="+mj-ea"/>
                <a:cs typeface="+mj-cs"/>
                <a:sym typeface="Helvetica"/>
              </a:defRPr>
            </a:pPr>
            <a:endParaRPr sz="14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3" name="Group 14890">
            <a:extLst>
              <a:ext uri="{FF2B5EF4-FFF2-40B4-BE49-F238E27FC236}">
                <a16:creationId xmlns:a16="http://schemas.microsoft.com/office/drawing/2014/main" id="{8D732E21-D8F4-DA49-BD50-F72106DCFB0D}"/>
              </a:ext>
            </a:extLst>
          </p:cNvPr>
          <p:cNvGrpSpPr/>
          <p:nvPr/>
        </p:nvGrpSpPr>
        <p:grpSpPr>
          <a:xfrm>
            <a:off x="1708202" y="4934514"/>
            <a:ext cx="2422735" cy="825481"/>
            <a:chOff x="6912" y="76391"/>
            <a:chExt cx="1971875" cy="742673"/>
          </a:xfrm>
        </p:grpSpPr>
        <p:sp>
          <p:nvSpPr>
            <p:cNvPr id="4" name="Shape 14886">
              <a:extLst>
                <a:ext uri="{FF2B5EF4-FFF2-40B4-BE49-F238E27FC236}">
                  <a16:creationId xmlns:a16="http://schemas.microsoft.com/office/drawing/2014/main" id="{EF557E9F-7C2F-8C12-E0D6-D3385E406325}"/>
                </a:ext>
              </a:extLst>
            </p:cNvPr>
            <p:cNvSpPr/>
            <p:nvPr/>
          </p:nvSpPr>
          <p:spPr>
            <a:xfrm>
              <a:off x="538613" y="76391"/>
              <a:ext cx="1440174" cy="74267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spAutoFit/>
            </a:bodyPr>
            <a:lstStyle>
              <a:lvl1pPr>
                <a:lnSpc>
                  <a:spcPct val="140000"/>
                </a:lnSpc>
                <a:defRPr sz="700">
                  <a:solidFill>
                    <a:srgbClr val="FFFFFF"/>
                  </a:solidFill>
                  <a:uFill>
                    <a:solidFill>
                      <a:srgbClr val="FFFFFF"/>
                    </a:solidFill>
                  </a:uFill>
                  <a:latin typeface="Roboto condensed"/>
                  <a:ea typeface="Roboto condensed"/>
                  <a:cs typeface="Roboto condensed"/>
                  <a:sym typeface="Roboto condensed"/>
                </a:defRPr>
              </a:lvl1pPr>
            </a:lstStyle>
            <a:p>
              <a:pPr lvl="0" algn="ctr">
                <a:defRPr sz="1800">
                  <a:solidFill>
                    <a:srgbClr val="000000"/>
                  </a:solidFill>
                  <a:uFillTx/>
                </a:defRPr>
              </a:pPr>
              <a:r>
                <a:rPr lang="en-US" altLang="zh-CN" sz="2000" b="1" dirty="0">
                  <a:solidFill>
                    <a:srgbClr val="F05A23"/>
                  </a:solidFill>
                  <a:uFill>
                    <a:solidFill>
                      <a:srgbClr val="FFFFFF"/>
                    </a:solidFill>
                  </a:uFill>
                  <a:latin typeface="微软雅黑" panose="020B0503020204020204" pitchFamily="34" charset="-122"/>
                  <a:ea typeface="微软雅黑" panose="020B0503020204020204" pitchFamily="34" charset="-122"/>
                </a:rPr>
                <a:t>3</a:t>
              </a:r>
              <a:r>
                <a:rPr lang="zh-CN" altLang="en-US" sz="2000" b="1" dirty="0">
                  <a:solidFill>
                    <a:srgbClr val="F05A23"/>
                  </a:solidFill>
                  <a:uFill>
                    <a:solidFill>
                      <a:srgbClr val="FFFFFF"/>
                    </a:solidFill>
                  </a:u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步走</a:t>
              </a:r>
              <a:endParaRPr lang="en-US" altLang="zh-CN" sz="2000" b="1" dirty="0">
                <a:solidFill>
                  <a:srgbClr val="F05A23"/>
                </a:solidFill>
                <a:uFill>
                  <a:solidFill>
                    <a:srgbClr val="FFFFFF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lvl="0" algn="ctr">
                <a:defRPr sz="1800">
                  <a:solidFill>
                    <a:srgbClr val="000000"/>
                  </a:solidFill>
                  <a:uFillTx/>
                </a:defRPr>
              </a:pPr>
              <a:r>
                <a:rPr lang="zh-CN" altLang="en-US" sz="2000" dirty="0">
                  <a:solidFill>
                    <a:schemeClr val="tx1"/>
                  </a:solidFill>
                  <a:uFill>
                    <a:solidFill>
                      <a:srgbClr val="FFFFFF"/>
                    </a:solidFill>
                  </a:u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用好通用公式</a:t>
              </a:r>
              <a:endParaRPr sz="2000" dirty="0">
                <a:solidFill>
                  <a:schemeClr val="tx1"/>
                </a:solidFill>
                <a:uFill>
                  <a:solidFill>
                    <a:srgbClr val="FFFFFF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" name="Shape 14887">
              <a:extLst>
                <a:ext uri="{FF2B5EF4-FFF2-40B4-BE49-F238E27FC236}">
                  <a16:creationId xmlns:a16="http://schemas.microsoft.com/office/drawing/2014/main" id="{FA8EAB0A-5C5F-04D9-BAC1-274FF1121437}"/>
                </a:ext>
              </a:extLst>
            </p:cNvPr>
            <p:cNvSpPr/>
            <p:nvPr/>
          </p:nvSpPr>
          <p:spPr>
            <a:xfrm>
              <a:off x="6912" y="191148"/>
              <a:ext cx="488882" cy="5185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</a:path>
              </a:pathLst>
            </a:custGeom>
            <a:solidFill>
              <a:srgbClr val="FECEA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 algn="ctr"/>
              <a:r>
                <a:rPr lang="en-US" sz="2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3.1</a:t>
              </a:r>
              <a:endParaRPr sz="2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0" name="Group 14890">
            <a:extLst>
              <a:ext uri="{FF2B5EF4-FFF2-40B4-BE49-F238E27FC236}">
                <a16:creationId xmlns:a16="http://schemas.microsoft.com/office/drawing/2014/main" id="{FF41427E-8CB5-1F90-55A2-38885E69632B}"/>
              </a:ext>
            </a:extLst>
          </p:cNvPr>
          <p:cNvGrpSpPr/>
          <p:nvPr/>
        </p:nvGrpSpPr>
        <p:grpSpPr>
          <a:xfrm>
            <a:off x="4717169" y="4934514"/>
            <a:ext cx="2732284" cy="861774"/>
            <a:chOff x="6912" y="76391"/>
            <a:chExt cx="2223818" cy="775325"/>
          </a:xfrm>
        </p:grpSpPr>
        <p:sp>
          <p:nvSpPr>
            <p:cNvPr id="21" name="Shape 14886">
              <a:extLst>
                <a:ext uri="{FF2B5EF4-FFF2-40B4-BE49-F238E27FC236}">
                  <a16:creationId xmlns:a16="http://schemas.microsoft.com/office/drawing/2014/main" id="{0E8EB19F-2D8E-3313-2FA4-6F0B37C92D6C}"/>
                </a:ext>
              </a:extLst>
            </p:cNvPr>
            <p:cNvSpPr/>
            <p:nvPr/>
          </p:nvSpPr>
          <p:spPr>
            <a:xfrm>
              <a:off x="538613" y="76391"/>
              <a:ext cx="1692117" cy="77532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spAutoFit/>
            </a:bodyPr>
            <a:lstStyle>
              <a:lvl1pPr>
                <a:lnSpc>
                  <a:spcPct val="140000"/>
                </a:lnSpc>
                <a:defRPr sz="700">
                  <a:solidFill>
                    <a:srgbClr val="FFFFFF"/>
                  </a:solidFill>
                  <a:uFill>
                    <a:solidFill>
                      <a:srgbClr val="FFFFFF"/>
                    </a:solidFill>
                  </a:uFill>
                  <a:latin typeface="Roboto condensed"/>
                  <a:ea typeface="Roboto condensed"/>
                  <a:cs typeface="Roboto condensed"/>
                  <a:sym typeface="Roboto condensed"/>
                </a:defRPr>
              </a:lvl1pPr>
            </a:lstStyle>
            <a:p>
              <a:pPr lvl="0" algn="ctr">
                <a:defRPr sz="1800">
                  <a:solidFill>
                    <a:srgbClr val="000000"/>
                  </a:solidFill>
                  <a:uFillTx/>
                </a:defRPr>
              </a:pPr>
              <a:r>
                <a:rPr lang="en-US" altLang="zh-CN" sz="2000" b="1" dirty="0">
                  <a:solidFill>
                    <a:srgbClr val="F05A23"/>
                  </a:solidFill>
                  <a:uFill>
                    <a:solidFill>
                      <a:srgbClr val="FFFFFF"/>
                    </a:solidFill>
                  </a:u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</a:t>
              </a:r>
              <a:r>
                <a:rPr lang="zh-CN" altLang="en-US" sz="2000" b="1" dirty="0">
                  <a:solidFill>
                    <a:srgbClr val="F05A23"/>
                  </a:solidFill>
                  <a:uFill>
                    <a:solidFill>
                      <a:srgbClr val="FFFFFF"/>
                    </a:solidFill>
                  </a:u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个原则</a:t>
              </a:r>
              <a:endParaRPr lang="en-US" altLang="zh-CN" sz="2000" b="1" dirty="0">
                <a:solidFill>
                  <a:srgbClr val="F05A23"/>
                </a:solidFill>
                <a:uFill>
                  <a:solidFill>
                    <a:srgbClr val="FFFFFF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lvl="0" algn="ctr">
                <a:defRPr sz="1800">
                  <a:solidFill>
                    <a:srgbClr val="000000"/>
                  </a:solidFill>
                  <a:uFillTx/>
                </a:defRPr>
              </a:pPr>
              <a:r>
                <a:rPr lang="zh-CN" altLang="en-US" sz="2000" dirty="0">
                  <a:solidFill>
                    <a:schemeClr val="tx1"/>
                  </a:solidFill>
                  <a:uFill>
                    <a:solidFill>
                      <a:srgbClr val="FFFFFF"/>
                    </a:solidFill>
                  </a:u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不偏离主道</a:t>
              </a:r>
              <a:endParaRPr sz="2000" dirty="0">
                <a:solidFill>
                  <a:schemeClr val="tx1"/>
                </a:solidFill>
                <a:uFill>
                  <a:solidFill>
                    <a:srgbClr val="FFFFFF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2" name="Shape 14887">
              <a:extLst>
                <a:ext uri="{FF2B5EF4-FFF2-40B4-BE49-F238E27FC236}">
                  <a16:creationId xmlns:a16="http://schemas.microsoft.com/office/drawing/2014/main" id="{89C454E9-BDEB-2BFA-E12D-459B5C03FB25}"/>
                </a:ext>
              </a:extLst>
            </p:cNvPr>
            <p:cNvSpPr/>
            <p:nvPr/>
          </p:nvSpPr>
          <p:spPr>
            <a:xfrm>
              <a:off x="6912" y="191148"/>
              <a:ext cx="488882" cy="5185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</a:path>
              </a:pathLst>
            </a:custGeom>
            <a:solidFill>
              <a:srgbClr val="FECEA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 algn="ctr"/>
              <a:r>
                <a:rPr lang="en-US" sz="2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3.2</a:t>
              </a:r>
              <a:endParaRPr sz="2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3" name="Group 14890">
            <a:extLst>
              <a:ext uri="{FF2B5EF4-FFF2-40B4-BE49-F238E27FC236}">
                <a16:creationId xmlns:a16="http://schemas.microsoft.com/office/drawing/2014/main" id="{A2C99621-D12C-E887-26C9-D759C040FA95}"/>
              </a:ext>
            </a:extLst>
          </p:cNvPr>
          <p:cNvGrpSpPr/>
          <p:nvPr/>
        </p:nvGrpSpPr>
        <p:grpSpPr>
          <a:xfrm>
            <a:off x="8035685" y="4934514"/>
            <a:ext cx="2732284" cy="825482"/>
            <a:chOff x="6912" y="76391"/>
            <a:chExt cx="2223818" cy="742674"/>
          </a:xfrm>
        </p:grpSpPr>
        <p:sp>
          <p:nvSpPr>
            <p:cNvPr id="24" name="Shape 14886">
              <a:extLst>
                <a:ext uri="{FF2B5EF4-FFF2-40B4-BE49-F238E27FC236}">
                  <a16:creationId xmlns:a16="http://schemas.microsoft.com/office/drawing/2014/main" id="{75A75372-8F67-7BB9-B876-DEE557761CF7}"/>
                </a:ext>
              </a:extLst>
            </p:cNvPr>
            <p:cNvSpPr/>
            <p:nvPr/>
          </p:nvSpPr>
          <p:spPr>
            <a:xfrm>
              <a:off x="538613" y="76391"/>
              <a:ext cx="1692117" cy="74267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spAutoFit/>
            </a:bodyPr>
            <a:lstStyle>
              <a:lvl1pPr>
                <a:lnSpc>
                  <a:spcPct val="140000"/>
                </a:lnSpc>
                <a:defRPr sz="700">
                  <a:solidFill>
                    <a:srgbClr val="FFFFFF"/>
                  </a:solidFill>
                  <a:uFill>
                    <a:solidFill>
                      <a:srgbClr val="FFFFFF"/>
                    </a:solidFill>
                  </a:uFill>
                  <a:latin typeface="Roboto condensed"/>
                  <a:ea typeface="Roboto condensed"/>
                  <a:cs typeface="Roboto condensed"/>
                  <a:sym typeface="Roboto condensed"/>
                </a:defRPr>
              </a:lvl1pPr>
            </a:lstStyle>
            <a:p>
              <a:pPr lvl="0" algn="ctr">
                <a:defRPr sz="1800">
                  <a:solidFill>
                    <a:srgbClr val="000000"/>
                  </a:solidFill>
                  <a:uFillTx/>
                </a:defRPr>
              </a:pPr>
              <a:r>
                <a:rPr lang="en-US" altLang="zh-CN" sz="2000" b="1" dirty="0">
                  <a:solidFill>
                    <a:srgbClr val="F05A23"/>
                  </a:solidFill>
                  <a:uFill>
                    <a:solidFill>
                      <a:srgbClr val="FFFFFF"/>
                    </a:solidFill>
                  </a:u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</a:t>
              </a:r>
              <a:r>
                <a:rPr lang="zh-CN" altLang="en-US" sz="2000" b="1" dirty="0">
                  <a:solidFill>
                    <a:srgbClr val="F05A23"/>
                  </a:solidFill>
                  <a:uFill>
                    <a:solidFill>
                      <a:srgbClr val="FFFFFF"/>
                    </a:solidFill>
                  </a:u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份自检清单</a:t>
              </a:r>
              <a:endParaRPr lang="en-US" altLang="zh-CN" sz="2000" b="1" dirty="0">
                <a:solidFill>
                  <a:srgbClr val="F05A23"/>
                </a:solidFill>
                <a:uFill>
                  <a:solidFill>
                    <a:srgbClr val="FFFFFF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lvl="0" algn="ctr">
                <a:defRPr sz="1800">
                  <a:solidFill>
                    <a:srgbClr val="000000"/>
                  </a:solidFill>
                  <a:uFillTx/>
                </a:defRPr>
              </a:pPr>
              <a:r>
                <a:rPr lang="zh-CN" altLang="en-US" sz="2000" dirty="0">
                  <a:solidFill>
                    <a:schemeClr val="tx1"/>
                  </a:solidFill>
                  <a:uFill>
                    <a:solidFill>
                      <a:srgbClr val="FFFFFF"/>
                    </a:solidFill>
                  </a:u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多一层转化保障</a:t>
              </a:r>
              <a:endParaRPr sz="2000" dirty="0">
                <a:solidFill>
                  <a:schemeClr val="tx1"/>
                </a:solidFill>
                <a:uFill>
                  <a:solidFill>
                    <a:srgbClr val="FFFFFF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5" name="Shape 14887">
              <a:extLst>
                <a:ext uri="{FF2B5EF4-FFF2-40B4-BE49-F238E27FC236}">
                  <a16:creationId xmlns:a16="http://schemas.microsoft.com/office/drawing/2014/main" id="{2EA5F0E9-8564-9A53-1ACD-639A8DE15003}"/>
                </a:ext>
              </a:extLst>
            </p:cNvPr>
            <p:cNvSpPr/>
            <p:nvPr/>
          </p:nvSpPr>
          <p:spPr>
            <a:xfrm>
              <a:off x="6912" y="191148"/>
              <a:ext cx="488882" cy="5185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</a:path>
              </a:pathLst>
            </a:custGeom>
            <a:solidFill>
              <a:srgbClr val="FECEA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 algn="ctr"/>
              <a:r>
                <a:rPr lang="en-US" sz="2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3.3</a:t>
              </a:r>
              <a:endParaRPr sz="2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5377113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直线连接符 3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>
            <a:extLst>
              <a:ext uri="{FF2B5EF4-FFF2-40B4-BE49-F238E27FC236}">
                <a16:creationId xmlns:a16="http://schemas.microsoft.com/office/drawing/2014/main" id="{C83C8CAF-78CE-744E-816D-3993AB891B4D}"/>
              </a:ext>
            </a:extLst>
          </p:cNvPr>
          <p:cNvCxnSpPr/>
          <p:nvPr/>
        </p:nvCxnSpPr>
        <p:spPr>
          <a:xfrm>
            <a:off x="725817" y="2640474"/>
            <a:ext cx="10591442" cy="0"/>
          </a:xfrm>
          <a:prstGeom prst="line">
            <a:avLst/>
          </a:prstGeom>
          <a:ln w="508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A_文本框 21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>
            <a:extLst>
              <a:ext uri="{FF2B5EF4-FFF2-40B4-BE49-F238E27FC236}">
                <a16:creationId xmlns:a16="http://schemas.microsoft.com/office/drawing/2014/main" id="{8F11CAFE-0638-A849-8DAF-81D2D98E664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824523" y="1777629"/>
            <a:ext cx="6239282" cy="46166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zh-CN"/>
            </a:defPPr>
            <a:lvl1pPr marL="12700" marR="0" lvl="0" indent="0" fontAlgn="auto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F05A23"/>
                </a:solidFill>
                <a:effectLst/>
                <a:uLnTx/>
                <a:uFillTx/>
                <a:latin typeface="Arial"/>
                <a:ea typeface="华文楷体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  <a:lvl6pPr>
              <a:defRPr>
                <a:latin typeface="+mn-lt"/>
                <a:ea typeface="+mn-ea"/>
                <a:cs typeface="+mn-cs"/>
              </a:defRPr>
            </a:lvl6pPr>
            <a:lvl7pPr>
              <a:defRPr>
                <a:latin typeface="+mn-lt"/>
                <a:ea typeface="+mn-ea"/>
                <a:cs typeface="+mn-cs"/>
              </a:defRPr>
            </a:lvl7pPr>
            <a:lvl8pPr>
              <a:defRPr>
                <a:latin typeface="+mn-lt"/>
                <a:ea typeface="+mn-ea"/>
                <a:cs typeface="+mn-cs"/>
              </a:defRPr>
            </a:lvl8pPr>
            <a:lvl9pPr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3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下面的文案你会点击吗？</a:t>
            </a:r>
          </a:p>
        </p:txBody>
      </p:sp>
      <p:sp>
        <p:nvSpPr>
          <p:cNvPr id="3" name="e7d195523061f1c0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 hidden="1">
            <a:extLst>
              <a:ext uri="{FF2B5EF4-FFF2-40B4-BE49-F238E27FC236}">
                <a16:creationId xmlns:a16="http://schemas.microsoft.com/office/drawing/2014/main" id="{0345E291-05D0-49BA-AC28-BA247D6B2FD2}"/>
              </a:ext>
            </a:extLst>
          </p:cNvPr>
          <p:cNvSpPr txBox="1"/>
          <p:nvPr/>
        </p:nvSpPr>
        <p:spPr>
          <a:xfrm>
            <a:off x="-355600" y="1803400"/>
            <a:ext cx="26225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/>
              <a:t>e7d195523061f1c0d318120d6aeaf1b6ccceb6ba3da59c0775C5DE19DDDEBC09ED96DBD9900D9848D623ECAD1D4904B78047D0015C22C8BE97228BE8B5BFF08FE7A3AE04126DA07312A96C0F69F9BAB71A8D4487C13BBD21E3F9DE587F01A2EC9B24CE25FF0E9B2136662A47C8B58C275121A88EC20F5D58602B203067E5F6C927344A314878098B</a:t>
            </a:r>
            <a:endParaRPr lang="zh-CN" altLang="en-US" sz="100"/>
          </a:p>
        </p:txBody>
      </p:sp>
      <p:grpSp>
        <p:nvGrpSpPr>
          <p:cNvPr id="9" name="组合 8">
            <a:extLst>
              <a:ext uri="{FF2B5EF4-FFF2-40B4-BE49-F238E27FC236}">
                <a16:creationId xmlns:a16="http://schemas.microsoft.com/office/drawing/2014/main" id="{596FEB65-F537-2409-9CFF-8EC92AAE9245}"/>
              </a:ext>
            </a:extLst>
          </p:cNvPr>
          <p:cNvGrpSpPr/>
          <p:nvPr/>
        </p:nvGrpSpPr>
        <p:grpSpPr>
          <a:xfrm>
            <a:off x="812799" y="551745"/>
            <a:ext cx="2344293" cy="1885528"/>
            <a:chOff x="3207781" y="1105990"/>
            <a:chExt cx="5776438" cy="4646020"/>
          </a:xfrm>
        </p:grpSpPr>
        <p:sp>
          <p:nvSpPr>
            <p:cNvPr id="10" name="任意多边形 4">
              <a:extLst>
                <a:ext uri="{FF2B5EF4-FFF2-40B4-BE49-F238E27FC236}">
                  <a16:creationId xmlns:a16="http://schemas.microsoft.com/office/drawing/2014/main" id="{24273B71-40A5-A3F6-A543-E3946B74F2AB}"/>
                </a:ext>
              </a:extLst>
            </p:cNvPr>
            <p:cNvSpPr/>
            <p:nvPr/>
          </p:nvSpPr>
          <p:spPr>
            <a:xfrm>
              <a:off x="3598883" y="5220505"/>
              <a:ext cx="5385336" cy="531505"/>
            </a:xfrm>
            <a:custGeom>
              <a:avLst/>
              <a:gdLst>
                <a:gd name="connsiteX0" fmla="*/ -514 w 4756429"/>
                <a:gd name="connsiteY0" fmla="*/ 234476 h 469435"/>
                <a:gd name="connsiteX1" fmla="*/ 2377732 w 4756429"/>
                <a:gd name="connsiteY1" fmla="*/ -210 h 469435"/>
                <a:gd name="connsiteX2" fmla="*/ 4755915 w 4756429"/>
                <a:gd name="connsiteY2" fmla="*/ 234476 h 469435"/>
                <a:gd name="connsiteX3" fmla="*/ 2377732 w 4756429"/>
                <a:gd name="connsiteY3" fmla="*/ 469226 h 469435"/>
                <a:gd name="connsiteX4" fmla="*/ -514 w 4756429"/>
                <a:gd name="connsiteY4" fmla="*/ 234476 h 469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56429" h="469435">
                  <a:moveTo>
                    <a:pt x="-514" y="234476"/>
                  </a:moveTo>
                  <a:cubicBezTo>
                    <a:pt x="-514" y="104871"/>
                    <a:pt x="1064277" y="-210"/>
                    <a:pt x="2377732" y="-210"/>
                  </a:cubicBezTo>
                  <a:cubicBezTo>
                    <a:pt x="3691187" y="-210"/>
                    <a:pt x="4755915" y="104871"/>
                    <a:pt x="4755915" y="234476"/>
                  </a:cubicBezTo>
                  <a:cubicBezTo>
                    <a:pt x="4755915" y="364081"/>
                    <a:pt x="3691187" y="469226"/>
                    <a:pt x="2377732" y="469226"/>
                  </a:cubicBezTo>
                  <a:cubicBezTo>
                    <a:pt x="1064277" y="469226"/>
                    <a:pt x="-514" y="364144"/>
                    <a:pt x="-514" y="234476"/>
                  </a:cubicBezTo>
                  <a:close/>
                </a:path>
              </a:pathLst>
            </a:custGeom>
            <a:solidFill>
              <a:srgbClr val="E8E8E8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 5">
              <a:extLst>
                <a:ext uri="{FF2B5EF4-FFF2-40B4-BE49-F238E27FC236}">
                  <a16:creationId xmlns:a16="http://schemas.microsoft.com/office/drawing/2014/main" id="{F98FB409-950B-FD23-D013-AA282725A0BD}"/>
                </a:ext>
              </a:extLst>
            </p:cNvPr>
            <p:cNvSpPr/>
            <p:nvPr/>
          </p:nvSpPr>
          <p:spPr>
            <a:xfrm>
              <a:off x="4313321" y="3382454"/>
              <a:ext cx="883608" cy="1118025"/>
            </a:xfrm>
            <a:custGeom>
              <a:avLst/>
              <a:gdLst>
                <a:gd name="connsiteX0" fmla="*/ 304303 w 780419"/>
                <a:gd name="connsiteY0" fmla="*/ 118570 h 987461"/>
                <a:gd name="connsiteX1" fmla="*/ 254240 w 780419"/>
                <a:gd name="connsiteY1" fmla="*/ 127782 h 987461"/>
                <a:gd name="connsiteX2" fmla="*/ 200428 w 780419"/>
                <a:gd name="connsiteY2" fmla="*/ 182038 h 987461"/>
                <a:gd name="connsiteX3" fmla="*/ 189374 w 780419"/>
                <a:gd name="connsiteY3" fmla="*/ 260437 h 987461"/>
                <a:gd name="connsiteX4" fmla="*/ 195727 w 780419"/>
                <a:gd name="connsiteY4" fmla="*/ 517740 h 987461"/>
                <a:gd name="connsiteX5" fmla="*/ 71395 w 780419"/>
                <a:gd name="connsiteY5" fmla="*/ 592835 h 987461"/>
                <a:gd name="connsiteX6" fmla="*/ 24001 w 780419"/>
                <a:gd name="connsiteY6" fmla="*/ 840164 h 987461"/>
                <a:gd name="connsiteX7" fmla="*/ 249411 w 780419"/>
                <a:gd name="connsiteY7" fmla="*/ 982284 h 987461"/>
                <a:gd name="connsiteX8" fmla="*/ 522597 w 780419"/>
                <a:gd name="connsiteY8" fmla="*/ 959286 h 987461"/>
                <a:gd name="connsiteX9" fmla="*/ 699597 w 780419"/>
                <a:gd name="connsiteY9" fmla="*/ 889401 h 987461"/>
                <a:gd name="connsiteX10" fmla="*/ 708555 w 780419"/>
                <a:gd name="connsiteY10" fmla="*/ 575617 h 987461"/>
                <a:gd name="connsiteX11" fmla="*/ 764082 w 780419"/>
                <a:gd name="connsiteY11" fmla="*/ 389088 h 987461"/>
                <a:gd name="connsiteX12" fmla="*/ 606968 w 780419"/>
                <a:gd name="connsiteY12" fmla="*/ 27466 h 987461"/>
                <a:gd name="connsiteX13" fmla="*/ 304303 w 780419"/>
                <a:gd name="connsiteY13" fmla="*/ 118761 h 987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80419" h="987461">
                  <a:moveTo>
                    <a:pt x="304303" y="118570"/>
                  </a:moveTo>
                  <a:cubicBezTo>
                    <a:pt x="307860" y="110184"/>
                    <a:pt x="258432" y="125940"/>
                    <a:pt x="254240" y="127782"/>
                  </a:cubicBezTo>
                  <a:cubicBezTo>
                    <a:pt x="230002" y="138284"/>
                    <a:pt x="210733" y="157712"/>
                    <a:pt x="200428" y="182038"/>
                  </a:cubicBezTo>
                  <a:cubicBezTo>
                    <a:pt x="191299" y="207108"/>
                    <a:pt x="187531" y="233817"/>
                    <a:pt x="189374" y="260437"/>
                  </a:cubicBezTo>
                  <a:cubicBezTo>
                    <a:pt x="191216" y="342393"/>
                    <a:pt x="253985" y="444679"/>
                    <a:pt x="195727" y="517740"/>
                  </a:cubicBezTo>
                  <a:cubicBezTo>
                    <a:pt x="165486" y="555478"/>
                    <a:pt x="111484" y="565706"/>
                    <a:pt x="71395" y="592835"/>
                  </a:cubicBezTo>
                  <a:cubicBezTo>
                    <a:pt x="-4843" y="644295"/>
                    <a:pt x="-20154" y="759351"/>
                    <a:pt x="24001" y="840164"/>
                  </a:cubicBezTo>
                  <a:cubicBezTo>
                    <a:pt x="68155" y="920976"/>
                    <a:pt x="158306" y="968752"/>
                    <a:pt x="249411" y="982284"/>
                  </a:cubicBezTo>
                  <a:cubicBezTo>
                    <a:pt x="340516" y="995816"/>
                    <a:pt x="433081" y="979552"/>
                    <a:pt x="522597" y="959286"/>
                  </a:cubicBezTo>
                  <a:cubicBezTo>
                    <a:pt x="584986" y="945182"/>
                    <a:pt x="648835" y="928092"/>
                    <a:pt x="699597" y="889401"/>
                  </a:cubicBezTo>
                  <a:cubicBezTo>
                    <a:pt x="819354" y="797724"/>
                    <a:pt x="763510" y="682986"/>
                    <a:pt x="708555" y="575617"/>
                  </a:cubicBezTo>
                  <a:cubicBezTo>
                    <a:pt x="673358" y="506876"/>
                    <a:pt x="736509" y="474475"/>
                    <a:pt x="764082" y="389088"/>
                  </a:cubicBezTo>
                  <a:cubicBezTo>
                    <a:pt x="813700" y="235469"/>
                    <a:pt x="742608" y="86360"/>
                    <a:pt x="606968" y="27466"/>
                  </a:cubicBezTo>
                  <a:cubicBezTo>
                    <a:pt x="384225" y="-69039"/>
                    <a:pt x="304747" y="117744"/>
                    <a:pt x="304303" y="118761"/>
                  </a:cubicBezTo>
                  <a:close/>
                </a:path>
              </a:pathLst>
            </a:custGeom>
            <a:solidFill>
              <a:srgbClr val="971D0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 6">
              <a:extLst>
                <a:ext uri="{FF2B5EF4-FFF2-40B4-BE49-F238E27FC236}">
                  <a16:creationId xmlns:a16="http://schemas.microsoft.com/office/drawing/2014/main" id="{17505BF0-3591-A773-C8DD-F0AE8E774240}"/>
                </a:ext>
              </a:extLst>
            </p:cNvPr>
            <p:cNvSpPr/>
            <p:nvPr/>
          </p:nvSpPr>
          <p:spPr>
            <a:xfrm>
              <a:off x="4743753" y="3967018"/>
              <a:ext cx="251762" cy="311178"/>
            </a:xfrm>
            <a:custGeom>
              <a:avLst/>
              <a:gdLst>
                <a:gd name="connsiteX0" fmla="*/ 110730 w 222361"/>
                <a:gd name="connsiteY0" fmla="*/ 274628 h 274838"/>
                <a:gd name="connsiteX1" fmla="*/ 110730 w 222361"/>
                <a:gd name="connsiteY1" fmla="*/ 274628 h 274838"/>
                <a:gd name="connsiteX2" fmla="*/ -514 w 222361"/>
                <a:gd name="connsiteY2" fmla="*/ 126853 h 274838"/>
                <a:gd name="connsiteX3" fmla="*/ -514 w 222361"/>
                <a:gd name="connsiteY3" fmla="*/ -210 h 274838"/>
                <a:gd name="connsiteX4" fmla="*/ 221847 w 222361"/>
                <a:gd name="connsiteY4" fmla="*/ -210 h 274838"/>
                <a:gd name="connsiteX5" fmla="*/ 221847 w 222361"/>
                <a:gd name="connsiteY5" fmla="*/ 126853 h 274838"/>
                <a:gd name="connsiteX6" fmla="*/ 111937 w 222361"/>
                <a:gd name="connsiteY6" fmla="*/ 274628 h 274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2361" h="274838">
                  <a:moveTo>
                    <a:pt x="110730" y="274628"/>
                  </a:moveTo>
                  <a:lnTo>
                    <a:pt x="110730" y="274628"/>
                  </a:lnTo>
                  <a:cubicBezTo>
                    <a:pt x="49358" y="274628"/>
                    <a:pt x="-451" y="163639"/>
                    <a:pt x="-514" y="126853"/>
                  </a:cubicBezTo>
                  <a:lnTo>
                    <a:pt x="-514" y="-210"/>
                  </a:lnTo>
                  <a:lnTo>
                    <a:pt x="221847" y="-210"/>
                  </a:lnTo>
                  <a:lnTo>
                    <a:pt x="221847" y="126853"/>
                  </a:lnTo>
                  <a:cubicBezTo>
                    <a:pt x="221847" y="163448"/>
                    <a:pt x="172991" y="274438"/>
                    <a:pt x="111937" y="274628"/>
                  </a:cubicBez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 7">
              <a:extLst>
                <a:ext uri="{FF2B5EF4-FFF2-40B4-BE49-F238E27FC236}">
                  <a16:creationId xmlns:a16="http://schemas.microsoft.com/office/drawing/2014/main" id="{76280798-B9B2-D858-C70C-FBC77E904A71}"/>
                </a:ext>
              </a:extLst>
            </p:cNvPr>
            <p:cNvSpPr/>
            <p:nvPr/>
          </p:nvSpPr>
          <p:spPr>
            <a:xfrm>
              <a:off x="4572555" y="3764605"/>
              <a:ext cx="121406" cy="141542"/>
            </a:xfrm>
            <a:custGeom>
              <a:avLst/>
              <a:gdLst>
                <a:gd name="connsiteX0" fmla="*/ 77312 w 107228"/>
                <a:gd name="connsiteY0" fmla="*/ 27741 h 125013"/>
                <a:gd name="connsiteX1" fmla="*/ -514 w 107228"/>
                <a:gd name="connsiteY1" fmla="*/ 46801 h 125013"/>
                <a:gd name="connsiteX2" fmla="*/ 94783 w 107228"/>
                <a:gd name="connsiteY2" fmla="*/ 110332 h 125013"/>
                <a:gd name="connsiteX3" fmla="*/ 77312 w 107228"/>
                <a:gd name="connsiteY3" fmla="*/ 27741 h 125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228" h="125013">
                  <a:moveTo>
                    <a:pt x="77312" y="27741"/>
                  </a:moveTo>
                  <a:cubicBezTo>
                    <a:pt x="41226" y="-26515"/>
                    <a:pt x="-514" y="8364"/>
                    <a:pt x="-514" y="46801"/>
                  </a:cubicBezTo>
                  <a:cubicBezTo>
                    <a:pt x="-514" y="102073"/>
                    <a:pt x="60031" y="149722"/>
                    <a:pt x="94783" y="110332"/>
                  </a:cubicBezTo>
                  <a:cubicBezTo>
                    <a:pt x="129535" y="70943"/>
                    <a:pt x="77312" y="27741"/>
                    <a:pt x="77312" y="2774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 8">
              <a:extLst>
                <a:ext uri="{FF2B5EF4-FFF2-40B4-BE49-F238E27FC236}">
                  <a16:creationId xmlns:a16="http://schemas.microsoft.com/office/drawing/2014/main" id="{0D78D172-A7E5-69CA-9A8A-78DDB5CCBB90}"/>
                </a:ext>
              </a:extLst>
            </p:cNvPr>
            <p:cNvSpPr/>
            <p:nvPr/>
          </p:nvSpPr>
          <p:spPr>
            <a:xfrm>
              <a:off x="5034066" y="3764605"/>
              <a:ext cx="121425" cy="141542"/>
            </a:xfrm>
            <a:custGeom>
              <a:avLst/>
              <a:gdLst>
                <a:gd name="connsiteX0" fmla="*/ 28968 w 107245"/>
                <a:gd name="connsiteY0" fmla="*/ 27741 h 125013"/>
                <a:gd name="connsiteX1" fmla="*/ 106731 w 107245"/>
                <a:gd name="connsiteY1" fmla="*/ 46801 h 125013"/>
                <a:gd name="connsiteX2" fmla="*/ 11433 w 107245"/>
                <a:gd name="connsiteY2" fmla="*/ 110332 h 125013"/>
                <a:gd name="connsiteX3" fmla="*/ 28968 w 107245"/>
                <a:gd name="connsiteY3" fmla="*/ 27741 h 125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245" h="125013">
                  <a:moveTo>
                    <a:pt x="28968" y="27741"/>
                  </a:moveTo>
                  <a:cubicBezTo>
                    <a:pt x="64927" y="-26515"/>
                    <a:pt x="106731" y="8364"/>
                    <a:pt x="106731" y="46801"/>
                  </a:cubicBezTo>
                  <a:cubicBezTo>
                    <a:pt x="106731" y="102073"/>
                    <a:pt x="46249" y="149722"/>
                    <a:pt x="11433" y="110332"/>
                  </a:cubicBezTo>
                  <a:cubicBezTo>
                    <a:pt x="-23382" y="70943"/>
                    <a:pt x="28968" y="27741"/>
                    <a:pt x="28968" y="2774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 9">
              <a:extLst>
                <a:ext uri="{FF2B5EF4-FFF2-40B4-BE49-F238E27FC236}">
                  <a16:creationId xmlns:a16="http://schemas.microsoft.com/office/drawing/2014/main" id="{86F465E8-D25C-1B7E-1A19-BDA15266E11E}"/>
                </a:ext>
              </a:extLst>
            </p:cNvPr>
            <p:cNvSpPr/>
            <p:nvPr/>
          </p:nvSpPr>
          <p:spPr>
            <a:xfrm>
              <a:off x="4636485" y="3571274"/>
              <a:ext cx="453974" cy="467243"/>
            </a:xfrm>
            <a:custGeom>
              <a:avLst/>
              <a:gdLst>
                <a:gd name="connsiteX0" fmla="*/ 199817 w 400958"/>
                <a:gd name="connsiteY0" fmla="*/ 412468 h 412678"/>
                <a:gd name="connsiteX1" fmla="*/ 6744 w 400958"/>
                <a:gd name="connsiteY1" fmla="*/ 98113 h 412678"/>
                <a:gd name="connsiteX2" fmla="*/ 393207 w 400958"/>
                <a:gd name="connsiteY2" fmla="*/ 98113 h 412678"/>
                <a:gd name="connsiteX3" fmla="*/ 199817 w 400958"/>
                <a:gd name="connsiteY3" fmla="*/ 412468 h 41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0958" h="412678">
                  <a:moveTo>
                    <a:pt x="199817" y="412468"/>
                  </a:moveTo>
                  <a:cubicBezTo>
                    <a:pt x="57569" y="412468"/>
                    <a:pt x="-26547" y="257387"/>
                    <a:pt x="6744" y="98113"/>
                  </a:cubicBezTo>
                  <a:cubicBezTo>
                    <a:pt x="34063" y="-33016"/>
                    <a:pt x="365762" y="-32953"/>
                    <a:pt x="393207" y="98113"/>
                  </a:cubicBezTo>
                  <a:cubicBezTo>
                    <a:pt x="426434" y="257387"/>
                    <a:pt x="342382" y="412595"/>
                    <a:pt x="199817" y="412468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 10">
              <a:extLst>
                <a:ext uri="{FF2B5EF4-FFF2-40B4-BE49-F238E27FC236}">
                  <a16:creationId xmlns:a16="http://schemas.microsoft.com/office/drawing/2014/main" id="{2FE76299-F32F-7990-2400-C3C64857735C}"/>
                </a:ext>
              </a:extLst>
            </p:cNvPr>
            <p:cNvSpPr/>
            <p:nvPr/>
          </p:nvSpPr>
          <p:spPr>
            <a:xfrm>
              <a:off x="4757636" y="3487392"/>
              <a:ext cx="367502" cy="234313"/>
            </a:xfrm>
            <a:custGeom>
              <a:avLst/>
              <a:gdLst>
                <a:gd name="connsiteX0" fmla="*/ -514 w 324585"/>
                <a:gd name="connsiteY0" fmla="*/ 31541 h 206950"/>
                <a:gd name="connsiteX1" fmla="*/ 303231 w 324585"/>
                <a:gd name="connsiteY1" fmla="*/ 198693 h 206950"/>
                <a:gd name="connsiteX2" fmla="*/ 184045 w 324585"/>
                <a:gd name="connsiteY2" fmla="*/ 21757 h 206950"/>
                <a:gd name="connsiteX3" fmla="*/ -514 w 324585"/>
                <a:gd name="connsiteY3" fmla="*/ 31541 h 206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585" h="206950">
                  <a:moveTo>
                    <a:pt x="-514" y="31541"/>
                  </a:moveTo>
                  <a:cubicBezTo>
                    <a:pt x="-514" y="165911"/>
                    <a:pt x="253612" y="230650"/>
                    <a:pt x="303231" y="198693"/>
                  </a:cubicBezTo>
                  <a:cubicBezTo>
                    <a:pt x="352849" y="166737"/>
                    <a:pt x="314158" y="52951"/>
                    <a:pt x="184045" y="21757"/>
                  </a:cubicBezTo>
                  <a:cubicBezTo>
                    <a:pt x="53932" y="-9437"/>
                    <a:pt x="-197" y="-8484"/>
                    <a:pt x="-514" y="31541"/>
                  </a:cubicBezTo>
                  <a:close/>
                </a:path>
              </a:pathLst>
            </a:custGeom>
            <a:solidFill>
              <a:srgbClr val="971D0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 11">
              <a:extLst>
                <a:ext uri="{FF2B5EF4-FFF2-40B4-BE49-F238E27FC236}">
                  <a16:creationId xmlns:a16="http://schemas.microsoft.com/office/drawing/2014/main" id="{80766D00-99EF-E81F-A1C6-484B07DA63CC}"/>
                </a:ext>
              </a:extLst>
            </p:cNvPr>
            <p:cNvSpPr/>
            <p:nvPr/>
          </p:nvSpPr>
          <p:spPr>
            <a:xfrm>
              <a:off x="4592900" y="3508707"/>
              <a:ext cx="173053" cy="238281"/>
            </a:xfrm>
            <a:custGeom>
              <a:avLst/>
              <a:gdLst>
                <a:gd name="connsiteX0" fmla="*/ 145428 w 152844"/>
                <a:gd name="connsiteY0" fmla="*/ 11762 h 210454"/>
                <a:gd name="connsiteX1" fmla="*/ 38759 w 152844"/>
                <a:gd name="connsiteY1" fmla="*/ 209790 h 210454"/>
                <a:gd name="connsiteX2" fmla="*/ 27704 w 152844"/>
                <a:gd name="connsiteY2" fmla="*/ 78089 h 210454"/>
                <a:gd name="connsiteX3" fmla="*/ 145428 w 152844"/>
                <a:gd name="connsiteY3" fmla="*/ 11762 h 210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844" h="210454">
                  <a:moveTo>
                    <a:pt x="145428" y="11762"/>
                  </a:moveTo>
                  <a:cubicBezTo>
                    <a:pt x="177703" y="76501"/>
                    <a:pt x="89076" y="219320"/>
                    <a:pt x="38759" y="209790"/>
                  </a:cubicBezTo>
                  <a:cubicBezTo>
                    <a:pt x="-11559" y="200261"/>
                    <a:pt x="-11622" y="144416"/>
                    <a:pt x="27704" y="78089"/>
                  </a:cubicBezTo>
                  <a:cubicBezTo>
                    <a:pt x="67030" y="11762"/>
                    <a:pt x="130117" y="-18987"/>
                    <a:pt x="145428" y="11762"/>
                  </a:cubicBezTo>
                  <a:close/>
                </a:path>
              </a:pathLst>
            </a:custGeom>
            <a:solidFill>
              <a:srgbClr val="971D0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 12">
              <a:extLst>
                <a:ext uri="{FF2B5EF4-FFF2-40B4-BE49-F238E27FC236}">
                  <a16:creationId xmlns:a16="http://schemas.microsoft.com/office/drawing/2014/main" id="{1830528A-9BDE-3145-381D-6CCEA1947B4A}"/>
                </a:ext>
              </a:extLst>
            </p:cNvPr>
            <p:cNvSpPr/>
            <p:nvPr/>
          </p:nvSpPr>
          <p:spPr>
            <a:xfrm>
              <a:off x="3612370" y="4281731"/>
              <a:ext cx="915035" cy="627652"/>
            </a:xfrm>
            <a:custGeom>
              <a:avLst/>
              <a:gdLst>
                <a:gd name="connsiteX0" fmla="*/ 797158 w 808176"/>
                <a:gd name="connsiteY0" fmla="*/ 72207 h 554354"/>
                <a:gd name="connsiteX1" fmla="*/ 561011 w 808176"/>
                <a:gd name="connsiteY1" fmla="*/ 325698 h 554354"/>
                <a:gd name="connsiteX2" fmla="*/ 47611 w 808176"/>
                <a:gd name="connsiteY2" fmla="*/ 553523 h 554354"/>
                <a:gd name="connsiteX3" fmla="*/ 47611 w 808176"/>
                <a:gd name="connsiteY3" fmla="*/ 451110 h 554354"/>
                <a:gd name="connsiteX4" fmla="*/ 496844 w 808176"/>
                <a:gd name="connsiteY4" fmla="*/ 243743 h 554354"/>
                <a:gd name="connsiteX5" fmla="*/ 650844 w 808176"/>
                <a:gd name="connsiteY5" fmla="*/ 90123 h 554354"/>
                <a:gd name="connsiteX6" fmla="*/ 699637 w 808176"/>
                <a:gd name="connsiteY6" fmla="*/ 36375 h 554354"/>
                <a:gd name="connsiteX7" fmla="*/ 709866 w 808176"/>
                <a:gd name="connsiteY7" fmla="*/ 18459 h 554354"/>
                <a:gd name="connsiteX8" fmla="*/ 709866 w 808176"/>
                <a:gd name="connsiteY8" fmla="*/ 21000 h 554354"/>
                <a:gd name="connsiteX9" fmla="*/ 797158 w 808176"/>
                <a:gd name="connsiteY9" fmla="*/ 72207 h 554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8176" h="554354">
                  <a:moveTo>
                    <a:pt x="797158" y="72207"/>
                  </a:moveTo>
                  <a:cubicBezTo>
                    <a:pt x="727280" y="164525"/>
                    <a:pt x="648151" y="249460"/>
                    <a:pt x="561011" y="325698"/>
                  </a:cubicBezTo>
                  <a:cubicBezTo>
                    <a:pt x="422385" y="446027"/>
                    <a:pt x="242717" y="563752"/>
                    <a:pt x="47611" y="553523"/>
                  </a:cubicBezTo>
                  <a:cubicBezTo>
                    <a:pt x="-16556" y="548377"/>
                    <a:pt x="-16556" y="446027"/>
                    <a:pt x="47611" y="451110"/>
                  </a:cubicBezTo>
                  <a:cubicBezTo>
                    <a:pt x="219591" y="461339"/>
                    <a:pt x="376197" y="351302"/>
                    <a:pt x="496844" y="243743"/>
                  </a:cubicBezTo>
                  <a:cubicBezTo>
                    <a:pt x="553323" y="197682"/>
                    <a:pt x="602052" y="143871"/>
                    <a:pt x="650844" y="90123"/>
                  </a:cubicBezTo>
                  <a:cubicBezTo>
                    <a:pt x="668824" y="72207"/>
                    <a:pt x="684199" y="54291"/>
                    <a:pt x="699637" y="36375"/>
                  </a:cubicBezTo>
                  <a:cubicBezTo>
                    <a:pt x="703589" y="30727"/>
                    <a:pt x="707013" y="24730"/>
                    <a:pt x="709866" y="18459"/>
                  </a:cubicBezTo>
                  <a:cubicBezTo>
                    <a:pt x="717553" y="10772"/>
                    <a:pt x="702178" y="31165"/>
                    <a:pt x="709866" y="21000"/>
                  </a:cubicBezTo>
                  <a:cubicBezTo>
                    <a:pt x="748366" y="-30206"/>
                    <a:pt x="838199" y="21000"/>
                    <a:pt x="797158" y="72207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 13">
              <a:extLst>
                <a:ext uri="{FF2B5EF4-FFF2-40B4-BE49-F238E27FC236}">
                  <a16:creationId xmlns:a16="http://schemas.microsoft.com/office/drawing/2014/main" id="{ED5228C4-65A0-394D-2562-5D6E0496CD46}"/>
                </a:ext>
              </a:extLst>
            </p:cNvPr>
            <p:cNvSpPr/>
            <p:nvPr/>
          </p:nvSpPr>
          <p:spPr>
            <a:xfrm>
              <a:off x="5248839" y="3957542"/>
              <a:ext cx="415701" cy="712692"/>
            </a:xfrm>
            <a:custGeom>
              <a:avLst/>
              <a:gdLst>
                <a:gd name="connsiteX0" fmla="*/ 90290 w 367155"/>
                <a:gd name="connsiteY0" fmla="*/ 275691 h 629463"/>
                <a:gd name="connsiteX1" fmla="*/ 229361 w 367155"/>
                <a:gd name="connsiteY1" fmla="*/ 451738 h 629463"/>
                <a:gd name="connsiteX2" fmla="*/ 246959 w 367155"/>
                <a:gd name="connsiteY2" fmla="*/ 471877 h 629463"/>
                <a:gd name="connsiteX3" fmla="*/ 201979 w 367155"/>
                <a:gd name="connsiteY3" fmla="*/ 211016 h 629463"/>
                <a:gd name="connsiteX4" fmla="*/ 194292 w 367155"/>
                <a:gd name="connsiteY4" fmla="*/ 113241 h 629463"/>
                <a:gd name="connsiteX5" fmla="*/ 298420 w 367155"/>
                <a:gd name="connsiteY5" fmla="*/ 6952 h 629463"/>
                <a:gd name="connsiteX6" fmla="*/ 340732 w 367155"/>
                <a:gd name="connsiteY6" fmla="*/ 100280 h 629463"/>
                <a:gd name="connsiteX7" fmla="*/ 314748 w 367155"/>
                <a:gd name="connsiteY7" fmla="*/ 117624 h 629463"/>
                <a:gd name="connsiteX8" fmla="*/ 294544 w 367155"/>
                <a:gd name="connsiteY8" fmla="*/ 135286 h 629463"/>
                <a:gd name="connsiteX9" fmla="*/ 296006 w 367155"/>
                <a:gd name="connsiteY9" fmla="*/ 157077 h 629463"/>
                <a:gd name="connsiteX10" fmla="*/ 320402 w 367155"/>
                <a:gd name="connsiteY10" fmla="*/ 297927 h 629463"/>
                <a:gd name="connsiteX11" fmla="*/ 354518 w 367155"/>
                <a:gd name="connsiteY11" fmla="*/ 572194 h 629463"/>
                <a:gd name="connsiteX12" fmla="*/ 268560 w 367155"/>
                <a:gd name="connsiteY12" fmla="*/ 625243 h 629463"/>
                <a:gd name="connsiteX13" fmla="*/ 170785 w 367155"/>
                <a:gd name="connsiteY13" fmla="*/ 540237 h 629463"/>
                <a:gd name="connsiteX14" fmla="*/ 9668 w 367155"/>
                <a:gd name="connsiteY14" fmla="*/ 340176 h 629463"/>
                <a:gd name="connsiteX15" fmla="*/ 90290 w 367155"/>
                <a:gd name="connsiteY15" fmla="*/ 275437 h 629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67155" h="629463">
                  <a:moveTo>
                    <a:pt x="90290" y="275691"/>
                  </a:moveTo>
                  <a:cubicBezTo>
                    <a:pt x="134762" y="336999"/>
                    <a:pt x="181013" y="394877"/>
                    <a:pt x="229361" y="451738"/>
                  </a:cubicBezTo>
                  <a:cubicBezTo>
                    <a:pt x="235714" y="459997"/>
                    <a:pt x="241432" y="465969"/>
                    <a:pt x="246959" y="471877"/>
                  </a:cubicBezTo>
                  <a:cubicBezTo>
                    <a:pt x="235460" y="384267"/>
                    <a:pt x="213478" y="298626"/>
                    <a:pt x="201979" y="211016"/>
                  </a:cubicBezTo>
                  <a:cubicBezTo>
                    <a:pt x="196325" y="179822"/>
                    <a:pt x="189273" y="146277"/>
                    <a:pt x="194292" y="113241"/>
                  </a:cubicBezTo>
                  <a:cubicBezTo>
                    <a:pt x="199692" y="62923"/>
                    <a:pt x="258395" y="30649"/>
                    <a:pt x="298420" y="6952"/>
                  </a:cubicBezTo>
                  <a:cubicBezTo>
                    <a:pt x="353692" y="-26593"/>
                    <a:pt x="396068" y="66735"/>
                    <a:pt x="340732" y="100280"/>
                  </a:cubicBezTo>
                  <a:cubicBezTo>
                    <a:pt x="351342" y="92593"/>
                    <a:pt x="319449" y="115528"/>
                    <a:pt x="314748" y="117624"/>
                  </a:cubicBezTo>
                  <a:cubicBezTo>
                    <a:pt x="304138" y="125311"/>
                    <a:pt x="296705" y="139924"/>
                    <a:pt x="294544" y="135286"/>
                  </a:cubicBezTo>
                  <a:cubicBezTo>
                    <a:pt x="294544" y="141004"/>
                    <a:pt x="296451" y="145642"/>
                    <a:pt x="296006" y="157077"/>
                  </a:cubicBezTo>
                  <a:cubicBezTo>
                    <a:pt x="303375" y="204409"/>
                    <a:pt x="310682" y="251740"/>
                    <a:pt x="320402" y="297927"/>
                  </a:cubicBezTo>
                  <a:cubicBezTo>
                    <a:pt x="335523" y="381090"/>
                    <a:pt x="369321" y="486744"/>
                    <a:pt x="354518" y="572194"/>
                  </a:cubicBezTo>
                  <a:cubicBezTo>
                    <a:pt x="348165" y="614442"/>
                    <a:pt x="311698" y="639474"/>
                    <a:pt x="268560" y="625243"/>
                  </a:cubicBezTo>
                  <a:cubicBezTo>
                    <a:pt x="230124" y="608915"/>
                    <a:pt x="198358" y="569906"/>
                    <a:pt x="170785" y="540237"/>
                  </a:cubicBezTo>
                  <a:cubicBezTo>
                    <a:pt x="113695" y="476343"/>
                    <a:pt x="59922" y="409571"/>
                    <a:pt x="9668" y="340176"/>
                  </a:cubicBezTo>
                  <a:cubicBezTo>
                    <a:pt x="-28451" y="287127"/>
                    <a:pt x="49821" y="223468"/>
                    <a:pt x="90290" y="275437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 14">
              <a:extLst>
                <a:ext uri="{FF2B5EF4-FFF2-40B4-BE49-F238E27FC236}">
                  <a16:creationId xmlns:a16="http://schemas.microsoft.com/office/drawing/2014/main" id="{450342D2-CF2E-9450-45E6-73523FAA4346}"/>
                </a:ext>
              </a:extLst>
            </p:cNvPr>
            <p:cNvSpPr/>
            <p:nvPr/>
          </p:nvSpPr>
          <p:spPr>
            <a:xfrm>
              <a:off x="4494869" y="4089375"/>
              <a:ext cx="731188" cy="915335"/>
            </a:xfrm>
            <a:custGeom>
              <a:avLst/>
              <a:gdLst>
                <a:gd name="connsiteX0" fmla="*/ -514 w 645799"/>
                <a:gd name="connsiteY0" fmla="*/ 61416 h 808441"/>
                <a:gd name="connsiteX1" fmla="*/ 219877 w 645799"/>
                <a:gd name="connsiteY1" fmla="*/ -210 h 808441"/>
                <a:gd name="connsiteX2" fmla="*/ 333662 w 645799"/>
                <a:gd name="connsiteY2" fmla="*/ 71263 h 808441"/>
                <a:gd name="connsiteX3" fmla="*/ 441666 w 645799"/>
                <a:gd name="connsiteY3" fmla="*/ -210 h 808441"/>
                <a:gd name="connsiteX4" fmla="*/ 481564 w 645799"/>
                <a:gd name="connsiteY4" fmla="*/ 3475 h 808441"/>
                <a:gd name="connsiteX5" fmla="*/ 625527 w 645799"/>
                <a:gd name="connsiteY5" fmla="*/ 23360 h 808441"/>
                <a:gd name="connsiteX6" fmla="*/ 637598 w 645799"/>
                <a:gd name="connsiteY6" fmla="*/ 333459 h 808441"/>
                <a:gd name="connsiteX7" fmla="*/ 645285 w 645799"/>
                <a:gd name="connsiteY7" fmla="*/ 792920 h 808441"/>
                <a:gd name="connsiteX8" fmla="*/ 384488 w 645799"/>
                <a:gd name="connsiteY8" fmla="*/ 808231 h 808441"/>
                <a:gd name="connsiteX9" fmla="*/ 20006 w 645799"/>
                <a:gd name="connsiteY9" fmla="*/ 792920 h 808441"/>
                <a:gd name="connsiteX10" fmla="*/ 27694 w 645799"/>
                <a:gd name="connsiteY10" fmla="*/ 333459 h 808441"/>
                <a:gd name="connsiteX11" fmla="*/ -514 w 645799"/>
                <a:gd name="connsiteY11" fmla="*/ 61416 h 808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45799" h="808441">
                  <a:moveTo>
                    <a:pt x="-514" y="61416"/>
                  </a:moveTo>
                  <a:lnTo>
                    <a:pt x="219877" y="-210"/>
                  </a:lnTo>
                  <a:cubicBezTo>
                    <a:pt x="235252" y="69103"/>
                    <a:pt x="308250" y="71263"/>
                    <a:pt x="333662" y="71263"/>
                  </a:cubicBezTo>
                  <a:cubicBezTo>
                    <a:pt x="365428" y="71263"/>
                    <a:pt x="426292" y="69103"/>
                    <a:pt x="441666" y="-210"/>
                  </a:cubicBezTo>
                  <a:lnTo>
                    <a:pt x="481564" y="3475"/>
                  </a:lnTo>
                  <a:cubicBezTo>
                    <a:pt x="594142" y="14085"/>
                    <a:pt x="625527" y="23360"/>
                    <a:pt x="625527" y="23360"/>
                  </a:cubicBezTo>
                  <a:cubicBezTo>
                    <a:pt x="597382" y="336508"/>
                    <a:pt x="658436" y="258428"/>
                    <a:pt x="637598" y="333459"/>
                  </a:cubicBezTo>
                  <a:cubicBezTo>
                    <a:pt x="581436" y="535045"/>
                    <a:pt x="645285" y="792920"/>
                    <a:pt x="645285" y="792920"/>
                  </a:cubicBezTo>
                  <a:cubicBezTo>
                    <a:pt x="543317" y="808231"/>
                    <a:pt x="455770" y="808231"/>
                    <a:pt x="384488" y="808231"/>
                  </a:cubicBezTo>
                  <a:cubicBezTo>
                    <a:pt x="17401" y="808231"/>
                    <a:pt x="20006" y="792920"/>
                    <a:pt x="20006" y="792920"/>
                  </a:cubicBezTo>
                  <a:cubicBezTo>
                    <a:pt x="20006" y="792920"/>
                    <a:pt x="85889" y="477866"/>
                    <a:pt x="27694" y="333459"/>
                  </a:cubicBezTo>
                  <a:cubicBezTo>
                    <a:pt x="2281" y="269927"/>
                    <a:pt x="-514" y="61416"/>
                    <a:pt x="-514" y="61416"/>
                  </a:cubicBezTo>
                  <a:close/>
                </a:path>
              </a:pathLst>
            </a:custGeom>
            <a:solidFill>
              <a:srgbClr val="BE5ED3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 15">
              <a:extLst>
                <a:ext uri="{FF2B5EF4-FFF2-40B4-BE49-F238E27FC236}">
                  <a16:creationId xmlns:a16="http://schemas.microsoft.com/office/drawing/2014/main" id="{C17ABF88-D61C-FEDF-C35C-D80300B3B36B}"/>
                </a:ext>
              </a:extLst>
            </p:cNvPr>
            <p:cNvSpPr/>
            <p:nvPr/>
          </p:nvSpPr>
          <p:spPr>
            <a:xfrm>
              <a:off x="4736560" y="4414867"/>
              <a:ext cx="302114" cy="302114"/>
            </a:xfrm>
            <a:custGeom>
              <a:avLst/>
              <a:gdLst>
                <a:gd name="connsiteX0" fmla="*/ 266833 w 266833"/>
                <a:gd name="connsiteY0" fmla="*/ 133417 h 266833"/>
                <a:gd name="connsiteX1" fmla="*/ 133417 w 266833"/>
                <a:gd name="connsiteY1" fmla="*/ 266833 h 266833"/>
                <a:gd name="connsiteX2" fmla="*/ 0 w 266833"/>
                <a:gd name="connsiteY2" fmla="*/ 133417 h 266833"/>
                <a:gd name="connsiteX3" fmla="*/ 133417 w 266833"/>
                <a:gd name="connsiteY3" fmla="*/ 0 h 266833"/>
                <a:gd name="connsiteX4" fmla="*/ 266833 w 266833"/>
                <a:gd name="connsiteY4" fmla="*/ 133417 h 2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833" h="266833">
                  <a:moveTo>
                    <a:pt x="266833" y="133417"/>
                  </a:moveTo>
                  <a:cubicBezTo>
                    <a:pt x="266833" y="207101"/>
                    <a:pt x="207101" y="266833"/>
                    <a:pt x="133417" y="266833"/>
                  </a:cubicBezTo>
                  <a:cubicBezTo>
                    <a:pt x="59733" y="266833"/>
                    <a:pt x="0" y="207101"/>
                    <a:pt x="0" y="133417"/>
                  </a:cubicBezTo>
                  <a:cubicBezTo>
                    <a:pt x="0" y="59733"/>
                    <a:pt x="59733" y="0"/>
                    <a:pt x="133417" y="0"/>
                  </a:cubicBezTo>
                  <a:cubicBezTo>
                    <a:pt x="207101" y="0"/>
                    <a:pt x="266833" y="59733"/>
                    <a:pt x="266833" y="133417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 16">
              <a:extLst>
                <a:ext uri="{FF2B5EF4-FFF2-40B4-BE49-F238E27FC236}">
                  <a16:creationId xmlns:a16="http://schemas.microsoft.com/office/drawing/2014/main" id="{B57C214F-A1D2-81E8-50EF-B8CEEC414B99}"/>
                </a:ext>
              </a:extLst>
            </p:cNvPr>
            <p:cNvSpPr/>
            <p:nvPr/>
          </p:nvSpPr>
          <p:spPr>
            <a:xfrm>
              <a:off x="4808492" y="4501185"/>
              <a:ext cx="28772" cy="57545"/>
            </a:xfrm>
            <a:custGeom>
              <a:avLst/>
              <a:gdLst>
                <a:gd name="connsiteX0" fmla="*/ 25413 w 25412"/>
                <a:gd name="connsiteY0" fmla="*/ 25413 h 50825"/>
                <a:gd name="connsiteX1" fmla="*/ 12706 w 25412"/>
                <a:gd name="connsiteY1" fmla="*/ 50825 h 50825"/>
                <a:gd name="connsiteX2" fmla="*/ 0 w 25412"/>
                <a:gd name="connsiteY2" fmla="*/ 25413 h 50825"/>
                <a:gd name="connsiteX3" fmla="*/ 12706 w 25412"/>
                <a:gd name="connsiteY3" fmla="*/ 0 h 50825"/>
                <a:gd name="connsiteX4" fmla="*/ 25413 w 25412"/>
                <a:gd name="connsiteY4" fmla="*/ 25413 h 50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12" h="50825">
                  <a:moveTo>
                    <a:pt x="25413" y="25413"/>
                  </a:moveTo>
                  <a:cubicBezTo>
                    <a:pt x="25413" y="39448"/>
                    <a:pt x="19724" y="50825"/>
                    <a:pt x="12706" y="50825"/>
                  </a:cubicBezTo>
                  <a:cubicBezTo>
                    <a:pt x="5689" y="50825"/>
                    <a:pt x="0" y="39448"/>
                    <a:pt x="0" y="25413"/>
                  </a:cubicBezTo>
                  <a:cubicBezTo>
                    <a:pt x="0" y="11378"/>
                    <a:pt x="5689" y="0"/>
                    <a:pt x="12706" y="0"/>
                  </a:cubicBezTo>
                  <a:cubicBezTo>
                    <a:pt x="19724" y="0"/>
                    <a:pt x="25413" y="11378"/>
                    <a:pt x="25413" y="25413"/>
                  </a:cubicBez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 17">
              <a:extLst>
                <a:ext uri="{FF2B5EF4-FFF2-40B4-BE49-F238E27FC236}">
                  <a16:creationId xmlns:a16="http://schemas.microsoft.com/office/drawing/2014/main" id="{541D38C5-C185-EBD4-A2F1-3F698E7320F6}"/>
                </a:ext>
              </a:extLst>
            </p:cNvPr>
            <p:cNvSpPr/>
            <p:nvPr/>
          </p:nvSpPr>
          <p:spPr>
            <a:xfrm>
              <a:off x="4937970" y="4501185"/>
              <a:ext cx="28772" cy="57545"/>
            </a:xfrm>
            <a:custGeom>
              <a:avLst/>
              <a:gdLst>
                <a:gd name="connsiteX0" fmla="*/ 25413 w 25412"/>
                <a:gd name="connsiteY0" fmla="*/ 25413 h 50825"/>
                <a:gd name="connsiteX1" fmla="*/ 12706 w 25412"/>
                <a:gd name="connsiteY1" fmla="*/ 50825 h 50825"/>
                <a:gd name="connsiteX2" fmla="*/ 0 w 25412"/>
                <a:gd name="connsiteY2" fmla="*/ 25413 h 50825"/>
                <a:gd name="connsiteX3" fmla="*/ 12706 w 25412"/>
                <a:gd name="connsiteY3" fmla="*/ 0 h 50825"/>
                <a:gd name="connsiteX4" fmla="*/ 25413 w 25412"/>
                <a:gd name="connsiteY4" fmla="*/ 25413 h 50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12" h="50825">
                  <a:moveTo>
                    <a:pt x="25413" y="25413"/>
                  </a:moveTo>
                  <a:cubicBezTo>
                    <a:pt x="25413" y="39448"/>
                    <a:pt x="19724" y="50825"/>
                    <a:pt x="12706" y="50825"/>
                  </a:cubicBezTo>
                  <a:cubicBezTo>
                    <a:pt x="5689" y="50825"/>
                    <a:pt x="0" y="39448"/>
                    <a:pt x="0" y="25413"/>
                  </a:cubicBezTo>
                  <a:cubicBezTo>
                    <a:pt x="0" y="11378"/>
                    <a:pt x="5689" y="0"/>
                    <a:pt x="12706" y="0"/>
                  </a:cubicBezTo>
                  <a:cubicBezTo>
                    <a:pt x="19724" y="0"/>
                    <a:pt x="25413" y="11378"/>
                    <a:pt x="25413" y="25413"/>
                  </a:cubicBez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 18">
              <a:extLst>
                <a:ext uri="{FF2B5EF4-FFF2-40B4-BE49-F238E27FC236}">
                  <a16:creationId xmlns:a16="http://schemas.microsoft.com/office/drawing/2014/main" id="{37C3EC1F-FA8C-8EFC-79B6-25B2F4BC2D21}"/>
                </a:ext>
              </a:extLst>
            </p:cNvPr>
            <p:cNvSpPr/>
            <p:nvPr/>
          </p:nvSpPr>
          <p:spPr>
            <a:xfrm>
              <a:off x="4809355" y="4601890"/>
              <a:ext cx="156524" cy="64640"/>
            </a:xfrm>
            <a:custGeom>
              <a:avLst/>
              <a:gdLst>
                <a:gd name="connsiteX0" fmla="*/ -514 w 138245"/>
                <a:gd name="connsiteY0" fmla="*/ -210 h 57091"/>
                <a:gd name="connsiteX1" fmla="*/ 81924 w 138245"/>
                <a:gd name="connsiteY1" fmla="*/ 55596 h 57091"/>
                <a:gd name="connsiteX2" fmla="*/ 137731 w 138245"/>
                <a:gd name="connsiteY2" fmla="*/ -210 h 57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8245" h="57091">
                  <a:moveTo>
                    <a:pt x="-514" y="-210"/>
                  </a:moveTo>
                  <a:cubicBezTo>
                    <a:pt x="6836" y="37966"/>
                    <a:pt x="43748" y="62953"/>
                    <a:pt x="81924" y="55596"/>
                  </a:cubicBezTo>
                  <a:cubicBezTo>
                    <a:pt x="110183" y="50152"/>
                    <a:pt x="132286" y="28055"/>
                    <a:pt x="137731" y="-210"/>
                  </a:cubicBezTo>
                  <a:close/>
                </a:path>
              </a:pathLst>
            </a:custGeom>
            <a:solidFill>
              <a:srgbClr val="E27AA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 19">
              <a:extLst>
                <a:ext uri="{FF2B5EF4-FFF2-40B4-BE49-F238E27FC236}">
                  <a16:creationId xmlns:a16="http://schemas.microsoft.com/office/drawing/2014/main" id="{239E12F9-C2B7-6B63-2A50-82B4F1BFDC31}"/>
                </a:ext>
              </a:extLst>
            </p:cNvPr>
            <p:cNvSpPr/>
            <p:nvPr/>
          </p:nvSpPr>
          <p:spPr>
            <a:xfrm>
              <a:off x="4509837" y="4987374"/>
              <a:ext cx="724245" cy="307437"/>
            </a:xfrm>
            <a:custGeom>
              <a:avLst/>
              <a:gdLst>
                <a:gd name="connsiteX0" fmla="*/ 6214 w 639667"/>
                <a:gd name="connsiteY0" fmla="*/ -210 h 271534"/>
                <a:gd name="connsiteX1" fmla="*/ 632637 w 639667"/>
                <a:gd name="connsiteY1" fmla="*/ -210 h 271534"/>
                <a:gd name="connsiteX2" fmla="*/ 537657 w 639667"/>
                <a:gd name="connsiteY2" fmla="*/ 271325 h 271534"/>
                <a:gd name="connsiteX3" fmla="*/ 101194 w 639667"/>
                <a:gd name="connsiteY3" fmla="*/ 271325 h 271534"/>
                <a:gd name="connsiteX4" fmla="*/ 5897 w 639667"/>
                <a:gd name="connsiteY4" fmla="*/ -210 h 271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9667" h="271534">
                  <a:moveTo>
                    <a:pt x="6214" y="-210"/>
                  </a:moveTo>
                  <a:cubicBezTo>
                    <a:pt x="295029" y="15101"/>
                    <a:pt x="632637" y="-210"/>
                    <a:pt x="632637" y="-210"/>
                  </a:cubicBezTo>
                  <a:cubicBezTo>
                    <a:pt x="632637" y="-210"/>
                    <a:pt x="676283" y="271325"/>
                    <a:pt x="537657" y="271325"/>
                  </a:cubicBezTo>
                  <a:lnTo>
                    <a:pt x="101194" y="271325"/>
                  </a:lnTo>
                  <a:cubicBezTo>
                    <a:pt x="-37432" y="271325"/>
                    <a:pt x="5897" y="-210"/>
                    <a:pt x="5897" y="-210"/>
                  </a:cubicBez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 20">
              <a:extLst>
                <a:ext uri="{FF2B5EF4-FFF2-40B4-BE49-F238E27FC236}">
                  <a16:creationId xmlns:a16="http://schemas.microsoft.com/office/drawing/2014/main" id="{8B523F38-F622-8C07-ADC7-88D3EAC07AAA}"/>
                </a:ext>
              </a:extLst>
            </p:cNvPr>
            <p:cNvSpPr/>
            <p:nvPr/>
          </p:nvSpPr>
          <p:spPr>
            <a:xfrm>
              <a:off x="5524719" y="5246473"/>
              <a:ext cx="230304" cy="183920"/>
            </a:xfrm>
            <a:custGeom>
              <a:avLst/>
              <a:gdLst>
                <a:gd name="connsiteX0" fmla="*/ 27630 w 203409"/>
                <a:gd name="connsiteY0" fmla="*/ -210 h 162442"/>
                <a:gd name="connsiteX1" fmla="*/ 202787 w 203409"/>
                <a:gd name="connsiteY1" fmla="*/ 97057 h 162442"/>
                <a:gd name="connsiteX2" fmla="*/ -514 w 203409"/>
                <a:gd name="connsiteY2" fmla="*/ 161034 h 162442"/>
                <a:gd name="connsiteX3" fmla="*/ 27630 w 203409"/>
                <a:gd name="connsiteY3" fmla="*/ -210 h 162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3409" h="162442">
                  <a:moveTo>
                    <a:pt x="27630" y="-210"/>
                  </a:moveTo>
                  <a:cubicBezTo>
                    <a:pt x="27630" y="-210"/>
                    <a:pt x="207933" y="20247"/>
                    <a:pt x="202787" y="97057"/>
                  </a:cubicBezTo>
                  <a:cubicBezTo>
                    <a:pt x="200246" y="176408"/>
                    <a:pt x="-514" y="161034"/>
                    <a:pt x="-514" y="161034"/>
                  </a:cubicBezTo>
                  <a:lnTo>
                    <a:pt x="27630" y="-210"/>
                  </a:ln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 21">
              <a:extLst>
                <a:ext uri="{FF2B5EF4-FFF2-40B4-BE49-F238E27FC236}">
                  <a16:creationId xmlns:a16="http://schemas.microsoft.com/office/drawing/2014/main" id="{AAE0F455-A3BD-C2BF-E5FC-C311CEB61B9C}"/>
                </a:ext>
              </a:extLst>
            </p:cNvPr>
            <p:cNvSpPr/>
            <p:nvPr/>
          </p:nvSpPr>
          <p:spPr>
            <a:xfrm>
              <a:off x="4100646" y="5006258"/>
              <a:ext cx="1488236" cy="437236"/>
            </a:xfrm>
            <a:custGeom>
              <a:avLst/>
              <a:gdLst>
                <a:gd name="connsiteX0" fmla="*/ 1313924 w 1314438"/>
                <a:gd name="connsiteY0" fmla="*/ 208966 h 386175"/>
                <a:gd name="connsiteX1" fmla="*/ 2820 w 1314438"/>
                <a:gd name="connsiteY1" fmla="*/ 90797 h 386175"/>
                <a:gd name="connsiteX2" fmla="*/ 1293403 w 1314438"/>
                <a:gd name="connsiteY2" fmla="*/ 385966 h 386175"/>
                <a:gd name="connsiteX3" fmla="*/ 1313924 w 1314438"/>
                <a:gd name="connsiteY3" fmla="*/ 208712 h 386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4438" h="386175">
                  <a:moveTo>
                    <a:pt x="1313924" y="208966"/>
                  </a:moveTo>
                  <a:cubicBezTo>
                    <a:pt x="1313924" y="208966"/>
                    <a:pt x="82361" y="-168603"/>
                    <a:pt x="2820" y="90797"/>
                  </a:cubicBezTo>
                  <a:cubicBezTo>
                    <a:pt x="-76722" y="347847"/>
                    <a:pt x="1293403" y="385966"/>
                    <a:pt x="1293403" y="385966"/>
                  </a:cubicBezTo>
                  <a:lnTo>
                    <a:pt x="1313924" y="208712"/>
                  </a:lnTo>
                  <a:close/>
                </a:path>
              </a:pathLst>
            </a:custGeom>
            <a:solidFill>
              <a:srgbClr val="1E216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 22">
              <a:extLst>
                <a:ext uri="{FF2B5EF4-FFF2-40B4-BE49-F238E27FC236}">
                  <a16:creationId xmlns:a16="http://schemas.microsoft.com/office/drawing/2014/main" id="{0F2BEC0C-2410-B3C7-C170-1173BC1954F1}"/>
                </a:ext>
              </a:extLst>
            </p:cNvPr>
            <p:cNvSpPr/>
            <p:nvPr/>
          </p:nvSpPr>
          <p:spPr>
            <a:xfrm>
              <a:off x="4002665" y="5286755"/>
              <a:ext cx="235837" cy="184637"/>
            </a:xfrm>
            <a:custGeom>
              <a:avLst/>
              <a:gdLst>
                <a:gd name="connsiteX0" fmla="*/ 169282 w 208296"/>
                <a:gd name="connsiteY0" fmla="*/ -210 h 163075"/>
                <a:gd name="connsiteX1" fmla="*/ -94 w 208296"/>
                <a:gd name="connsiteY1" fmla="*/ 109382 h 163075"/>
                <a:gd name="connsiteX2" fmla="*/ 207782 w 208296"/>
                <a:gd name="connsiteY2" fmla="*/ 157857 h 163075"/>
                <a:gd name="connsiteX3" fmla="*/ 169282 w 208296"/>
                <a:gd name="connsiteY3" fmla="*/ -210 h 163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8296" h="163075">
                  <a:moveTo>
                    <a:pt x="169282" y="-210"/>
                  </a:moveTo>
                  <a:cubicBezTo>
                    <a:pt x="169282" y="-210"/>
                    <a:pt x="-10322" y="32890"/>
                    <a:pt x="-94" y="109382"/>
                  </a:cubicBezTo>
                  <a:cubicBezTo>
                    <a:pt x="10135" y="185874"/>
                    <a:pt x="207782" y="157857"/>
                    <a:pt x="207782" y="157857"/>
                  </a:cubicBezTo>
                  <a:lnTo>
                    <a:pt x="169282" y="-210"/>
                  </a:ln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 23">
              <a:extLst>
                <a:ext uri="{FF2B5EF4-FFF2-40B4-BE49-F238E27FC236}">
                  <a16:creationId xmlns:a16="http://schemas.microsoft.com/office/drawing/2014/main" id="{A268F388-3637-CA57-AD41-F9616801F65B}"/>
                </a:ext>
              </a:extLst>
            </p:cNvPr>
            <p:cNvSpPr/>
            <p:nvPr/>
          </p:nvSpPr>
          <p:spPr>
            <a:xfrm>
              <a:off x="4163334" y="4959760"/>
              <a:ext cx="1475212" cy="524448"/>
            </a:xfrm>
            <a:custGeom>
              <a:avLst/>
              <a:gdLst>
                <a:gd name="connsiteX0" fmla="*/ -514 w 1302935"/>
                <a:gd name="connsiteY0" fmla="*/ 288407 h 463202"/>
                <a:gd name="connsiteX1" fmla="*/ 1297439 w 1302935"/>
                <a:gd name="connsiteY1" fmla="*/ 75449 h 463202"/>
                <a:gd name="connsiteX2" fmla="*/ 30298 w 1302935"/>
                <a:gd name="connsiteY2" fmla="*/ 462992 h 463202"/>
                <a:gd name="connsiteX3" fmla="*/ -514 w 1302935"/>
                <a:gd name="connsiteY3" fmla="*/ 288535 h 463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2935" h="463202">
                  <a:moveTo>
                    <a:pt x="-514" y="288407"/>
                  </a:moveTo>
                  <a:cubicBezTo>
                    <a:pt x="-514" y="288407"/>
                    <a:pt x="1197376" y="-178551"/>
                    <a:pt x="1297439" y="75449"/>
                  </a:cubicBezTo>
                  <a:cubicBezTo>
                    <a:pt x="1394896" y="326908"/>
                    <a:pt x="30298" y="462992"/>
                    <a:pt x="30298" y="462992"/>
                  </a:cubicBezTo>
                  <a:lnTo>
                    <a:pt x="-514" y="288535"/>
                  </a:lnTo>
                  <a:close/>
                </a:path>
              </a:pathLst>
            </a:custGeom>
            <a:solidFill>
              <a:srgbClr val="2A3072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 24">
              <a:extLst>
                <a:ext uri="{FF2B5EF4-FFF2-40B4-BE49-F238E27FC236}">
                  <a16:creationId xmlns:a16="http://schemas.microsoft.com/office/drawing/2014/main" id="{FE012B05-D20B-3BD0-718D-1C33AC236567}"/>
                </a:ext>
              </a:extLst>
            </p:cNvPr>
            <p:cNvSpPr/>
            <p:nvPr/>
          </p:nvSpPr>
          <p:spPr>
            <a:xfrm>
              <a:off x="4197069" y="4159220"/>
              <a:ext cx="334881" cy="457055"/>
            </a:xfrm>
            <a:custGeom>
              <a:avLst/>
              <a:gdLst>
                <a:gd name="connsiteX0" fmla="*/ 262507 w 295773"/>
                <a:gd name="connsiteY0" fmla="*/ -210 h 403680"/>
                <a:gd name="connsiteX1" fmla="*/ -514 w 295773"/>
                <a:gd name="connsiteY1" fmla="*/ 206522 h 403680"/>
                <a:gd name="connsiteX2" fmla="*/ 151962 w 295773"/>
                <a:gd name="connsiteY2" fmla="*/ 403470 h 403680"/>
                <a:gd name="connsiteX3" fmla="*/ 290969 w 295773"/>
                <a:gd name="connsiteY3" fmla="*/ 272468 h 403680"/>
                <a:gd name="connsiteX4" fmla="*/ 262507 w 295773"/>
                <a:gd name="connsiteY4" fmla="*/ -210 h 403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5773" h="403680">
                  <a:moveTo>
                    <a:pt x="262507" y="-210"/>
                  </a:moveTo>
                  <a:cubicBezTo>
                    <a:pt x="262507" y="-210"/>
                    <a:pt x="113843" y="47693"/>
                    <a:pt x="-514" y="206522"/>
                  </a:cubicBezTo>
                  <a:lnTo>
                    <a:pt x="151962" y="403470"/>
                  </a:lnTo>
                  <a:cubicBezTo>
                    <a:pt x="151962" y="403470"/>
                    <a:pt x="278326" y="317766"/>
                    <a:pt x="290969" y="272468"/>
                  </a:cubicBezTo>
                  <a:cubicBezTo>
                    <a:pt x="309393" y="206395"/>
                    <a:pt x="262507" y="-210"/>
                    <a:pt x="262507" y="-210"/>
                  </a:cubicBezTo>
                  <a:close/>
                </a:path>
              </a:pathLst>
            </a:custGeom>
            <a:solidFill>
              <a:srgbClr val="BE5ED3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 25">
              <a:extLst>
                <a:ext uri="{FF2B5EF4-FFF2-40B4-BE49-F238E27FC236}">
                  <a16:creationId xmlns:a16="http://schemas.microsoft.com/office/drawing/2014/main" id="{A3B5C0C4-5C97-144E-19F3-23E22BCDA458}"/>
                </a:ext>
              </a:extLst>
            </p:cNvPr>
            <p:cNvSpPr/>
            <p:nvPr/>
          </p:nvSpPr>
          <p:spPr>
            <a:xfrm>
              <a:off x="5168201" y="4116061"/>
              <a:ext cx="316452" cy="449862"/>
            </a:xfrm>
            <a:custGeom>
              <a:avLst/>
              <a:gdLst>
                <a:gd name="connsiteX0" fmla="*/ 30827 w 279496"/>
                <a:gd name="connsiteY0" fmla="*/ -210 h 397327"/>
                <a:gd name="connsiteX1" fmla="*/ 278982 w 279496"/>
                <a:gd name="connsiteY1" fmla="*/ 203092 h 397327"/>
                <a:gd name="connsiteX2" fmla="*/ 134892 w 279496"/>
                <a:gd name="connsiteY2" fmla="*/ 397117 h 397327"/>
                <a:gd name="connsiteX3" fmla="*/ 3508 w 279496"/>
                <a:gd name="connsiteY3" fmla="*/ 268148 h 397327"/>
                <a:gd name="connsiteX4" fmla="*/ 30827 w 279496"/>
                <a:gd name="connsiteY4" fmla="*/ -210 h 397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9496" h="397327">
                  <a:moveTo>
                    <a:pt x="30827" y="-210"/>
                  </a:moveTo>
                  <a:cubicBezTo>
                    <a:pt x="30827" y="-210"/>
                    <a:pt x="161575" y="21899"/>
                    <a:pt x="278982" y="203092"/>
                  </a:cubicBezTo>
                  <a:lnTo>
                    <a:pt x="134892" y="397117"/>
                  </a:lnTo>
                  <a:cubicBezTo>
                    <a:pt x="134892" y="397117"/>
                    <a:pt x="15452" y="312747"/>
                    <a:pt x="3508" y="268148"/>
                  </a:cubicBezTo>
                  <a:cubicBezTo>
                    <a:pt x="-13899" y="203155"/>
                    <a:pt x="30827" y="-210"/>
                    <a:pt x="30827" y="-210"/>
                  </a:cubicBezTo>
                  <a:close/>
                </a:path>
              </a:pathLst>
            </a:custGeom>
            <a:solidFill>
              <a:srgbClr val="BE5ED3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 26">
              <a:extLst>
                <a:ext uri="{FF2B5EF4-FFF2-40B4-BE49-F238E27FC236}">
                  <a16:creationId xmlns:a16="http://schemas.microsoft.com/office/drawing/2014/main" id="{AD897F33-47CB-375A-F707-E2041DF6A56A}"/>
                </a:ext>
              </a:extLst>
            </p:cNvPr>
            <p:cNvSpPr/>
            <p:nvPr/>
          </p:nvSpPr>
          <p:spPr>
            <a:xfrm>
              <a:off x="3207781" y="3560975"/>
              <a:ext cx="1486066" cy="1759003"/>
            </a:xfrm>
            <a:custGeom>
              <a:avLst/>
              <a:gdLst>
                <a:gd name="connsiteX0" fmla="*/ 933471 w 1312521"/>
                <a:gd name="connsiteY0" fmla="*/ 872704 h 1553585"/>
                <a:gd name="connsiteX1" fmla="*/ 1030738 w 1312521"/>
                <a:gd name="connsiteY1" fmla="*/ 1006121 h 1553585"/>
                <a:gd name="connsiteX2" fmla="*/ 1002848 w 1312521"/>
                <a:gd name="connsiteY2" fmla="*/ 1177656 h 1553585"/>
                <a:gd name="connsiteX3" fmla="*/ 831211 w 1312521"/>
                <a:gd name="connsiteY3" fmla="*/ 1152962 h 1553585"/>
                <a:gd name="connsiteX4" fmla="*/ 830677 w 1312521"/>
                <a:gd name="connsiteY4" fmla="*/ 1152244 h 1553585"/>
                <a:gd name="connsiteX5" fmla="*/ 674897 w 1312521"/>
                <a:gd name="connsiteY5" fmla="*/ 940874 h 1553585"/>
                <a:gd name="connsiteX6" fmla="*/ 674008 w 1312521"/>
                <a:gd name="connsiteY6" fmla="*/ 935220 h 1553585"/>
                <a:gd name="connsiteX7" fmla="*/ 669942 w 1312521"/>
                <a:gd name="connsiteY7" fmla="*/ 931217 h 1553585"/>
                <a:gd name="connsiteX8" fmla="*/ 695354 w 1312521"/>
                <a:gd name="connsiteY8" fmla="*/ 758792 h 1553585"/>
                <a:gd name="connsiteX9" fmla="*/ 761046 w 1312521"/>
                <a:gd name="connsiteY9" fmla="*/ 359495 h 1553585"/>
                <a:gd name="connsiteX10" fmla="*/ 364075 w 1312521"/>
                <a:gd name="connsiteY10" fmla="*/ 301001 h 1553585"/>
                <a:gd name="connsiteX11" fmla="*/ 362321 w 1312521"/>
                <a:gd name="connsiteY11" fmla="*/ 302316 h 1553585"/>
                <a:gd name="connsiteX12" fmla="*/ 248727 w 1312521"/>
                <a:gd name="connsiteY12" fmla="*/ 557015 h 1553585"/>
                <a:gd name="connsiteX13" fmla="*/ 137946 w 1312521"/>
                <a:gd name="connsiteY13" fmla="*/ 696670 h 1553585"/>
                <a:gd name="connsiteX14" fmla="*/ 136910 w 1312521"/>
                <a:gd name="connsiteY14" fmla="*/ 696785 h 1553585"/>
                <a:gd name="connsiteX15" fmla="*/ 2668 w 1312521"/>
                <a:gd name="connsiteY15" fmla="*/ 586557 h 1553585"/>
                <a:gd name="connsiteX16" fmla="*/ 216389 w 1312521"/>
                <a:gd name="connsiteY16" fmla="*/ 102509 h 1553585"/>
                <a:gd name="connsiteX17" fmla="*/ 960282 w 1312521"/>
                <a:gd name="connsiteY17" fmla="*/ 215786 h 1553585"/>
                <a:gd name="connsiteX18" fmla="*/ 933471 w 1312521"/>
                <a:gd name="connsiteY18" fmla="*/ 872704 h 1553585"/>
                <a:gd name="connsiteX19" fmla="*/ 1259071 w 1312521"/>
                <a:gd name="connsiteY19" fmla="*/ 1318824 h 1553585"/>
                <a:gd name="connsiteX20" fmla="*/ 1287153 w 1312521"/>
                <a:gd name="connsiteY20" fmla="*/ 1357388 h 1553585"/>
                <a:gd name="connsiteX21" fmla="*/ 1259199 w 1312521"/>
                <a:gd name="connsiteY21" fmla="*/ 1528923 h 1553585"/>
                <a:gd name="connsiteX22" fmla="*/ 1087644 w 1312521"/>
                <a:gd name="connsiteY22" fmla="*/ 1504260 h 1553585"/>
                <a:gd name="connsiteX23" fmla="*/ 1087091 w 1312521"/>
                <a:gd name="connsiteY23" fmla="*/ 1503511 h 1553585"/>
                <a:gd name="connsiteX24" fmla="*/ 1061678 w 1312521"/>
                <a:gd name="connsiteY24" fmla="*/ 1465391 h 1553585"/>
                <a:gd name="connsiteX25" fmla="*/ 1087091 w 1312521"/>
                <a:gd name="connsiteY25" fmla="*/ 1292967 h 1553585"/>
                <a:gd name="connsiteX26" fmla="*/ 1259199 w 1312521"/>
                <a:gd name="connsiteY26" fmla="*/ 1318379 h 1553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312521" h="1553585">
                  <a:moveTo>
                    <a:pt x="933471" y="872704"/>
                  </a:moveTo>
                  <a:lnTo>
                    <a:pt x="1030738" y="1006121"/>
                  </a:lnTo>
                  <a:cubicBezTo>
                    <a:pt x="1071971" y="1062410"/>
                    <a:pt x="1061551" y="1137187"/>
                    <a:pt x="1002848" y="1177656"/>
                  </a:cubicBezTo>
                  <a:cubicBezTo>
                    <a:pt x="948630" y="1218234"/>
                    <a:pt x="871788" y="1207179"/>
                    <a:pt x="831211" y="1152962"/>
                  </a:cubicBezTo>
                  <a:cubicBezTo>
                    <a:pt x="831033" y="1152720"/>
                    <a:pt x="830855" y="1152485"/>
                    <a:pt x="830677" y="1152244"/>
                  </a:cubicBezTo>
                  <a:lnTo>
                    <a:pt x="674897" y="940874"/>
                  </a:lnTo>
                  <a:cubicBezTo>
                    <a:pt x="673246" y="937633"/>
                    <a:pt x="676486" y="935982"/>
                    <a:pt x="674008" y="935220"/>
                  </a:cubicBezTo>
                  <a:cubicBezTo>
                    <a:pt x="671530" y="934457"/>
                    <a:pt x="671594" y="934457"/>
                    <a:pt x="669942" y="931217"/>
                  </a:cubicBezTo>
                  <a:cubicBezTo>
                    <a:pt x="630362" y="878168"/>
                    <a:pt x="642369" y="798499"/>
                    <a:pt x="695354" y="758792"/>
                  </a:cubicBezTo>
                  <a:cubicBezTo>
                    <a:pt x="824769" y="665400"/>
                    <a:pt x="855010" y="486495"/>
                    <a:pt x="761046" y="359495"/>
                  </a:cubicBezTo>
                  <a:cubicBezTo>
                    <a:pt x="667578" y="233721"/>
                    <a:pt x="489849" y="207534"/>
                    <a:pt x="364075" y="301001"/>
                  </a:cubicBezTo>
                  <a:cubicBezTo>
                    <a:pt x="363490" y="301439"/>
                    <a:pt x="362906" y="301878"/>
                    <a:pt x="362321" y="302316"/>
                  </a:cubicBezTo>
                  <a:cubicBezTo>
                    <a:pt x="281636" y="360797"/>
                    <a:pt x="238326" y="457912"/>
                    <a:pt x="248727" y="557015"/>
                  </a:cubicBezTo>
                  <a:cubicBezTo>
                    <a:pt x="256700" y="626169"/>
                    <a:pt x="207101" y="688697"/>
                    <a:pt x="137946" y="696670"/>
                  </a:cubicBezTo>
                  <a:cubicBezTo>
                    <a:pt x="137603" y="696708"/>
                    <a:pt x="137254" y="696747"/>
                    <a:pt x="136910" y="696785"/>
                  </a:cubicBezTo>
                  <a:cubicBezTo>
                    <a:pt x="68106" y="701741"/>
                    <a:pt x="9847" y="656252"/>
                    <a:pt x="2668" y="586557"/>
                  </a:cubicBezTo>
                  <a:cubicBezTo>
                    <a:pt x="-18056" y="398554"/>
                    <a:pt x="63493" y="213855"/>
                    <a:pt x="216389" y="102509"/>
                  </a:cubicBezTo>
                  <a:cubicBezTo>
                    <a:pt x="453375" y="-70456"/>
                    <a:pt x="785519" y="-19878"/>
                    <a:pt x="960282" y="215786"/>
                  </a:cubicBezTo>
                  <a:cubicBezTo>
                    <a:pt x="1106405" y="415975"/>
                    <a:pt x="1089251" y="688017"/>
                    <a:pt x="933471" y="872704"/>
                  </a:cubicBezTo>
                  <a:close/>
                  <a:moveTo>
                    <a:pt x="1259071" y="1318824"/>
                  </a:moveTo>
                  <a:lnTo>
                    <a:pt x="1287153" y="1357388"/>
                  </a:lnTo>
                  <a:cubicBezTo>
                    <a:pt x="1328321" y="1413677"/>
                    <a:pt x="1317902" y="1488454"/>
                    <a:pt x="1259199" y="1528923"/>
                  </a:cubicBezTo>
                  <a:cubicBezTo>
                    <a:pt x="1205012" y="1569488"/>
                    <a:pt x="1128209" y="1558440"/>
                    <a:pt x="1087644" y="1504260"/>
                  </a:cubicBezTo>
                  <a:cubicBezTo>
                    <a:pt x="1087460" y="1504013"/>
                    <a:pt x="1087275" y="1503758"/>
                    <a:pt x="1087091" y="1503511"/>
                  </a:cubicBezTo>
                  <a:lnTo>
                    <a:pt x="1061678" y="1465391"/>
                  </a:lnTo>
                  <a:cubicBezTo>
                    <a:pt x="1019684" y="1411517"/>
                    <a:pt x="1034106" y="1332610"/>
                    <a:pt x="1087091" y="1292967"/>
                  </a:cubicBezTo>
                  <a:cubicBezTo>
                    <a:pt x="1141671" y="1252592"/>
                    <a:pt x="1218621" y="1263958"/>
                    <a:pt x="1259199" y="1318379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 27">
              <a:extLst>
                <a:ext uri="{FF2B5EF4-FFF2-40B4-BE49-F238E27FC236}">
                  <a16:creationId xmlns:a16="http://schemas.microsoft.com/office/drawing/2014/main" id="{F49707F0-5B5B-8581-AD75-BDB89B2AAEBB}"/>
                </a:ext>
              </a:extLst>
            </p:cNvPr>
            <p:cNvSpPr/>
            <p:nvPr/>
          </p:nvSpPr>
          <p:spPr>
            <a:xfrm>
              <a:off x="6164723" y="1962102"/>
              <a:ext cx="703194" cy="564027"/>
            </a:xfrm>
            <a:custGeom>
              <a:avLst/>
              <a:gdLst>
                <a:gd name="connsiteX0" fmla="*/ 577794 w 621074"/>
                <a:gd name="connsiteY0" fmla="*/ 416455 h 498159"/>
                <a:gd name="connsiteX1" fmla="*/ 538976 w 621074"/>
                <a:gd name="connsiteY1" fmla="*/ 192061 h 498159"/>
                <a:gd name="connsiteX2" fmla="*/ 398317 w 621074"/>
                <a:gd name="connsiteY2" fmla="*/ 31135 h 498159"/>
                <a:gd name="connsiteX3" fmla="*/ 10265 w 621074"/>
                <a:gd name="connsiteY3" fmla="*/ 121159 h 498159"/>
                <a:gd name="connsiteX4" fmla="*/ 38156 w 621074"/>
                <a:gd name="connsiteY4" fmla="*/ 265504 h 498159"/>
                <a:gd name="connsiteX5" fmla="*/ 65983 w 621074"/>
                <a:gd name="connsiteY5" fmla="*/ 440152 h 498159"/>
                <a:gd name="connsiteX6" fmla="*/ 577794 w 621074"/>
                <a:gd name="connsiteY6" fmla="*/ 416455 h 498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1074" h="498159">
                  <a:moveTo>
                    <a:pt x="577794" y="416455"/>
                  </a:moveTo>
                  <a:cubicBezTo>
                    <a:pt x="667819" y="254576"/>
                    <a:pt x="596536" y="161629"/>
                    <a:pt x="538976" y="192061"/>
                  </a:cubicBezTo>
                  <a:cubicBezTo>
                    <a:pt x="538976" y="192061"/>
                    <a:pt x="530399" y="91617"/>
                    <a:pt x="398317" y="31135"/>
                  </a:cubicBezTo>
                  <a:cubicBezTo>
                    <a:pt x="245841" y="-38750"/>
                    <a:pt x="48893" y="15633"/>
                    <a:pt x="10265" y="121159"/>
                  </a:cubicBezTo>
                  <a:cubicBezTo>
                    <a:pt x="-25186" y="218554"/>
                    <a:pt x="38156" y="265504"/>
                    <a:pt x="38156" y="265504"/>
                  </a:cubicBezTo>
                  <a:cubicBezTo>
                    <a:pt x="38156" y="265504"/>
                    <a:pt x="-1043" y="335388"/>
                    <a:pt x="65983" y="440152"/>
                  </a:cubicBezTo>
                  <a:cubicBezTo>
                    <a:pt x="133009" y="544916"/>
                    <a:pt x="537515" y="488945"/>
                    <a:pt x="577794" y="416455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 28">
              <a:extLst>
                <a:ext uri="{FF2B5EF4-FFF2-40B4-BE49-F238E27FC236}">
                  <a16:creationId xmlns:a16="http://schemas.microsoft.com/office/drawing/2014/main" id="{473CD6F3-C0FD-56DE-E6AE-4071BFF60157}"/>
                </a:ext>
              </a:extLst>
            </p:cNvPr>
            <p:cNvSpPr/>
            <p:nvPr/>
          </p:nvSpPr>
          <p:spPr>
            <a:xfrm>
              <a:off x="6390997" y="2695691"/>
              <a:ext cx="273341" cy="276362"/>
            </a:xfrm>
            <a:custGeom>
              <a:avLst/>
              <a:gdLst>
                <a:gd name="connsiteX0" fmla="*/ 120196 w 241420"/>
                <a:gd name="connsiteY0" fmla="*/ 243879 h 244088"/>
                <a:gd name="connsiteX1" fmla="*/ 120196 w 241420"/>
                <a:gd name="connsiteY1" fmla="*/ 243879 h 244088"/>
                <a:gd name="connsiteX2" fmla="*/ -514 w 241420"/>
                <a:gd name="connsiteY2" fmla="*/ 160017 h 244088"/>
                <a:gd name="connsiteX3" fmla="*/ -514 w 241420"/>
                <a:gd name="connsiteY3" fmla="*/ -210 h 244088"/>
                <a:gd name="connsiteX4" fmla="*/ 240906 w 241420"/>
                <a:gd name="connsiteY4" fmla="*/ -210 h 244088"/>
                <a:gd name="connsiteX5" fmla="*/ 240906 w 241420"/>
                <a:gd name="connsiteY5" fmla="*/ 160335 h 244088"/>
                <a:gd name="connsiteX6" fmla="*/ 120958 w 241420"/>
                <a:gd name="connsiteY6" fmla="*/ 243752 h 244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1420" h="244088">
                  <a:moveTo>
                    <a:pt x="120196" y="243879"/>
                  </a:moveTo>
                  <a:lnTo>
                    <a:pt x="120196" y="243879"/>
                  </a:lnTo>
                  <a:cubicBezTo>
                    <a:pt x="53551" y="243879"/>
                    <a:pt x="-514" y="206332"/>
                    <a:pt x="-514" y="160017"/>
                  </a:cubicBezTo>
                  <a:lnTo>
                    <a:pt x="-514" y="-210"/>
                  </a:lnTo>
                  <a:lnTo>
                    <a:pt x="240906" y="-210"/>
                  </a:lnTo>
                  <a:lnTo>
                    <a:pt x="240906" y="160335"/>
                  </a:lnTo>
                  <a:cubicBezTo>
                    <a:pt x="240906" y="206395"/>
                    <a:pt x="187222" y="243752"/>
                    <a:pt x="120958" y="243752"/>
                  </a:cubicBez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 29">
              <a:extLst>
                <a:ext uri="{FF2B5EF4-FFF2-40B4-BE49-F238E27FC236}">
                  <a16:creationId xmlns:a16="http://schemas.microsoft.com/office/drawing/2014/main" id="{FA2B43FC-DA31-C657-D6BD-70191530F54A}"/>
                </a:ext>
              </a:extLst>
            </p:cNvPr>
            <p:cNvSpPr/>
            <p:nvPr/>
          </p:nvSpPr>
          <p:spPr>
            <a:xfrm>
              <a:off x="6190954" y="2434905"/>
              <a:ext cx="140645" cy="163868"/>
            </a:xfrm>
            <a:custGeom>
              <a:avLst/>
              <a:gdLst>
                <a:gd name="connsiteX0" fmla="*/ 89827 w 124220"/>
                <a:gd name="connsiteY0" fmla="*/ 32284 h 144731"/>
                <a:gd name="connsiteX1" fmla="*/ -514 w 124220"/>
                <a:gd name="connsiteY1" fmla="*/ 54139 h 144731"/>
                <a:gd name="connsiteX2" fmla="*/ 109904 w 124220"/>
                <a:gd name="connsiteY2" fmla="*/ 127518 h 144731"/>
                <a:gd name="connsiteX3" fmla="*/ 89827 w 124220"/>
                <a:gd name="connsiteY3" fmla="*/ 32221 h 14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220" h="144731">
                  <a:moveTo>
                    <a:pt x="89827" y="32284"/>
                  </a:moveTo>
                  <a:cubicBezTo>
                    <a:pt x="47960" y="-30739"/>
                    <a:pt x="-514" y="9730"/>
                    <a:pt x="-514" y="54139"/>
                  </a:cubicBezTo>
                  <a:cubicBezTo>
                    <a:pt x="-514" y="118306"/>
                    <a:pt x="69752" y="173579"/>
                    <a:pt x="109904" y="127518"/>
                  </a:cubicBezTo>
                  <a:cubicBezTo>
                    <a:pt x="150056" y="81458"/>
                    <a:pt x="89827" y="32221"/>
                    <a:pt x="89827" y="3222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 30">
              <a:extLst>
                <a:ext uri="{FF2B5EF4-FFF2-40B4-BE49-F238E27FC236}">
                  <a16:creationId xmlns:a16="http://schemas.microsoft.com/office/drawing/2014/main" id="{E69471F3-91F7-DB98-A9D7-57736A4FD212}"/>
                </a:ext>
              </a:extLst>
            </p:cNvPr>
            <p:cNvSpPr/>
            <p:nvPr/>
          </p:nvSpPr>
          <p:spPr>
            <a:xfrm>
              <a:off x="6727091" y="2434905"/>
              <a:ext cx="140816" cy="163868"/>
            </a:xfrm>
            <a:custGeom>
              <a:avLst/>
              <a:gdLst>
                <a:gd name="connsiteX0" fmla="*/ 33579 w 124371"/>
                <a:gd name="connsiteY0" fmla="*/ 32284 h 144731"/>
                <a:gd name="connsiteX1" fmla="*/ 123857 w 124371"/>
                <a:gd name="connsiteY1" fmla="*/ 54139 h 144731"/>
                <a:gd name="connsiteX2" fmla="*/ 13439 w 124371"/>
                <a:gd name="connsiteY2" fmla="*/ 127518 h 144731"/>
                <a:gd name="connsiteX3" fmla="*/ 33579 w 124371"/>
                <a:gd name="connsiteY3" fmla="*/ 32221 h 14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371" h="144731">
                  <a:moveTo>
                    <a:pt x="33579" y="32284"/>
                  </a:moveTo>
                  <a:cubicBezTo>
                    <a:pt x="75319" y="-30739"/>
                    <a:pt x="123857" y="9730"/>
                    <a:pt x="123857" y="54139"/>
                  </a:cubicBezTo>
                  <a:cubicBezTo>
                    <a:pt x="123857" y="118306"/>
                    <a:pt x="53972" y="173579"/>
                    <a:pt x="13439" y="127518"/>
                  </a:cubicBezTo>
                  <a:cubicBezTo>
                    <a:pt x="-27095" y="81458"/>
                    <a:pt x="33579" y="32221"/>
                    <a:pt x="33579" y="3222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 31">
              <a:extLst>
                <a:ext uri="{FF2B5EF4-FFF2-40B4-BE49-F238E27FC236}">
                  <a16:creationId xmlns:a16="http://schemas.microsoft.com/office/drawing/2014/main" id="{00ECE732-A391-C2B1-CCD8-12D197896BFE}"/>
                </a:ext>
              </a:extLst>
            </p:cNvPr>
            <p:cNvSpPr/>
            <p:nvPr/>
          </p:nvSpPr>
          <p:spPr>
            <a:xfrm>
              <a:off x="6265196" y="2209296"/>
              <a:ext cx="527030" cy="543940"/>
            </a:xfrm>
            <a:custGeom>
              <a:avLst/>
              <a:gdLst>
                <a:gd name="connsiteX0" fmla="*/ 232068 w 465483"/>
                <a:gd name="connsiteY0" fmla="*/ 480209 h 480418"/>
                <a:gd name="connsiteX1" fmla="*/ 7928 w 465483"/>
                <a:gd name="connsiteY1" fmla="*/ 114266 h 480418"/>
                <a:gd name="connsiteX2" fmla="*/ 456589 w 465483"/>
                <a:gd name="connsiteY2" fmla="*/ 114266 h 480418"/>
                <a:gd name="connsiteX3" fmla="*/ 232068 w 465483"/>
                <a:gd name="connsiteY3" fmla="*/ 480209 h 480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5483" h="480418">
                  <a:moveTo>
                    <a:pt x="232068" y="480209"/>
                  </a:moveTo>
                  <a:cubicBezTo>
                    <a:pt x="66886" y="480209"/>
                    <a:pt x="-30763" y="299588"/>
                    <a:pt x="7928" y="114266"/>
                  </a:cubicBezTo>
                  <a:cubicBezTo>
                    <a:pt x="39694" y="-38527"/>
                    <a:pt x="424696" y="-38210"/>
                    <a:pt x="456589" y="114266"/>
                  </a:cubicBezTo>
                  <a:cubicBezTo>
                    <a:pt x="495153" y="299588"/>
                    <a:pt x="397251" y="480209"/>
                    <a:pt x="232068" y="480209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 32">
              <a:extLst>
                <a:ext uri="{FF2B5EF4-FFF2-40B4-BE49-F238E27FC236}">
                  <a16:creationId xmlns:a16="http://schemas.microsoft.com/office/drawing/2014/main" id="{E1C3E29D-276F-7F40-4A7A-D3EADEFA7589}"/>
                </a:ext>
              </a:extLst>
            </p:cNvPr>
            <p:cNvSpPr/>
            <p:nvPr/>
          </p:nvSpPr>
          <p:spPr>
            <a:xfrm>
              <a:off x="6255890" y="2082565"/>
              <a:ext cx="448236" cy="230262"/>
            </a:xfrm>
            <a:custGeom>
              <a:avLst/>
              <a:gdLst>
                <a:gd name="connsiteX0" fmla="*/ 386663 w 395890"/>
                <a:gd name="connsiteY0" fmla="*/ 112221 h 203372"/>
                <a:gd name="connsiteX1" fmla="*/ 250388 w 395890"/>
                <a:gd name="connsiteY1" fmla="*/ 153708 h 203372"/>
                <a:gd name="connsiteX2" fmla="*/ 94799 w 395890"/>
                <a:gd name="connsiteY2" fmla="*/ 202246 h 203372"/>
                <a:gd name="connsiteX3" fmla="*/ 66146 w 395890"/>
                <a:gd name="connsiteY3" fmla="*/ 31028 h 203372"/>
                <a:gd name="connsiteX4" fmla="*/ 386663 w 395890"/>
                <a:gd name="connsiteY4" fmla="*/ 112221 h 203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5890" h="203372">
                  <a:moveTo>
                    <a:pt x="386663" y="112221"/>
                  </a:moveTo>
                  <a:cubicBezTo>
                    <a:pt x="344034" y="208472"/>
                    <a:pt x="250388" y="153708"/>
                    <a:pt x="250388" y="153708"/>
                  </a:cubicBezTo>
                  <a:cubicBezTo>
                    <a:pt x="207091" y="190022"/>
                    <a:pt x="151062" y="207500"/>
                    <a:pt x="94799" y="202246"/>
                  </a:cubicBezTo>
                  <a:cubicBezTo>
                    <a:pt x="581" y="192970"/>
                    <a:pt x="-48592" y="79439"/>
                    <a:pt x="66146" y="31028"/>
                  </a:cubicBezTo>
                  <a:cubicBezTo>
                    <a:pt x="180884" y="-17383"/>
                    <a:pt x="446701" y="-22784"/>
                    <a:pt x="386663" y="112221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 33">
              <a:extLst>
                <a:ext uri="{FF2B5EF4-FFF2-40B4-BE49-F238E27FC236}">
                  <a16:creationId xmlns:a16="http://schemas.microsoft.com/office/drawing/2014/main" id="{0443894B-D0F0-65E4-3006-E960BAE60411}"/>
                </a:ext>
              </a:extLst>
            </p:cNvPr>
            <p:cNvSpPr/>
            <p:nvPr/>
          </p:nvSpPr>
          <p:spPr>
            <a:xfrm>
              <a:off x="5999615" y="5296537"/>
              <a:ext cx="484830" cy="136671"/>
            </a:xfrm>
            <a:custGeom>
              <a:avLst/>
              <a:gdLst>
                <a:gd name="connsiteX0" fmla="*/ 415046 w 428211"/>
                <a:gd name="connsiteY0" fmla="*/ -210 h 120710"/>
                <a:gd name="connsiteX1" fmla="*/ 150755 w 428211"/>
                <a:gd name="connsiteY1" fmla="*/ -210 h 120710"/>
                <a:gd name="connsiteX2" fmla="*/ -514 w 428211"/>
                <a:gd name="connsiteY2" fmla="*/ 107794 h 120710"/>
                <a:gd name="connsiteX3" fmla="*/ -514 w 428211"/>
                <a:gd name="connsiteY3" fmla="*/ 120500 h 120710"/>
                <a:gd name="connsiteX4" fmla="*/ 425148 w 428211"/>
                <a:gd name="connsiteY4" fmla="*/ 120500 h 120710"/>
                <a:gd name="connsiteX5" fmla="*/ 414856 w 428211"/>
                <a:gd name="connsiteY5" fmla="*/ -210 h 120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8211" h="120710">
                  <a:moveTo>
                    <a:pt x="415046" y="-210"/>
                  </a:moveTo>
                  <a:lnTo>
                    <a:pt x="150755" y="-210"/>
                  </a:lnTo>
                  <a:cubicBezTo>
                    <a:pt x="150755" y="-210"/>
                    <a:pt x="14924" y="76981"/>
                    <a:pt x="-514" y="107794"/>
                  </a:cubicBezTo>
                  <a:lnTo>
                    <a:pt x="-514" y="120500"/>
                  </a:lnTo>
                  <a:lnTo>
                    <a:pt x="425148" y="120500"/>
                  </a:lnTo>
                  <a:cubicBezTo>
                    <a:pt x="425148" y="120500"/>
                    <a:pt x="435377" y="30412"/>
                    <a:pt x="414856" y="-210"/>
                  </a:cubicBezTo>
                  <a:close/>
                </a:path>
              </a:pathLst>
            </a:custGeom>
            <a:solidFill>
              <a:srgbClr val="00065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 34">
              <a:extLst>
                <a:ext uri="{FF2B5EF4-FFF2-40B4-BE49-F238E27FC236}">
                  <a16:creationId xmlns:a16="http://schemas.microsoft.com/office/drawing/2014/main" id="{A87F1124-B33E-C3B4-B2E6-BCF8E3C3CB1F}"/>
                </a:ext>
              </a:extLst>
            </p:cNvPr>
            <p:cNvSpPr/>
            <p:nvPr/>
          </p:nvSpPr>
          <p:spPr>
            <a:xfrm>
              <a:off x="5999255" y="5433496"/>
              <a:ext cx="483023" cy="22802"/>
            </a:xfrm>
            <a:custGeom>
              <a:avLst/>
              <a:gdLst>
                <a:gd name="connsiteX0" fmla="*/ 426615 w 426615"/>
                <a:gd name="connsiteY0" fmla="*/ 0 h 20139"/>
                <a:gd name="connsiteX1" fmla="*/ 0 w 426615"/>
                <a:gd name="connsiteY1" fmla="*/ 0 h 20139"/>
                <a:gd name="connsiteX2" fmla="*/ 0 w 426615"/>
                <a:gd name="connsiteY2" fmla="*/ 20140 h 20139"/>
                <a:gd name="connsiteX3" fmla="*/ 426615 w 426615"/>
                <a:gd name="connsiteY3" fmla="*/ 20140 h 20139"/>
                <a:gd name="connsiteX4" fmla="*/ 426615 w 426615"/>
                <a:gd name="connsiteY4" fmla="*/ 0 h 20139"/>
                <a:gd name="connsiteX5" fmla="*/ 426615 w 426615"/>
                <a:gd name="connsiteY5" fmla="*/ 0 h 2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6615" h="20139">
                  <a:moveTo>
                    <a:pt x="426615" y="0"/>
                  </a:moveTo>
                  <a:lnTo>
                    <a:pt x="0" y="0"/>
                  </a:lnTo>
                  <a:lnTo>
                    <a:pt x="0" y="20140"/>
                  </a:lnTo>
                  <a:lnTo>
                    <a:pt x="426615" y="20140"/>
                  </a:lnTo>
                  <a:lnTo>
                    <a:pt x="426615" y="0"/>
                  </a:lnTo>
                  <a:lnTo>
                    <a:pt x="426615" y="0"/>
                  </a:ln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 35">
              <a:extLst>
                <a:ext uri="{FF2B5EF4-FFF2-40B4-BE49-F238E27FC236}">
                  <a16:creationId xmlns:a16="http://schemas.microsoft.com/office/drawing/2014/main" id="{51067588-8E97-509D-F0B5-D1D412A1EEA2}"/>
                </a:ext>
              </a:extLst>
            </p:cNvPr>
            <p:cNvSpPr/>
            <p:nvPr/>
          </p:nvSpPr>
          <p:spPr>
            <a:xfrm>
              <a:off x="6140242" y="3782441"/>
              <a:ext cx="395626" cy="1526181"/>
            </a:xfrm>
            <a:custGeom>
              <a:avLst/>
              <a:gdLst>
                <a:gd name="connsiteX0" fmla="*/ 348910 w 349424"/>
                <a:gd name="connsiteY0" fmla="*/ -210 h 1347952"/>
                <a:gd name="connsiteX1" fmla="*/ 17656 w 349424"/>
                <a:gd name="connsiteY1" fmla="*/ -210 h 1347952"/>
                <a:gd name="connsiteX2" fmla="*/ -514 w 349424"/>
                <a:gd name="connsiteY2" fmla="*/ 1347742 h 1347952"/>
                <a:gd name="connsiteX3" fmla="*/ 305200 w 349424"/>
                <a:gd name="connsiteY3" fmla="*/ 1347742 h 1347952"/>
                <a:gd name="connsiteX4" fmla="*/ 346369 w 349424"/>
                <a:gd name="connsiteY4" fmla="*/ 202583 h 1347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424" h="1347952">
                  <a:moveTo>
                    <a:pt x="348910" y="-210"/>
                  </a:moveTo>
                  <a:lnTo>
                    <a:pt x="17656" y="-210"/>
                  </a:lnTo>
                  <a:lnTo>
                    <a:pt x="-514" y="1347742"/>
                  </a:lnTo>
                  <a:lnTo>
                    <a:pt x="305200" y="1347742"/>
                  </a:lnTo>
                  <a:cubicBezTo>
                    <a:pt x="305200" y="1347742"/>
                    <a:pt x="303548" y="602833"/>
                    <a:pt x="346369" y="202583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 36">
              <a:extLst>
                <a:ext uri="{FF2B5EF4-FFF2-40B4-BE49-F238E27FC236}">
                  <a16:creationId xmlns:a16="http://schemas.microsoft.com/office/drawing/2014/main" id="{7CE7D50B-B195-D9EC-9BED-C69520497FDB}"/>
                </a:ext>
              </a:extLst>
            </p:cNvPr>
            <p:cNvSpPr/>
            <p:nvPr/>
          </p:nvSpPr>
          <p:spPr>
            <a:xfrm>
              <a:off x="6583298" y="5296537"/>
              <a:ext cx="484866" cy="136671"/>
            </a:xfrm>
            <a:custGeom>
              <a:avLst/>
              <a:gdLst>
                <a:gd name="connsiteX0" fmla="*/ 12168 w 428243"/>
                <a:gd name="connsiteY0" fmla="*/ -210 h 120710"/>
                <a:gd name="connsiteX1" fmla="*/ 276460 w 428243"/>
                <a:gd name="connsiteY1" fmla="*/ -210 h 120710"/>
                <a:gd name="connsiteX2" fmla="*/ 427729 w 428243"/>
                <a:gd name="connsiteY2" fmla="*/ 107794 h 120710"/>
                <a:gd name="connsiteX3" fmla="*/ 427729 w 428243"/>
                <a:gd name="connsiteY3" fmla="*/ 120500 h 120710"/>
                <a:gd name="connsiteX4" fmla="*/ 2067 w 428243"/>
                <a:gd name="connsiteY4" fmla="*/ 120500 h 120710"/>
                <a:gd name="connsiteX5" fmla="*/ 12295 w 428243"/>
                <a:gd name="connsiteY5" fmla="*/ -210 h 120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8243" h="120710">
                  <a:moveTo>
                    <a:pt x="12168" y="-210"/>
                  </a:moveTo>
                  <a:lnTo>
                    <a:pt x="276460" y="-210"/>
                  </a:lnTo>
                  <a:cubicBezTo>
                    <a:pt x="276460" y="-210"/>
                    <a:pt x="412354" y="76981"/>
                    <a:pt x="427729" y="107794"/>
                  </a:cubicBezTo>
                  <a:lnTo>
                    <a:pt x="427729" y="120500"/>
                  </a:lnTo>
                  <a:lnTo>
                    <a:pt x="2067" y="120500"/>
                  </a:lnTo>
                  <a:cubicBezTo>
                    <a:pt x="2067" y="120500"/>
                    <a:pt x="-8226" y="30412"/>
                    <a:pt x="12295" y="-210"/>
                  </a:cubicBezTo>
                  <a:close/>
                </a:path>
              </a:pathLst>
            </a:custGeom>
            <a:solidFill>
              <a:srgbClr val="00065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 37">
              <a:extLst>
                <a:ext uri="{FF2B5EF4-FFF2-40B4-BE49-F238E27FC236}">
                  <a16:creationId xmlns:a16="http://schemas.microsoft.com/office/drawing/2014/main" id="{09209F44-476E-DBCE-39AD-2066EB288C0F}"/>
                </a:ext>
              </a:extLst>
            </p:cNvPr>
            <p:cNvSpPr/>
            <p:nvPr/>
          </p:nvSpPr>
          <p:spPr>
            <a:xfrm>
              <a:off x="6585142" y="5433496"/>
              <a:ext cx="483023" cy="22802"/>
            </a:xfrm>
            <a:custGeom>
              <a:avLst/>
              <a:gdLst>
                <a:gd name="connsiteX0" fmla="*/ 0 w 426615"/>
                <a:gd name="connsiteY0" fmla="*/ 0 h 20139"/>
                <a:gd name="connsiteX1" fmla="*/ 426615 w 426615"/>
                <a:gd name="connsiteY1" fmla="*/ 0 h 20139"/>
                <a:gd name="connsiteX2" fmla="*/ 426615 w 426615"/>
                <a:gd name="connsiteY2" fmla="*/ 20140 h 20139"/>
                <a:gd name="connsiteX3" fmla="*/ 0 w 426615"/>
                <a:gd name="connsiteY3" fmla="*/ 20140 h 20139"/>
                <a:gd name="connsiteX4" fmla="*/ 0 w 426615"/>
                <a:gd name="connsiteY4" fmla="*/ 0 h 20139"/>
                <a:gd name="connsiteX5" fmla="*/ 0 w 426615"/>
                <a:gd name="connsiteY5" fmla="*/ 0 h 2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6615" h="20139">
                  <a:moveTo>
                    <a:pt x="0" y="0"/>
                  </a:moveTo>
                  <a:lnTo>
                    <a:pt x="426615" y="0"/>
                  </a:lnTo>
                  <a:lnTo>
                    <a:pt x="426615" y="20140"/>
                  </a:lnTo>
                  <a:lnTo>
                    <a:pt x="0" y="2014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 38">
              <a:extLst>
                <a:ext uri="{FF2B5EF4-FFF2-40B4-BE49-F238E27FC236}">
                  <a16:creationId xmlns:a16="http://schemas.microsoft.com/office/drawing/2014/main" id="{FAEC1A79-A865-5011-966B-151E5CA2C9FF}"/>
                </a:ext>
              </a:extLst>
            </p:cNvPr>
            <p:cNvSpPr/>
            <p:nvPr/>
          </p:nvSpPr>
          <p:spPr>
            <a:xfrm>
              <a:off x="6531551" y="3782441"/>
              <a:ext cx="395698" cy="1526181"/>
            </a:xfrm>
            <a:custGeom>
              <a:avLst/>
              <a:gdLst>
                <a:gd name="connsiteX0" fmla="*/ -514 w 349488"/>
                <a:gd name="connsiteY0" fmla="*/ -210 h 1347952"/>
                <a:gd name="connsiteX1" fmla="*/ 330803 w 349488"/>
                <a:gd name="connsiteY1" fmla="*/ -210 h 1347952"/>
                <a:gd name="connsiteX2" fmla="*/ 348974 w 349488"/>
                <a:gd name="connsiteY2" fmla="*/ 1347742 h 1347952"/>
                <a:gd name="connsiteX3" fmla="*/ 43259 w 349488"/>
                <a:gd name="connsiteY3" fmla="*/ 1347742 h 1347952"/>
                <a:gd name="connsiteX4" fmla="*/ 2408 w 349488"/>
                <a:gd name="connsiteY4" fmla="*/ 202583 h 1347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488" h="1347952">
                  <a:moveTo>
                    <a:pt x="-514" y="-210"/>
                  </a:moveTo>
                  <a:lnTo>
                    <a:pt x="330803" y="-210"/>
                  </a:lnTo>
                  <a:lnTo>
                    <a:pt x="348974" y="1347742"/>
                  </a:lnTo>
                  <a:lnTo>
                    <a:pt x="43259" y="1347742"/>
                  </a:lnTo>
                  <a:cubicBezTo>
                    <a:pt x="43259" y="1347742"/>
                    <a:pt x="44911" y="602833"/>
                    <a:pt x="2408" y="202583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 39">
              <a:extLst>
                <a:ext uri="{FF2B5EF4-FFF2-40B4-BE49-F238E27FC236}">
                  <a16:creationId xmlns:a16="http://schemas.microsoft.com/office/drawing/2014/main" id="{90ACB333-5BB9-E54D-D381-A103476358B6}"/>
                </a:ext>
              </a:extLst>
            </p:cNvPr>
            <p:cNvSpPr/>
            <p:nvPr/>
          </p:nvSpPr>
          <p:spPr>
            <a:xfrm>
              <a:off x="6096076" y="2836102"/>
              <a:ext cx="877570" cy="1154292"/>
            </a:xfrm>
            <a:custGeom>
              <a:avLst/>
              <a:gdLst>
                <a:gd name="connsiteX0" fmla="*/ 259966 w 775086"/>
                <a:gd name="connsiteY0" fmla="*/ -210 h 1019493"/>
                <a:gd name="connsiteX1" fmla="*/ 380676 w 775086"/>
                <a:gd name="connsiteY1" fmla="*/ 81873 h 1019493"/>
                <a:gd name="connsiteX2" fmla="*/ 383217 w 775086"/>
                <a:gd name="connsiteY2" fmla="*/ 81873 h 1019493"/>
                <a:gd name="connsiteX3" fmla="*/ 501132 w 775086"/>
                <a:gd name="connsiteY3" fmla="*/ -210 h 1019493"/>
                <a:gd name="connsiteX4" fmla="*/ 703735 w 775086"/>
                <a:gd name="connsiteY4" fmla="*/ 40832 h 1019493"/>
                <a:gd name="connsiteX5" fmla="*/ 774573 w 775086"/>
                <a:gd name="connsiteY5" fmla="*/ 943109 h 1019493"/>
                <a:gd name="connsiteX6" fmla="*/ -514 w 775086"/>
                <a:gd name="connsiteY6" fmla="*/ 924050 h 1019493"/>
                <a:gd name="connsiteX7" fmla="*/ 66893 w 775086"/>
                <a:gd name="connsiteY7" fmla="*/ 30603 h 1019493"/>
                <a:gd name="connsiteX8" fmla="*/ 260029 w 775086"/>
                <a:gd name="connsiteY8" fmla="*/ -210 h 1019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75086" h="1019493">
                  <a:moveTo>
                    <a:pt x="259966" y="-210"/>
                  </a:moveTo>
                  <a:cubicBezTo>
                    <a:pt x="277882" y="79268"/>
                    <a:pt x="372734" y="81873"/>
                    <a:pt x="380676" y="81873"/>
                  </a:cubicBezTo>
                  <a:lnTo>
                    <a:pt x="383217" y="81873"/>
                  </a:lnTo>
                  <a:cubicBezTo>
                    <a:pt x="390904" y="81873"/>
                    <a:pt x="480611" y="79268"/>
                    <a:pt x="501132" y="-210"/>
                  </a:cubicBezTo>
                  <a:lnTo>
                    <a:pt x="703735" y="40832"/>
                  </a:lnTo>
                  <a:lnTo>
                    <a:pt x="774573" y="943109"/>
                  </a:lnTo>
                  <a:cubicBezTo>
                    <a:pt x="615743" y="1025700"/>
                    <a:pt x="132394" y="1069347"/>
                    <a:pt x="-514" y="924050"/>
                  </a:cubicBezTo>
                  <a:lnTo>
                    <a:pt x="66893" y="30603"/>
                  </a:lnTo>
                  <a:lnTo>
                    <a:pt x="260029" y="-210"/>
                  </a:lnTo>
                  <a:close/>
                </a:path>
              </a:pathLst>
            </a:custGeom>
            <a:solidFill>
              <a:srgbClr val="00065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 40">
              <a:extLst>
                <a:ext uri="{FF2B5EF4-FFF2-40B4-BE49-F238E27FC236}">
                  <a16:creationId xmlns:a16="http://schemas.microsoft.com/office/drawing/2014/main" id="{7D9B2530-E219-18FB-AB87-D90991387DAA}"/>
                </a:ext>
              </a:extLst>
            </p:cNvPr>
            <p:cNvSpPr/>
            <p:nvPr/>
          </p:nvSpPr>
          <p:spPr>
            <a:xfrm>
              <a:off x="5368249" y="3005839"/>
              <a:ext cx="792980" cy="422613"/>
            </a:xfrm>
            <a:custGeom>
              <a:avLst/>
              <a:gdLst>
                <a:gd name="connsiteX0" fmla="*/ 698477 w 700375"/>
                <a:gd name="connsiteY0" fmla="*/ 67344 h 373260"/>
                <a:gd name="connsiteX1" fmla="*/ 582976 w 700375"/>
                <a:gd name="connsiteY1" fmla="*/ 238880 h 373260"/>
                <a:gd name="connsiteX2" fmla="*/ 51470 w 700375"/>
                <a:gd name="connsiteY2" fmla="*/ 369755 h 373260"/>
                <a:gd name="connsiteX3" fmla="*/ 51470 w 700375"/>
                <a:gd name="connsiteY3" fmla="*/ 261751 h 373260"/>
                <a:gd name="connsiteX4" fmla="*/ 505786 w 700375"/>
                <a:gd name="connsiteY4" fmla="*/ 161816 h 373260"/>
                <a:gd name="connsiteX5" fmla="*/ 580181 w 700375"/>
                <a:gd name="connsiteY5" fmla="*/ 74714 h 373260"/>
                <a:gd name="connsiteX6" fmla="*/ 587932 w 700375"/>
                <a:gd name="connsiteY6" fmla="*/ 56798 h 373260"/>
                <a:gd name="connsiteX7" fmla="*/ 587932 w 700375"/>
                <a:gd name="connsiteY7" fmla="*/ 59339 h 373260"/>
                <a:gd name="connsiteX8" fmla="*/ 590474 w 700375"/>
                <a:gd name="connsiteY8" fmla="*/ 51652 h 373260"/>
                <a:gd name="connsiteX9" fmla="*/ 593015 w 700375"/>
                <a:gd name="connsiteY9" fmla="*/ 38945 h 373260"/>
                <a:gd name="connsiteX10" fmla="*/ 698287 w 700375"/>
                <a:gd name="connsiteY10" fmla="*/ 67154 h 37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00375" h="373260">
                  <a:moveTo>
                    <a:pt x="698477" y="67344"/>
                  </a:moveTo>
                  <a:cubicBezTo>
                    <a:pt x="683039" y="133989"/>
                    <a:pt x="634310" y="195488"/>
                    <a:pt x="582976" y="238880"/>
                  </a:cubicBezTo>
                  <a:cubicBezTo>
                    <a:pt x="439014" y="362068"/>
                    <a:pt x="233933" y="382525"/>
                    <a:pt x="51470" y="369755"/>
                  </a:cubicBezTo>
                  <a:cubicBezTo>
                    <a:pt x="-17843" y="364609"/>
                    <a:pt x="-17843" y="256986"/>
                    <a:pt x="51470" y="261751"/>
                  </a:cubicBezTo>
                  <a:cubicBezTo>
                    <a:pt x="202930" y="274457"/>
                    <a:pt x="385139" y="264356"/>
                    <a:pt x="505786" y="161816"/>
                  </a:cubicBezTo>
                  <a:cubicBezTo>
                    <a:pt x="541681" y="131066"/>
                    <a:pt x="559660" y="110609"/>
                    <a:pt x="580181" y="74714"/>
                  </a:cubicBezTo>
                  <a:cubicBezTo>
                    <a:pt x="582284" y="68545"/>
                    <a:pt x="584876" y="62554"/>
                    <a:pt x="587932" y="56798"/>
                  </a:cubicBezTo>
                  <a:cubicBezTo>
                    <a:pt x="593015" y="46506"/>
                    <a:pt x="582786" y="69504"/>
                    <a:pt x="587932" y="59339"/>
                  </a:cubicBezTo>
                  <a:cubicBezTo>
                    <a:pt x="587932" y="56798"/>
                    <a:pt x="590474" y="54193"/>
                    <a:pt x="590474" y="51652"/>
                  </a:cubicBezTo>
                  <a:cubicBezTo>
                    <a:pt x="591077" y="47370"/>
                    <a:pt x="591928" y="43132"/>
                    <a:pt x="593015" y="38945"/>
                  </a:cubicBezTo>
                  <a:cubicBezTo>
                    <a:pt x="610994" y="-30241"/>
                    <a:pt x="713725" y="509"/>
                    <a:pt x="698287" y="67154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 41">
              <a:extLst>
                <a:ext uri="{FF2B5EF4-FFF2-40B4-BE49-F238E27FC236}">
                  <a16:creationId xmlns:a16="http://schemas.microsoft.com/office/drawing/2014/main" id="{1687F458-986C-0986-B77C-4B56FB841DE7}"/>
                </a:ext>
              </a:extLst>
            </p:cNvPr>
            <p:cNvSpPr/>
            <p:nvPr/>
          </p:nvSpPr>
          <p:spPr>
            <a:xfrm>
              <a:off x="5555003" y="2870989"/>
              <a:ext cx="617392" cy="613005"/>
            </a:xfrm>
            <a:custGeom>
              <a:avLst/>
              <a:gdLst>
                <a:gd name="connsiteX0" fmla="*/ 14860 w 545292"/>
                <a:gd name="connsiteY0" fmla="*/ 541208 h 541418"/>
                <a:gd name="connsiteX1" fmla="*/ 534550 w 545292"/>
                <a:gd name="connsiteY1" fmla="*/ 283332 h 541418"/>
                <a:gd name="connsiteX2" fmla="*/ 544778 w 545292"/>
                <a:gd name="connsiteY2" fmla="*/ -210 h 541418"/>
                <a:gd name="connsiteX3" fmla="*/ 544778 w 545292"/>
                <a:gd name="connsiteY3" fmla="*/ -210 h 541418"/>
                <a:gd name="connsiteX4" fmla="*/ 356661 w 545292"/>
                <a:gd name="connsiteY4" fmla="*/ 143562 h 541418"/>
                <a:gd name="connsiteX5" fmla="*/ -514 w 545292"/>
                <a:gd name="connsiteY5" fmla="*/ 353662 h 541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5292" h="541418">
                  <a:moveTo>
                    <a:pt x="14860" y="541208"/>
                  </a:moveTo>
                  <a:cubicBezTo>
                    <a:pt x="14860" y="541208"/>
                    <a:pt x="369367" y="543812"/>
                    <a:pt x="534550" y="283332"/>
                  </a:cubicBezTo>
                  <a:lnTo>
                    <a:pt x="544778" y="-210"/>
                  </a:lnTo>
                  <a:lnTo>
                    <a:pt x="544778" y="-210"/>
                  </a:lnTo>
                  <a:cubicBezTo>
                    <a:pt x="544778" y="-210"/>
                    <a:pt x="471018" y="3793"/>
                    <a:pt x="356661" y="143562"/>
                  </a:cubicBezTo>
                  <a:cubicBezTo>
                    <a:pt x="285251" y="230855"/>
                    <a:pt x="140653" y="363890"/>
                    <a:pt x="-514" y="353662"/>
                  </a:cubicBez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 42">
              <a:extLst>
                <a:ext uri="{FF2B5EF4-FFF2-40B4-BE49-F238E27FC236}">
                  <a16:creationId xmlns:a16="http://schemas.microsoft.com/office/drawing/2014/main" id="{AD7BE7CC-5547-2F56-FCD8-90CCEE8E1F9D}"/>
                </a:ext>
              </a:extLst>
            </p:cNvPr>
            <p:cNvSpPr/>
            <p:nvPr/>
          </p:nvSpPr>
          <p:spPr>
            <a:xfrm>
              <a:off x="4621893" y="1105990"/>
              <a:ext cx="1140920" cy="1998720"/>
            </a:xfrm>
            <a:custGeom>
              <a:avLst/>
              <a:gdLst>
                <a:gd name="connsiteX0" fmla="*/ 596690 w 1007682"/>
                <a:gd name="connsiteY0" fmla="*/ 1042540 h 1765307"/>
                <a:gd name="connsiteX1" fmla="*/ 596690 w 1007682"/>
                <a:gd name="connsiteY1" fmla="*/ 1209120 h 1765307"/>
                <a:gd name="connsiteX2" fmla="*/ 479747 w 1007682"/>
                <a:gd name="connsiteY2" fmla="*/ 1332124 h 1765307"/>
                <a:gd name="connsiteX3" fmla="*/ 473502 w 1007682"/>
                <a:gd name="connsiteY3" fmla="*/ 1332118 h 1765307"/>
                <a:gd name="connsiteX4" fmla="*/ 350314 w 1007682"/>
                <a:gd name="connsiteY4" fmla="*/ 1209120 h 1765307"/>
                <a:gd name="connsiteX5" fmla="*/ 350314 w 1007682"/>
                <a:gd name="connsiteY5" fmla="*/ 945209 h 1765307"/>
                <a:gd name="connsiteX6" fmla="*/ 352855 w 1007682"/>
                <a:gd name="connsiteY6" fmla="*/ 940063 h 1765307"/>
                <a:gd name="connsiteX7" fmla="*/ 350314 w 1007682"/>
                <a:gd name="connsiteY7" fmla="*/ 934981 h 1765307"/>
                <a:gd name="connsiteX8" fmla="*/ 473502 w 1007682"/>
                <a:gd name="connsiteY8" fmla="*/ 811983 h 1765307"/>
                <a:gd name="connsiteX9" fmla="*/ 760983 w 1007682"/>
                <a:gd name="connsiteY9" fmla="*/ 530157 h 1765307"/>
                <a:gd name="connsiteX10" fmla="*/ 473502 w 1007682"/>
                <a:gd name="connsiteY10" fmla="*/ 245725 h 1765307"/>
                <a:gd name="connsiteX11" fmla="*/ 229667 w 1007682"/>
                <a:gd name="connsiteY11" fmla="*/ 384097 h 1765307"/>
                <a:gd name="connsiteX12" fmla="*/ 62134 w 1007682"/>
                <a:gd name="connsiteY12" fmla="*/ 430888 h 1765307"/>
                <a:gd name="connsiteX13" fmla="*/ 15343 w 1007682"/>
                <a:gd name="connsiteY13" fmla="*/ 263355 h 1765307"/>
                <a:gd name="connsiteX14" fmla="*/ 16645 w 1007682"/>
                <a:gd name="connsiteY14" fmla="*/ 261100 h 1765307"/>
                <a:gd name="connsiteX15" fmla="*/ 473502 w 1007682"/>
                <a:gd name="connsiteY15" fmla="*/ -206 h 1765307"/>
                <a:gd name="connsiteX16" fmla="*/ 1007168 w 1007682"/>
                <a:gd name="connsiteY16" fmla="*/ 530157 h 1765307"/>
                <a:gd name="connsiteX17" fmla="*/ 596499 w 1007682"/>
                <a:gd name="connsiteY17" fmla="*/ 1042540 h 1765307"/>
                <a:gd name="connsiteX18" fmla="*/ 596690 w 1007682"/>
                <a:gd name="connsiteY18" fmla="*/ 1595965 h 1765307"/>
                <a:gd name="connsiteX19" fmla="*/ 596690 w 1007682"/>
                <a:gd name="connsiteY19" fmla="*/ 1642089 h 1765307"/>
                <a:gd name="connsiteX20" fmla="*/ 473502 w 1007682"/>
                <a:gd name="connsiteY20" fmla="*/ 1765086 h 1765307"/>
                <a:gd name="connsiteX21" fmla="*/ 350314 w 1007682"/>
                <a:gd name="connsiteY21" fmla="*/ 1645221 h 1765307"/>
                <a:gd name="connsiteX22" fmla="*/ 350314 w 1007682"/>
                <a:gd name="connsiteY22" fmla="*/ 1642089 h 1765307"/>
                <a:gd name="connsiteX23" fmla="*/ 350314 w 1007682"/>
                <a:gd name="connsiteY23" fmla="*/ 1595965 h 1765307"/>
                <a:gd name="connsiteX24" fmla="*/ 473502 w 1007682"/>
                <a:gd name="connsiteY24" fmla="*/ 1473031 h 1765307"/>
                <a:gd name="connsiteX25" fmla="*/ 596690 w 1007682"/>
                <a:gd name="connsiteY25" fmla="*/ 1592769 h 1765307"/>
                <a:gd name="connsiteX26" fmla="*/ 596690 w 1007682"/>
                <a:gd name="connsiteY26" fmla="*/ 1595965 h 1765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07682" h="1765307">
                  <a:moveTo>
                    <a:pt x="596690" y="1042540"/>
                  </a:moveTo>
                  <a:lnTo>
                    <a:pt x="596690" y="1209120"/>
                  </a:lnTo>
                  <a:cubicBezTo>
                    <a:pt x="598361" y="1275377"/>
                    <a:pt x="546004" y="1330447"/>
                    <a:pt x="479747" y="1332124"/>
                  </a:cubicBezTo>
                  <a:cubicBezTo>
                    <a:pt x="477663" y="1332175"/>
                    <a:pt x="475579" y="1332175"/>
                    <a:pt x="473502" y="1332118"/>
                  </a:cubicBezTo>
                  <a:cubicBezTo>
                    <a:pt x="405529" y="1332156"/>
                    <a:pt x="350384" y="1277093"/>
                    <a:pt x="350314" y="1209120"/>
                  </a:cubicBezTo>
                  <a:lnTo>
                    <a:pt x="350314" y="945209"/>
                  </a:lnTo>
                  <a:cubicBezTo>
                    <a:pt x="350314" y="942668"/>
                    <a:pt x="352855" y="942668"/>
                    <a:pt x="352855" y="940063"/>
                  </a:cubicBezTo>
                  <a:cubicBezTo>
                    <a:pt x="350314" y="937522"/>
                    <a:pt x="350314" y="937522"/>
                    <a:pt x="350314" y="934981"/>
                  </a:cubicBezTo>
                  <a:cubicBezTo>
                    <a:pt x="350314" y="870941"/>
                    <a:pt x="406793" y="811983"/>
                    <a:pt x="473502" y="811983"/>
                  </a:cubicBezTo>
                  <a:cubicBezTo>
                    <a:pt x="632649" y="811983"/>
                    <a:pt x="760983" y="686445"/>
                    <a:pt x="760983" y="530157"/>
                  </a:cubicBezTo>
                  <a:cubicBezTo>
                    <a:pt x="760983" y="368723"/>
                    <a:pt x="632649" y="245725"/>
                    <a:pt x="473502" y="245725"/>
                  </a:cubicBezTo>
                  <a:cubicBezTo>
                    <a:pt x="373636" y="246094"/>
                    <a:pt x="281198" y="298552"/>
                    <a:pt x="229667" y="384097"/>
                  </a:cubicBezTo>
                  <a:cubicBezTo>
                    <a:pt x="196326" y="443283"/>
                    <a:pt x="121320" y="464230"/>
                    <a:pt x="62134" y="430888"/>
                  </a:cubicBezTo>
                  <a:cubicBezTo>
                    <a:pt x="2948" y="397547"/>
                    <a:pt x="-17999" y="322541"/>
                    <a:pt x="15343" y="263355"/>
                  </a:cubicBezTo>
                  <a:cubicBezTo>
                    <a:pt x="15769" y="262599"/>
                    <a:pt x="16201" y="261850"/>
                    <a:pt x="16645" y="261100"/>
                  </a:cubicBezTo>
                  <a:cubicBezTo>
                    <a:pt x="111346" y="98668"/>
                    <a:pt x="285480" y="-930"/>
                    <a:pt x="473502" y="-206"/>
                  </a:cubicBezTo>
                  <a:cubicBezTo>
                    <a:pt x="766129" y="-206"/>
                    <a:pt x="1007168" y="235497"/>
                    <a:pt x="1007168" y="530157"/>
                  </a:cubicBezTo>
                  <a:cubicBezTo>
                    <a:pt x="1007168" y="778693"/>
                    <a:pt x="832647" y="988792"/>
                    <a:pt x="596499" y="1042540"/>
                  </a:cubicBezTo>
                  <a:close/>
                  <a:moveTo>
                    <a:pt x="596690" y="1595965"/>
                  </a:moveTo>
                  <a:lnTo>
                    <a:pt x="596690" y="1642089"/>
                  </a:lnTo>
                  <a:cubicBezTo>
                    <a:pt x="596690" y="1713816"/>
                    <a:pt x="545356" y="1765086"/>
                    <a:pt x="473502" y="1765086"/>
                  </a:cubicBezTo>
                  <a:cubicBezTo>
                    <a:pt x="406387" y="1766001"/>
                    <a:pt x="351235" y="1712336"/>
                    <a:pt x="350314" y="1645221"/>
                  </a:cubicBezTo>
                  <a:cubicBezTo>
                    <a:pt x="350301" y="1644179"/>
                    <a:pt x="350301" y="1643131"/>
                    <a:pt x="350314" y="1642089"/>
                  </a:cubicBezTo>
                  <a:lnTo>
                    <a:pt x="350314" y="1595965"/>
                  </a:lnTo>
                  <a:cubicBezTo>
                    <a:pt x="351305" y="1528386"/>
                    <a:pt x="405923" y="1473882"/>
                    <a:pt x="473502" y="1473031"/>
                  </a:cubicBezTo>
                  <a:cubicBezTo>
                    <a:pt x="540585" y="1472078"/>
                    <a:pt x="595737" y="1525686"/>
                    <a:pt x="596690" y="1592769"/>
                  </a:cubicBezTo>
                  <a:cubicBezTo>
                    <a:pt x="596703" y="1593830"/>
                    <a:pt x="596703" y="1594897"/>
                    <a:pt x="596690" y="1595965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 43">
              <a:extLst>
                <a:ext uri="{FF2B5EF4-FFF2-40B4-BE49-F238E27FC236}">
                  <a16:creationId xmlns:a16="http://schemas.microsoft.com/office/drawing/2014/main" id="{53C9D09D-5415-2BDF-5021-10C6C97BFC7D}"/>
                </a:ext>
              </a:extLst>
            </p:cNvPr>
            <p:cNvSpPr/>
            <p:nvPr/>
          </p:nvSpPr>
          <p:spPr>
            <a:xfrm>
              <a:off x="6447837" y="2687348"/>
              <a:ext cx="549892" cy="723736"/>
            </a:xfrm>
            <a:custGeom>
              <a:avLst/>
              <a:gdLst>
                <a:gd name="connsiteX0" fmla="*/ 104936 w 485675"/>
                <a:gd name="connsiteY0" fmla="*/ 49599 h 639217"/>
                <a:gd name="connsiteX1" fmla="*/ 228188 w 485675"/>
                <a:gd name="connsiteY1" fmla="*/ 397943 h 639217"/>
                <a:gd name="connsiteX2" fmla="*/ 282126 w 485675"/>
                <a:gd name="connsiteY2" fmla="*/ 492733 h 639217"/>
                <a:gd name="connsiteX3" fmla="*/ 305252 w 485675"/>
                <a:gd name="connsiteY3" fmla="*/ 523482 h 639217"/>
                <a:gd name="connsiteX4" fmla="*/ 315544 w 485675"/>
                <a:gd name="connsiteY4" fmla="*/ 533711 h 639217"/>
                <a:gd name="connsiteX5" fmla="*/ 294959 w 485675"/>
                <a:gd name="connsiteY5" fmla="*/ 533711 h 639217"/>
                <a:gd name="connsiteX6" fmla="*/ 310398 w 485675"/>
                <a:gd name="connsiteY6" fmla="*/ 513253 h 639217"/>
                <a:gd name="connsiteX7" fmla="*/ 341210 w 485675"/>
                <a:gd name="connsiteY7" fmla="*/ 456837 h 639217"/>
                <a:gd name="connsiteX8" fmla="*/ 379711 w 485675"/>
                <a:gd name="connsiteY8" fmla="*/ 308300 h 639217"/>
                <a:gd name="connsiteX9" fmla="*/ 484982 w 485675"/>
                <a:gd name="connsiteY9" fmla="*/ 308300 h 639217"/>
                <a:gd name="connsiteX10" fmla="*/ 364272 w 485675"/>
                <a:gd name="connsiteY10" fmla="*/ 613252 h 639217"/>
                <a:gd name="connsiteX11" fmla="*/ 179395 w 485675"/>
                <a:gd name="connsiteY11" fmla="*/ 528692 h 639217"/>
                <a:gd name="connsiteX12" fmla="*/ 53602 w 485675"/>
                <a:gd name="connsiteY12" fmla="*/ 267449 h 639217"/>
                <a:gd name="connsiteX13" fmla="*/ -336 w 485675"/>
                <a:gd name="connsiteY13" fmla="*/ 49726 h 639217"/>
                <a:gd name="connsiteX14" fmla="*/ 104936 w 485675"/>
                <a:gd name="connsiteY14" fmla="*/ 49726 h 639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85675" h="639217">
                  <a:moveTo>
                    <a:pt x="104936" y="49599"/>
                  </a:moveTo>
                  <a:cubicBezTo>
                    <a:pt x="115228" y="172533"/>
                    <a:pt x="174312" y="290384"/>
                    <a:pt x="228188" y="397943"/>
                  </a:cubicBezTo>
                  <a:cubicBezTo>
                    <a:pt x="246167" y="431234"/>
                    <a:pt x="261605" y="461983"/>
                    <a:pt x="282126" y="492733"/>
                  </a:cubicBezTo>
                  <a:lnTo>
                    <a:pt x="305252" y="523482"/>
                  </a:lnTo>
                  <a:cubicBezTo>
                    <a:pt x="307793" y="528565"/>
                    <a:pt x="320626" y="536188"/>
                    <a:pt x="315544" y="533711"/>
                  </a:cubicBezTo>
                  <a:cubicBezTo>
                    <a:pt x="297564" y="541398"/>
                    <a:pt x="290131" y="541398"/>
                    <a:pt x="294959" y="533711"/>
                  </a:cubicBezTo>
                  <a:cubicBezTo>
                    <a:pt x="302647" y="528565"/>
                    <a:pt x="305252" y="521004"/>
                    <a:pt x="310398" y="513253"/>
                  </a:cubicBezTo>
                  <a:cubicBezTo>
                    <a:pt x="322596" y="495566"/>
                    <a:pt x="332951" y="476659"/>
                    <a:pt x="341210" y="456837"/>
                  </a:cubicBezTo>
                  <a:cubicBezTo>
                    <a:pt x="364145" y="410497"/>
                    <a:pt x="377233" y="359932"/>
                    <a:pt x="379711" y="308300"/>
                  </a:cubicBezTo>
                  <a:cubicBezTo>
                    <a:pt x="382252" y="241719"/>
                    <a:pt x="490129" y="241719"/>
                    <a:pt x="484982" y="308300"/>
                  </a:cubicBezTo>
                  <a:cubicBezTo>
                    <a:pt x="479837" y="410777"/>
                    <a:pt x="441336" y="541398"/>
                    <a:pt x="364272" y="613252"/>
                  </a:cubicBezTo>
                  <a:cubicBezTo>
                    <a:pt x="287208" y="685107"/>
                    <a:pt x="218149" y="590190"/>
                    <a:pt x="179395" y="528692"/>
                  </a:cubicBezTo>
                  <a:cubicBezTo>
                    <a:pt x="128061" y="446736"/>
                    <a:pt x="92102" y="357156"/>
                    <a:pt x="53602" y="267449"/>
                  </a:cubicBezTo>
                  <a:cubicBezTo>
                    <a:pt x="25185" y="197869"/>
                    <a:pt x="7014" y="124528"/>
                    <a:pt x="-336" y="49726"/>
                  </a:cubicBezTo>
                  <a:cubicBezTo>
                    <a:pt x="-5419" y="-16855"/>
                    <a:pt x="99853" y="-16855"/>
                    <a:pt x="104936" y="49726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 44">
              <a:extLst>
                <a:ext uri="{FF2B5EF4-FFF2-40B4-BE49-F238E27FC236}">
                  <a16:creationId xmlns:a16="http://schemas.microsoft.com/office/drawing/2014/main" id="{C1A4882D-71EA-CCC9-1B79-9239D47959D1}"/>
                </a:ext>
              </a:extLst>
            </p:cNvPr>
            <p:cNvSpPr/>
            <p:nvPr/>
          </p:nvSpPr>
          <p:spPr>
            <a:xfrm>
              <a:off x="6450484" y="2821356"/>
              <a:ext cx="595677" cy="626971"/>
            </a:xfrm>
            <a:custGeom>
              <a:avLst/>
              <a:gdLst>
                <a:gd name="connsiteX0" fmla="*/ 391667 w 526113"/>
                <a:gd name="connsiteY0" fmla="*/ 53983 h 553753"/>
                <a:gd name="connsiteX1" fmla="*/ 525083 w 526113"/>
                <a:gd name="connsiteY1" fmla="*/ 215734 h 553753"/>
                <a:gd name="connsiteX2" fmla="*/ 273815 w 526113"/>
                <a:gd name="connsiteY2" fmla="*/ 552135 h 553753"/>
                <a:gd name="connsiteX3" fmla="*/ -514 w 526113"/>
                <a:gd name="connsiteY3" fmla="*/ 53983 h 553753"/>
                <a:gd name="connsiteX4" fmla="*/ 137540 w 526113"/>
                <a:gd name="connsiteY4" fmla="*/ -210 h 553753"/>
                <a:gd name="connsiteX5" fmla="*/ 299037 w 526113"/>
                <a:gd name="connsiteY5" fmla="*/ 364398 h 553753"/>
                <a:gd name="connsiteX6" fmla="*/ 391667 w 526113"/>
                <a:gd name="connsiteY6" fmla="*/ 53983 h 553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6113" h="553753">
                  <a:moveTo>
                    <a:pt x="391667" y="53983"/>
                  </a:moveTo>
                  <a:cubicBezTo>
                    <a:pt x="391667" y="53983"/>
                    <a:pt x="535248" y="69357"/>
                    <a:pt x="525083" y="215734"/>
                  </a:cubicBezTo>
                  <a:cubicBezTo>
                    <a:pt x="514791" y="364653"/>
                    <a:pt x="391667" y="572656"/>
                    <a:pt x="273815" y="552135"/>
                  </a:cubicBezTo>
                  <a:cubicBezTo>
                    <a:pt x="155837" y="529009"/>
                    <a:pt x="27630" y="187463"/>
                    <a:pt x="-514" y="53983"/>
                  </a:cubicBezTo>
                  <a:lnTo>
                    <a:pt x="137540" y="-210"/>
                  </a:lnTo>
                  <a:cubicBezTo>
                    <a:pt x="137540" y="-210"/>
                    <a:pt x="275975" y="356711"/>
                    <a:pt x="299037" y="364398"/>
                  </a:cubicBezTo>
                  <a:lnTo>
                    <a:pt x="391667" y="53983"/>
                  </a:ln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 45">
              <a:extLst>
                <a:ext uri="{FF2B5EF4-FFF2-40B4-BE49-F238E27FC236}">
                  <a16:creationId xmlns:a16="http://schemas.microsoft.com/office/drawing/2014/main" id="{433C3E19-D155-B15A-75E9-2581CC6DE246}"/>
                </a:ext>
              </a:extLst>
            </p:cNvPr>
            <p:cNvSpPr/>
            <p:nvPr/>
          </p:nvSpPr>
          <p:spPr>
            <a:xfrm>
              <a:off x="8263601" y="2004798"/>
              <a:ext cx="273214" cy="237195"/>
            </a:xfrm>
            <a:custGeom>
              <a:avLst/>
              <a:gdLst>
                <a:gd name="connsiteX0" fmla="*/ -513 w 241308"/>
                <a:gd name="connsiteY0" fmla="*/ 130082 h 209495"/>
                <a:gd name="connsiteX1" fmla="*/ 215813 w 241308"/>
                <a:gd name="connsiteY1" fmla="*/ 56513 h 209495"/>
                <a:gd name="connsiteX2" fmla="*/ 122294 w 241308"/>
                <a:gd name="connsiteY2" fmla="*/ 208608 h 209495"/>
                <a:gd name="connsiteX3" fmla="*/ 21470 w 241308"/>
                <a:gd name="connsiteY3" fmla="*/ 130972 h 2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308" h="209495">
                  <a:moveTo>
                    <a:pt x="-513" y="130082"/>
                  </a:moveTo>
                  <a:cubicBezTo>
                    <a:pt x="-1084" y="1177"/>
                    <a:pt x="150439" y="-48188"/>
                    <a:pt x="215813" y="56513"/>
                  </a:cubicBezTo>
                  <a:cubicBezTo>
                    <a:pt x="281187" y="161213"/>
                    <a:pt x="207046" y="216104"/>
                    <a:pt x="122294" y="208608"/>
                  </a:cubicBezTo>
                  <a:cubicBezTo>
                    <a:pt x="37543" y="201111"/>
                    <a:pt x="21470" y="130972"/>
                    <a:pt x="21470" y="130972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 46">
              <a:extLst>
                <a:ext uri="{FF2B5EF4-FFF2-40B4-BE49-F238E27FC236}">
                  <a16:creationId xmlns:a16="http://schemas.microsoft.com/office/drawing/2014/main" id="{6D160750-B9E6-49AC-3965-A0E3C81E6AF8}"/>
                </a:ext>
              </a:extLst>
            </p:cNvPr>
            <p:cNvSpPr/>
            <p:nvPr/>
          </p:nvSpPr>
          <p:spPr>
            <a:xfrm>
              <a:off x="8197929" y="2105151"/>
              <a:ext cx="197911" cy="239513"/>
            </a:xfrm>
            <a:custGeom>
              <a:avLst/>
              <a:gdLst>
                <a:gd name="connsiteX0" fmla="*/ -514 w 174799"/>
                <a:gd name="connsiteY0" fmla="*/ 24739 h 211542"/>
                <a:gd name="connsiteX1" fmla="*/ 166701 w 174799"/>
                <a:gd name="connsiteY1" fmla="*/ 92020 h 211542"/>
                <a:gd name="connsiteX2" fmla="*/ 160348 w 174799"/>
                <a:gd name="connsiteY2" fmla="*/ 211332 h 21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4799" h="211542">
                  <a:moveTo>
                    <a:pt x="-514" y="24739"/>
                  </a:moveTo>
                  <a:cubicBezTo>
                    <a:pt x="35890" y="-41461"/>
                    <a:pt x="146498" y="39161"/>
                    <a:pt x="166701" y="92020"/>
                  </a:cubicBezTo>
                  <a:cubicBezTo>
                    <a:pt x="186904" y="144878"/>
                    <a:pt x="160348" y="211332"/>
                    <a:pt x="160348" y="211332"/>
                  </a:cubicBez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 47">
              <a:extLst>
                <a:ext uri="{FF2B5EF4-FFF2-40B4-BE49-F238E27FC236}">
                  <a16:creationId xmlns:a16="http://schemas.microsoft.com/office/drawing/2014/main" id="{7378873A-F5BB-B483-A6EC-866A678CB21F}"/>
                </a:ext>
              </a:extLst>
            </p:cNvPr>
            <p:cNvSpPr/>
            <p:nvPr/>
          </p:nvSpPr>
          <p:spPr>
            <a:xfrm>
              <a:off x="7774250" y="2086348"/>
              <a:ext cx="652587" cy="579300"/>
            </a:xfrm>
            <a:custGeom>
              <a:avLst/>
              <a:gdLst>
                <a:gd name="connsiteX0" fmla="*/ -514 w 576377"/>
                <a:gd name="connsiteY0" fmla="*/ 291788 h 511649"/>
                <a:gd name="connsiteX1" fmla="*/ 355898 w 576377"/>
                <a:gd name="connsiteY1" fmla="*/ 7992 h 511649"/>
                <a:gd name="connsiteX2" fmla="*/ 556976 w 576377"/>
                <a:gd name="connsiteY2" fmla="*/ 175842 h 511649"/>
                <a:gd name="connsiteX3" fmla="*/ 473114 w 576377"/>
                <a:gd name="connsiteY3" fmla="*/ 482701 h 511649"/>
                <a:gd name="connsiteX4" fmla="*/ -514 w 576377"/>
                <a:gd name="connsiteY4" fmla="*/ 291661 h 511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6377" h="511649">
                  <a:moveTo>
                    <a:pt x="-514" y="291788"/>
                  </a:moveTo>
                  <a:cubicBezTo>
                    <a:pt x="10667" y="33341"/>
                    <a:pt x="203739" y="-24473"/>
                    <a:pt x="355898" y="7992"/>
                  </a:cubicBezTo>
                  <a:cubicBezTo>
                    <a:pt x="508056" y="40456"/>
                    <a:pt x="556976" y="175842"/>
                    <a:pt x="556976" y="175842"/>
                  </a:cubicBezTo>
                  <a:cubicBezTo>
                    <a:pt x="556976" y="175842"/>
                    <a:pt x="635247" y="359195"/>
                    <a:pt x="473114" y="482701"/>
                  </a:cubicBezTo>
                  <a:cubicBezTo>
                    <a:pt x="310981" y="606206"/>
                    <a:pt x="-514" y="291661"/>
                    <a:pt x="-514" y="291661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 48">
              <a:extLst>
                <a:ext uri="{FF2B5EF4-FFF2-40B4-BE49-F238E27FC236}">
                  <a16:creationId xmlns:a16="http://schemas.microsoft.com/office/drawing/2014/main" id="{6C7B91AD-EAC6-598F-1504-35290858F817}"/>
                </a:ext>
              </a:extLst>
            </p:cNvPr>
            <p:cNvSpPr/>
            <p:nvPr/>
          </p:nvSpPr>
          <p:spPr>
            <a:xfrm>
              <a:off x="7926027" y="2682959"/>
              <a:ext cx="248884" cy="276290"/>
            </a:xfrm>
            <a:custGeom>
              <a:avLst/>
              <a:gdLst>
                <a:gd name="connsiteX0" fmla="*/ 109395 w 219819"/>
                <a:gd name="connsiteY0" fmla="*/ 243815 h 244025"/>
                <a:gd name="connsiteX1" fmla="*/ 109395 w 219819"/>
                <a:gd name="connsiteY1" fmla="*/ 243815 h 244025"/>
                <a:gd name="connsiteX2" fmla="*/ -514 w 219819"/>
                <a:gd name="connsiteY2" fmla="*/ 160906 h 244025"/>
                <a:gd name="connsiteX3" fmla="*/ -514 w 219819"/>
                <a:gd name="connsiteY3" fmla="*/ -210 h 244025"/>
                <a:gd name="connsiteX4" fmla="*/ 219305 w 219819"/>
                <a:gd name="connsiteY4" fmla="*/ -210 h 244025"/>
                <a:gd name="connsiteX5" fmla="*/ 219305 w 219819"/>
                <a:gd name="connsiteY5" fmla="*/ 160017 h 244025"/>
                <a:gd name="connsiteX6" fmla="*/ 110602 w 219819"/>
                <a:gd name="connsiteY6" fmla="*/ 243815 h 244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819" h="244025">
                  <a:moveTo>
                    <a:pt x="109395" y="243815"/>
                  </a:moveTo>
                  <a:lnTo>
                    <a:pt x="109395" y="243815"/>
                  </a:lnTo>
                  <a:cubicBezTo>
                    <a:pt x="48976" y="243815"/>
                    <a:pt x="-197" y="206967"/>
                    <a:pt x="-514" y="160906"/>
                  </a:cubicBezTo>
                  <a:lnTo>
                    <a:pt x="-514" y="-210"/>
                  </a:lnTo>
                  <a:lnTo>
                    <a:pt x="219305" y="-210"/>
                  </a:lnTo>
                  <a:lnTo>
                    <a:pt x="219305" y="160017"/>
                  </a:lnTo>
                  <a:cubicBezTo>
                    <a:pt x="219305" y="206014"/>
                    <a:pt x="170958" y="243498"/>
                    <a:pt x="110602" y="243815"/>
                  </a:cubicBez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 49">
              <a:extLst>
                <a:ext uri="{FF2B5EF4-FFF2-40B4-BE49-F238E27FC236}">
                  <a16:creationId xmlns:a16="http://schemas.microsoft.com/office/drawing/2014/main" id="{B4453B84-97C3-5622-4A88-0823081CC43B}"/>
                </a:ext>
              </a:extLst>
            </p:cNvPr>
            <p:cNvSpPr/>
            <p:nvPr/>
          </p:nvSpPr>
          <p:spPr>
            <a:xfrm>
              <a:off x="7730087" y="2415564"/>
              <a:ext cx="132524" cy="169000"/>
            </a:xfrm>
            <a:custGeom>
              <a:avLst/>
              <a:gdLst>
                <a:gd name="connsiteX0" fmla="*/ 93764 w 117048"/>
                <a:gd name="connsiteY0" fmla="*/ 41043 h 149264"/>
                <a:gd name="connsiteX1" fmla="*/ 1072 w 117048"/>
                <a:gd name="connsiteY1" fmla="*/ 45490 h 149264"/>
                <a:gd name="connsiteX2" fmla="*/ 95670 w 117048"/>
                <a:gd name="connsiteY2" fmla="*/ 138183 h 149264"/>
                <a:gd name="connsiteX3" fmla="*/ 93764 w 117048"/>
                <a:gd name="connsiteY3" fmla="*/ 41043 h 149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7048" h="149264">
                  <a:moveTo>
                    <a:pt x="93764" y="41043"/>
                  </a:moveTo>
                  <a:cubicBezTo>
                    <a:pt x="64540" y="-28842"/>
                    <a:pt x="9394" y="2098"/>
                    <a:pt x="1072" y="45490"/>
                  </a:cubicBezTo>
                  <a:cubicBezTo>
                    <a:pt x="-10936" y="108450"/>
                    <a:pt x="47640" y="175857"/>
                    <a:pt x="95670" y="138183"/>
                  </a:cubicBezTo>
                  <a:cubicBezTo>
                    <a:pt x="143700" y="100509"/>
                    <a:pt x="93764" y="41043"/>
                    <a:pt x="93764" y="41043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 50">
              <a:extLst>
                <a:ext uri="{FF2B5EF4-FFF2-40B4-BE49-F238E27FC236}">
                  <a16:creationId xmlns:a16="http://schemas.microsoft.com/office/drawing/2014/main" id="{890CA721-FC0B-F5C5-FAFA-FD904141C8CC}"/>
                </a:ext>
              </a:extLst>
            </p:cNvPr>
            <p:cNvSpPr/>
            <p:nvPr/>
          </p:nvSpPr>
          <p:spPr>
            <a:xfrm>
              <a:off x="8248927" y="2523567"/>
              <a:ext cx="148402" cy="155616"/>
            </a:xfrm>
            <a:custGeom>
              <a:avLst/>
              <a:gdLst>
                <a:gd name="connsiteX0" fmla="*/ 44850 w 131071"/>
                <a:gd name="connsiteY0" fmla="*/ 23606 h 137443"/>
                <a:gd name="connsiteX1" fmla="*/ 129474 w 131071"/>
                <a:gd name="connsiteY1" fmla="*/ 61725 h 137443"/>
                <a:gd name="connsiteX2" fmla="*/ 7430 w 131071"/>
                <a:gd name="connsiteY2" fmla="*/ 113122 h 137443"/>
                <a:gd name="connsiteX3" fmla="*/ 44850 w 131071"/>
                <a:gd name="connsiteY3" fmla="*/ 23479 h 137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071" h="137443">
                  <a:moveTo>
                    <a:pt x="44850" y="23606"/>
                  </a:moveTo>
                  <a:cubicBezTo>
                    <a:pt x="97708" y="-30396"/>
                    <a:pt x="137734" y="18397"/>
                    <a:pt x="129474" y="61725"/>
                  </a:cubicBezTo>
                  <a:cubicBezTo>
                    <a:pt x="117466" y="124685"/>
                    <a:pt x="38115" y="165790"/>
                    <a:pt x="7430" y="113122"/>
                  </a:cubicBezTo>
                  <a:cubicBezTo>
                    <a:pt x="-23256" y="60455"/>
                    <a:pt x="44850" y="23479"/>
                    <a:pt x="44850" y="23479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 51">
              <a:extLst>
                <a:ext uri="{FF2B5EF4-FFF2-40B4-BE49-F238E27FC236}">
                  <a16:creationId xmlns:a16="http://schemas.microsoft.com/office/drawing/2014/main" id="{EBB6F4F3-CD02-CA17-FD11-98E50295E8BE}"/>
                </a:ext>
              </a:extLst>
            </p:cNvPr>
            <p:cNvSpPr/>
            <p:nvPr/>
          </p:nvSpPr>
          <p:spPr>
            <a:xfrm>
              <a:off x="7809723" y="2240589"/>
              <a:ext cx="532212" cy="546181"/>
            </a:xfrm>
            <a:custGeom>
              <a:avLst/>
              <a:gdLst>
                <a:gd name="connsiteX0" fmla="*/ 180923 w 470060"/>
                <a:gd name="connsiteY0" fmla="*/ 478301 h 482397"/>
                <a:gd name="connsiteX1" fmla="*/ 29463 w 470060"/>
                <a:gd name="connsiteY1" fmla="*/ 77479 h 482397"/>
                <a:gd name="connsiteX2" fmla="*/ 469484 w 470060"/>
                <a:gd name="connsiteY2" fmla="*/ 161341 h 482397"/>
                <a:gd name="connsiteX3" fmla="*/ 180923 w 470060"/>
                <a:gd name="connsiteY3" fmla="*/ 478301 h 482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0060" h="482397">
                  <a:moveTo>
                    <a:pt x="180923" y="478301"/>
                  </a:moveTo>
                  <a:cubicBezTo>
                    <a:pt x="19045" y="447488"/>
                    <a:pt x="-42962" y="252065"/>
                    <a:pt x="29463" y="77479"/>
                  </a:cubicBezTo>
                  <a:cubicBezTo>
                    <a:pt x="89247" y="-66293"/>
                    <a:pt x="466880" y="5688"/>
                    <a:pt x="469484" y="161341"/>
                  </a:cubicBezTo>
                  <a:cubicBezTo>
                    <a:pt x="472788" y="350348"/>
                    <a:pt x="342929" y="509304"/>
                    <a:pt x="180923" y="47830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 52">
              <a:extLst>
                <a:ext uri="{FF2B5EF4-FFF2-40B4-BE49-F238E27FC236}">
                  <a16:creationId xmlns:a16="http://schemas.microsoft.com/office/drawing/2014/main" id="{7ADB1631-E144-9590-6DCE-E43D3D0AD52A}"/>
                </a:ext>
              </a:extLst>
            </p:cNvPr>
            <p:cNvSpPr/>
            <p:nvPr/>
          </p:nvSpPr>
          <p:spPr>
            <a:xfrm>
              <a:off x="7789201" y="2165401"/>
              <a:ext cx="375782" cy="560573"/>
            </a:xfrm>
            <a:custGeom>
              <a:avLst/>
              <a:gdLst>
                <a:gd name="connsiteX0" fmla="*/ 331384 w 331898"/>
                <a:gd name="connsiteY0" fmla="*/ 36709 h 495109"/>
                <a:gd name="connsiteX1" fmla="*/ 61184 w 331898"/>
                <a:gd name="connsiteY1" fmla="*/ 494899 h 495109"/>
                <a:gd name="connsiteX2" fmla="*/ 61184 w 331898"/>
                <a:gd name="connsiteY2" fmla="*/ 494899 h 495109"/>
                <a:gd name="connsiteX3" fmla="*/ 42633 w 331898"/>
                <a:gd name="connsiteY3" fmla="*/ 73430 h 495109"/>
                <a:gd name="connsiteX4" fmla="*/ 331384 w 331898"/>
                <a:gd name="connsiteY4" fmla="*/ 36709 h 495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898" h="495109">
                  <a:moveTo>
                    <a:pt x="331384" y="36709"/>
                  </a:moveTo>
                  <a:cubicBezTo>
                    <a:pt x="45491" y="74002"/>
                    <a:pt x="40409" y="335308"/>
                    <a:pt x="61184" y="494899"/>
                  </a:cubicBezTo>
                  <a:lnTo>
                    <a:pt x="61184" y="494899"/>
                  </a:lnTo>
                  <a:cubicBezTo>
                    <a:pt x="61184" y="494899"/>
                    <a:pt x="-64292" y="213962"/>
                    <a:pt x="42633" y="73430"/>
                  </a:cubicBezTo>
                  <a:cubicBezTo>
                    <a:pt x="149556" y="-67102"/>
                    <a:pt x="331384" y="36709"/>
                    <a:pt x="331384" y="36709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 53">
              <a:extLst>
                <a:ext uri="{FF2B5EF4-FFF2-40B4-BE49-F238E27FC236}">
                  <a16:creationId xmlns:a16="http://schemas.microsoft.com/office/drawing/2014/main" id="{3D4671FB-D394-FB74-BB7A-A67CCE15901B}"/>
                </a:ext>
              </a:extLst>
            </p:cNvPr>
            <p:cNvSpPr/>
            <p:nvPr/>
          </p:nvSpPr>
          <p:spPr>
            <a:xfrm>
              <a:off x="7703109" y="2838260"/>
              <a:ext cx="683282" cy="765140"/>
            </a:xfrm>
            <a:custGeom>
              <a:avLst/>
              <a:gdLst>
                <a:gd name="connsiteX0" fmla="*/ 602973 w 603487"/>
                <a:gd name="connsiteY0" fmla="*/ 61225 h 675786"/>
                <a:gd name="connsiteX1" fmla="*/ 415491 w 603487"/>
                <a:gd name="connsiteY1" fmla="*/ -210 h 675786"/>
                <a:gd name="connsiteX2" fmla="*/ 302532 w 603487"/>
                <a:gd name="connsiteY2" fmla="*/ 86828 h 675786"/>
                <a:gd name="connsiteX3" fmla="*/ 299927 w 603487"/>
                <a:gd name="connsiteY3" fmla="*/ 86828 h 675786"/>
                <a:gd name="connsiteX4" fmla="*/ 197260 w 603487"/>
                <a:gd name="connsiteY4" fmla="*/ -210 h 675786"/>
                <a:gd name="connsiteX5" fmla="*/ -514 w 603487"/>
                <a:gd name="connsiteY5" fmla="*/ 61225 h 675786"/>
                <a:gd name="connsiteX6" fmla="*/ 24898 w 603487"/>
                <a:gd name="connsiteY6" fmla="*/ 268529 h 675786"/>
                <a:gd name="connsiteX7" fmla="*/ 50311 w 603487"/>
                <a:gd name="connsiteY7" fmla="*/ 406774 h 675786"/>
                <a:gd name="connsiteX8" fmla="*/ 88811 w 603487"/>
                <a:gd name="connsiteY8" fmla="*/ 675577 h 675786"/>
                <a:gd name="connsiteX9" fmla="*/ 512504 w 603487"/>
                <a:gd name="connsiteY9" fmla="*/ 675577 h 675786"/>
                <a:gd name="connsiteX10" fmla="*/ 553609 w 603487"/>
                <a:gd name="connsiteY10" fmla="*/ 406774 h 675786"/>
                <a:gd name="connsiteX11" fmla="*/ 576735 w 603487"/>
                <a:gd name="connsiteY11" fmla="*/ 268529 h 675786"/>
                <a:gd name="connsiteX12" fmla="*/ 602147 w 603487"/>
                <a:gd name="connsiteY12" fmla="*/ 61225 h 675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03487" h="675786">
                  <a:moveTo>
                    <a:pt x="602973" y="61225"/>
                  </a:moveTo>
                  <a:lnTo>
                    <a:pt x="415491" y="-210"/>
                  </a:lnTo>
                  <a:cubicBezTo>
                    <a:pt x="400116" y="66308"/>
                    <a:pt x="315365" y="86828"/>
                    <a:pt x="302532" y="86828"/>
                  </a:cubicBezTo>
                  <a:lnTo>
                    <a:pt x="299927" y="86828"/>
                  </a:lnTo>
                  <a:cubicBezTo>
                    <a:pt x="287220" y="86828"/>
                    <a:pt x="212634" y="66308"/>
                    <a:pt x="197260" y="-210"/>
                  </a:cubicBezTo>
                  <a:lnTo>
                    <a:pt x="-514" y="61225"/>
                  </a:lnTo>
                  <a:lnTo>
                    <a:pt x="24898" y="268529"/>
                  </a:lnTo>
                  <a:cubicBezTo>
                    <a:pt x="24898" y="268529"/>
                    <a:pt x="9460" y="347880"/>
                    <a:pt x="50311" y="406774"/>
                  </a:cubicBezTo>
                  <a:cubicBezTo>
                    <a:pt x="88811" y="463063"/>
                    <a:pt x="88811" y="675577"/>
                    <a:pt x="88811" y="675577"/>
                  </a:cubicBezTo>
                  <a:lnTo>
                    <a:pt x="512504" y="675577"/>
                  </a:lnTo>
                  <a:cubicBezTo>
                    <a:pt x="512504" y="675577"/>
                    <a:pt x="512504" y="463063"/>
                    <a:pt x="553609" y="406774"/>
                  </a:cubicBezTo>
                  <a:cubicBezTo>
                    <a:pt x="592109" y="347880"/>
                    <a:pt x="576735" y="268529"/>
                    <a:pt x="576735" y="268529"/>
                  </a:cubicBezTo>
                  <a:lnTo>
                    <a:pt x="602147" y="61225"/>
                  </a:ln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 54">
              <a:extLst>
                <a:ext uri="{FF2B5EF4-FFF2-40B4-BE49-F238E27FC236}">
                  <a16:creationId xmlns:a16="http://schemas.microsoft.com/office/drawing/2014/main" id="{69E0C0DF-A459-6EC7-6092-D60EE1AA602B}"/>
                </a:ext>
              </a:extLst>
            </p:cNvPr>
            <p:cNvSpPr/>
            <p:nvPr/>
          </p:nvSpPr>
          <p:spPr>
            <a:xfrm>
              <a:off x="7668222" y="2246131"/>
              <a:ext cx="203061" cy="147805"/>
            </a:xfrm>
            <a:custGeom>
              <a:avLst/>
              <a:gdLst>
                <a:gd name="connsiteX0" fmla="*/ -514 w 179347"/>
                <a:gd name="connsiteY0" fmla="*/ 71186 h 130544"/>
                <a:gd name="connsiteX1" fmla="*/ 171784 w 179347"/>
                <a:gd name="connsiteY1" fmla="*/ 4287 h 130544"/>
                <a:gd name="connsiteX2" fmla="*/ 43195 w 179347"/>
                <a:gd name="connsiteY2" fmla="*/ 130334 h 130544"/>
                <a:gd name="connsiteX3" fmla="*/ -514 w 179347"/>
                <a:gd name="connsiteY3" fmla="*/ 71186 h 130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9347" h="130544">
                  <a:moveTo>
                    <a:pt x="-514" y="71186"/>
                  </a:moveTo>
                  <a:cubicBezTo>
                    <a:pt x="-514" y="71186"/>
                    <a:pt x="146053" y="-21379"/>
                    <a:pt x="171784" y="4287"/>
                  </a:cubicBezTo>
                  <a:cubicBezTo>
                    <a:pt x="197196" y="27477"/>
                    <a:pt x="153804" y="73728"/>
                    <a:pt x="43195" y="130334"/>
                  </a:cubicBezTo>
                  <a:lnTo>
                    <a:pt x="-514" y="71186"/>
                  </a:ln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 55">
              <a:extLst>
                <a:ext uri="{FF2B5EF4-FFF2-40B4-BE49-F238E27FC236}">
                  <a16:creationId xmlns:a16="http://schemas.microsoft.com/office/drawing/2014/main" id="{2577EBCD-B2B1-E6CB-7D2F-14B8E4C93095}"/>
                </a:ext>
              </a:extLst>
            </p:cNvPr>
            <p:cNvSpPr/>
            <p:nvPr/>
          </p:nvSpPr>
          <p:spPr>
            <a:xfrm>
              <a:off x="7253337" y="2273163"/>
              <a:ext cx="519616" cy="812040"/>
            </a:xfrm>
            <a:custGeom>
              <a:avLst/>
              <a:gdLst>
                <a:gd name="connsiteX0" fmla="*/ 396859 w 458935"/>
                <a:gd name="connsiteY0" fmla="*/ 560775 h 717209"/>
                <a:gd name="connsiteX1" fmla="*/ 147942 w 458935"/>
                <a:gd name="connsiteY1" fmla="*/ 358426 h 717209"/>
                <a:gd name="connsiteX2" fmla="*/ 458421 w 458935"/>
                <a:gd name="connsiteY2" fmla="*/ 107349 h 717209"/>
                <a:gd name="connsiteX3" fmla="*/ 409628 w 458935"/>
                <a:gd name="connsiteY3" fmla="*/ -210 h 717209"/>
                <a:gd name="connsiteX4" fmla="*/ 4297 w 458935"/>
                <a:gd name="connsiteY4" fmla="*/ 348134 h 717209"/>
                <a:gd name="connsiteX5" fmla="*/ 417253 w 458935"/>
                <a:gd name="connsiteY5" fmla="*/ 716999 h 717209"/>
                <a:gd name="connsiteX6" fmla="*/ 396732 w 458935"/>
                <a:gd name="connsiteY6" fmla="*/ 560775 h 717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8935" h="717209">
                  <a:moveTo>
                    <a:pt x="396859" y="560775"/>
                  </a:moveTo>
                  <a:cubicBezTo>
                    <a:pt x="396859" y="560775"/>
                    <a:pt x="158234" y="399404"/>
                    <a:pt x="147942" y="358426"/>
                  </a:cubicBezTo>
                  <a:cubicBezTo>
                    <a:pt x="137713" y="320307"/>
                    <a:pt x="458421" y="107349"/>
                    <a:pt x="458421" y="107349"/>
                  </a:cubicBezTo>
                  <a:lnTo>
                    <a:pt x="409628" y="-210"/>
                  </a:lnTo>
                  <a:cubicBezTo>
                    <a:pt x="409628" y="-210"/>
                    <a:pt x="47879" y="230346"/>
                    <a:pt x="4297" y="348134"/>
                  </a:cubicBezTo>
                  <a:cubicBezTo>
                    <a:pt x="-41891" y="465986"/>
                    <a:pt x="255691" y="696542"/>
                    <a:pt x="417253" y="716999"/>
                  </a:cubicBezTo>
                  <a:lnTo>
                    <a:pt x="396732" y="560775"/>
                  </a:ln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 56">
              <a:extLst>
                <a:ext uri="{FF2B5EF4-FFF2-40B4-BE49-F238E27FC236}">
                  <a16:creationId xmlns:a16="http://schemas.microsoft.com/office/drawing/2014/main" id="{794524D1-6D36-456B-D237-E3539FFEA926}"/>
                </a:ext>
              </a:extLst>
            </p:cNvPr>
            <p:cNvSpPr/>
            <p:nvPr/>
          </p:nvSpPr>
          <p:spPr>
            <a:xfrm>
              <a:off x="7861504" y="4281217"/>
              <a:ext cx="152998" cy="1017478"/>
            </a:xfrm>
            <a:custGeom>
              <a:avLst/>
              <a:gdLst>
                <a:gd name="connsiteX0" fmla="*/ 126555 w 135131"/>
                <a:gd name="connsiteY0" fmla="*/ 898656 h 898656"/>
                <a:gd name="connsiteX1" fmla="*/ 0 w 135131"/>
                <a:gd name="connsiteY1" fmla="*/ 898656 h 898656"/>
                <a:gd name="connsiteX2" fmla="*/ 0 w 135131"/>
                <a:gd name="connsiteY2" fmla="*/ 0 h 898656"/>
                <a:gd name="connsiteX3" fmla="*/ 135132 w 135131"/>
                <a:gd name="connsiteY3" fmla="*/ 0 h 898656"/>
                <a:gd name="connsiteX4" fmla="*/ 126555 w 135131"/>
                <a:gd name="connsiteY4" fmla="*/ 898656 h 898656"/>
                <a:gd name="connsiteX5" fmla="*/ 126555 w 135131"/>
                <a:gd name="connsiteY5" fmla="*/ 898656 h 898656"/>
                <a:gd name="connsiteX6" fmla="*/ 126555 w 135131"/>
                <a:gd name="connsiteY6" fmla="*/ 898656 h 898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131" h="898656">
                  <a:moveTo>
                    <a:pt x="126555" y="898656"/>
                  </a:moveTo>
                  <a:lnTo>
                    <a:pt x="0" y="898656"/>
                  </a:lnTo>
                  <a:lnTo>
                    <a:pt x="0" y="0"/>
                  </a:lnTo>
                  <a:lnTo>
                    <a:pt x="135132" y="0"/>
                  </a:lnTo>
                  <a:lnTo>
                    <a:pt x="126555" y="898656"/>
                  </a:lnTo>
                  <a:lnTo>
                    <a:pt x="126555" y="898656"/>
                  </a:lnTo>
                  <a:lnTo>
                    <a:pt x="126555" y="898656"/>
                  </a:ln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 57">
              <a:extLst>
                <a:ext uri="{FF2B5EF4-FFF2-40B4-BE49-F238E27FC236}">
                  <a16:creationId xmlns:a16="http://schemas.microsoft.com/office/drawing/2014/main" id="{2D71068C-6366-C1F8-8853-72E1AAA4AB2F}"/>
                </a:ext>
              </a:extLst>
            </p:cNvPr>
            <p:cNvSpPr/>
            <p:nvPr/>
          </p:nvSpPr>
          <p:spPr>
            <a:xfrm>
              <a:off x="7703109" y="5287978"/>
              <a:ext cx="316405" cy="123506"/>
            </a:xfrm>
            <a:custGeom>
              <a:avLst/>
              <a:gdLst>
                <a:gd name="connsiteX0" fmla="*/ 264603 w 279455"/>
                <a:gd name="connsiteY0" fmla="*/ -210 h 109083"/>
                <a:gd name="connsiteX1" fmla="*/ 138493 w 279455"/>
                <a:gd name="connsiteY1" fmla="*/ -210 h 109083"/>
                <a:gd name="connsiteX2" fmla="*/ -514 w 279455"/>
                <a:gd name="connsiteY2" fmla="*/ 96168 h 109083"/>
                <a:gd name="connsiteX3" fmla="*/ -514 w 279455"/>
                <a:gd name="connsiteY3" fmla="*/ 108874 h 109083"/>
                <a:gd name="connsiteX4" fmla="*/ 277500 w 279455"/>
                <a:gd name="connsiteY4" fmla="*/ 108874 h 109083"/>
                <a:gd name="connsiteX5" fmla="*/ 264794 w 279455"/>
                <a:gd name="connsiteY5" fmla="*/ -210 h 109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9455" h="109083">
                  <a:moveTo>
                    <a:pt x="264603" y="-210"/>
                  </a:moveTo>
                  <a:lnTo>
                    <a:pt x="138493" y="-210"/>
                  </a:lnTo>
                  <a:cubicBezTo>
                    <a:pt x="138493" y="-210"/>
                    <a:pt x="12382" y="68277"/>
                    <a:pt x="-514" y="96168"/>
                  </a:cubicBezTo>
                  <a:lnTo>
                    <a:pt x="-514" y="108874"/>
                  </a:lnTo>
                  <a:lnTo>
                    <a:pt x="277500" y="108874"/>
                  </a:lnTo>
                  <a:cubicBezTo>
                    <a:pt x="277500" y="108874"/>
                    <a:pt x="285251" y="27681"/>
                    <a:pt x="264794" y="-210"/>
                  </a:cubicBez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 58">
              <a:extLst>
                <a:ext uri="{FF2B5EF4-FFF2-40B4-BE49-F238E27FC236}">
                  <a16:creationId xmlns:a16="http://schemas.microsoft.com/office/drawing/2014/main" id="{FD435F2D-7C3C-C816-1364-5835F5352D4D}"/>
                </a:ext>
              </a:extLst>
            </p:cNvPr>
            <p:cNvSpPr/>
            <p:nvPr/>
          </p:nvSpPr>
          <p:spPr>
            <a:xfrm>
              <a:off x="7703109" y="5411484"/>
              <a:ext cx="314126" cy="18773"/>
            </a:xfrm>
            <a:custGeom>
              <a:avLst/>
              <a:gdLst>
                <a:gd name="connsiteX0" fmla="*/ 0 w 277442"/>
                <a:gd name="connsiteY0" fmla="*/ 0 h 16581"/>
                <a:gd name="connsiteX1" fmla="*/ 277443 w 277442"/>
                <a:gd name="connsiteY1" fmla="*/ 0 h 16581"/>
                <a:gd name="connsiteX2" fmla="*/ 277443 w 277442"/>
                <a:gd name="connsiteY2" fmla="*/ 16582 h 16581"/>
                <a:gd name="connsiteX3" fmla="*/ 0 w 277442"/>
                <a:gd name="connsiteY3" fmla="*/ 16582 h 16581"/>
                <a:gd name="connsiteX4" fmla="*/ 0 w 277442"/>
                <a:gd name="connsiteY4" fmla="*/ 0 h 16581"/>
                <a:gd name="connsiteX5" fmla="*/ 0 w 277442"/>
                <a:gd name="connsiteY5" fmla="*/ 0 h 16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7442" h="16581">
                  <a:moveTo>
                    <a:pt x="0" y="0"/>
                  </a:moveTo>
                  <a:lnTo>
                    <a:pt x="277443" y="0"/>
                  </a:lnTo>
                  <a:lnTo>
                    <a:pt x="277443" y="16582"/>
                  </a:lnTo>
                  <a:lnTo>
                    <a:pt x="0" y="1658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 59">
              <a:extLst>
                <a:ext uri="{FF2B5EF4-FFF2-40B4-BE49-F238E27FC236}">
                  <a16:creationId xmlns:a16="http://schemas.microsoft.com/office/drawing/2014/main" id="{F6CCB6E2-5CD6-B028-ABF6-2DCDCEAE440B}"/>
                </a:ext>
              </a:extLst>
            </p:cNvPr>
            <p:cNvSpPr/>
            <p:nvPr/>
          </p:nvSpPr>
          <p:spPr>
            <a:xfrm>
              <a:off x="8074926" y="4281217"/>
              <a:ext cx="154366" cy="1017478"/>
            </a:xfrm>
            <a:custGeom>
              <a:avLst/>
              <a:gdLst>
                <a:gd name="connsiteX0" fmla="*/ 8704 w 136339"/>
                <a:gd name="connsiteY0" fmla="*/ 898656 h 898656"/>
                <a:gd name="connsiteX1" fmla="*/ 136339 w 136339"/>
                <a:gd name="connsiteY1" fmla="*/ 898656 h 898656"/>
                <a:gd name="connsiteX2" fmla="*/ 136339 w 136339"/>
                <a:gd name="connsiteY2" fmla="*/ 0 h 898656"/>
                <a:gd name="connsiteX3" fmla="*/ 0 w 136339"/>
                <a:gd name="connsiteY3" fmla="*/ 0 h 898656"/>
                <a:gd name="connsiteX4" fmla="*/ 8704 w 136339"/>
                <a:gd name="connsiteY4" fmla="*/ 898656 h 898656"/>
                <a:gd name="connsiteX5" fmla="*/ 8704 w 136339"/>
                <a:gd name="connsiteY5" fmla="*/ 898656 h 898656"/>
                <a:gd name="connsiteX6" fmla="*/ 8704 w 136339"/>
                <a:gd name="connsiteY6" fmla="*/ 898656 h 898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6339" h="898656">
                  <a:moveTo>
                    <a:pt x="8704" y="898656"/>
                  </a:moveTo>
                  <a:lnTo>
                    <a:pt x="136339" y="898656"/>
                  </a:lnTo>
                  <a:lnTo>
                    <a:pt x="136339" y="0"/>
                  </a:lnTo>
                  <a:lnTo>
                    <a:pt x="0" y="0"/>
                  </a:lnTo>
                  <a:lnTo>
                    <a:pt x="8704" y="898656"/>
                  </a:lnTo>
                  <a:lnTo>
                    <a:pt x="8704" y="898656"/>
                  </a:lnTo>
                  <a:lnTo>
                    <a:pt x="8704" y="898656"/>
                  </a:ln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 60">
              <a:extLst>
                <a:ext uri="{FF2B5EF4-FFF2-40B4-BE49-F238E27FC236}">
                  <a16:creationId xmlns:a16="http://schemas.microsoft.com/office/drawing/2014/main" id="{11EB5617-8957-1F33-0C61-CA85C517FDD3}"/>
                </a:ext>
              </a:extLst>
            </p:cNvPr>
            <p:cNvSpPr/>
            <p:nvPr/>
          </p:nvSpPr>
          <p:spPr>
            <a:xfrm>
              <a:off x="8073764" y="5287978"/>
              <a:ext cx="312627" cy="123506"/>
            </a:xfrm>
            <a:custGeom>
              <a:avLst/>
              <a:gdLst>
                <a:gd name="connsiteX0" fmla="*/ 11376 w 276118"/>
                <a:gd name="connsiteY0" fmla="*/ -210 h 109083"/>
                <a:gd name="connsiteX1" fmla="*/ 139646 w 276118"/>
                <a:gd name="connsiteY1" fmla="*/ -210 h 109083"/>
                <a:gd name="connsiteX2" fmla="*/ 275604 w 276118"/>
                <a:gd name="connsiteY2" fmla="*/ 96168 h 109083"/>
                <a:gd name="connsiteX3" fmla="*/ 275604 w 276118"/>
                <a:gd name="connsiteY3" fmla="*/ 108874 h 109083"/>
                <a:gd name="connsiteX4" fmla="*/ 1147 w 276118"/>
                <a:gd name="connsiteY4" fmla="*/ 108874 h 109083"/>
                <a:gd name="connsiteX5" fmla="*/ 11376 w 276118"/>
                <a:gd name="connsiteY5" fmla="*/ -210 h 109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6118" h="109083">
                  <a:moveTo>
                    <a:pt x="11376" y="-210"/>
                  </a:moveTo>
                  <a:lnTo>
                    <a:pt x="139646" y="-210"/>
                  </a:lnTo>
                  <a:cubicBezTo>
                    <a:pt x="139646" y="-210"/>
                    <a:pt x="262771" y="68277"/>
                    <a:pt x="275604" y="96168"/>
                  </a:cubicBezTo>
                  <a:lnTo>
                    <a:pt x="275604" y="108874"/>
                  </a:lnTo>
                  <a:lnTo>
                    <a:pt x="1147" y="108874"/>
                  </a:lnTo>
                  <a:cubicBezTo>
                    <a:pt x="1147" y="108874"/>
                    <a:pt x="-6604" y="27681"/>
                    <a:pt x="11376" y="-210"/>
                  </a:cubicBez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 61">
              <a:extLst>
                <a:ext uri="{FF2B5EF4-FFF2-40B4-BE49-F238E27FC236}">
                  <a16:creationId xmlns:a16="http://schemas.microsoft.com/office/drawing/2014/main" id="{4EFC56C0-29B4-7774-8874-2EE412DF45CA}"/>
                </a:ext>
              </a:extLst>
            </p:cNvPr>
            <p:cNvSpPr/>
            <p:nvPr/>
          </p:nvSpPr>
          <p:spPr>
            <a:xfrm>
              <a:off x="8074926" y="5411484"/>
              <a:ext cx="311393" cy="18773"/>
            </a:xfrm>
            <a:custGeom>
              <a:avLst/>
              <a:gdLst>
                <a:gd name="connsiteX0" fmla="*/ 0 w 275028"/>
                <a:gd name="connsiteY0" fmla="*/ 0 h 16581"/>
                <a:gd name="connsiteX1" fmla="*/ 275029 w 275028"/>
                <a:gd name="connsiteY1" fmla="*/ 0 h 16581"/>
                <a:gd name="connsiteX2" fmla="*/ 275029 w 275028"/>
                <a:gd name="connsiteY2" fmla="*/ 16582 h 16581"/>
                <a:gd name="connsiteX3" fmla="*/ 0 w 275028"/>
                <a:gd name="connsiteY3" fmla="*/ 16582 h 16581"/>
                <a:gd name="connsiteX4" fmla="*/ 0 w 275028"/>
                <a:gd name="connsiteY4" fmla="*/ 0 h 16581"/>
                <a:gd name="connsiteX5" fmla="*/ 0 w 275028"/>
                <a:gd name="connsiteY5" fmla="*/ 0 h 16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5028" h="16581">
                  <a:moveTo>
                    <a:pt x="0" y="0"/>
                  </a:moveTo>
                  <a:lnTo>
                    <a:pt x="275029" y="0"/>
                  </a:lnTo>
                  <a:lnTo>
                    <a:pt x="275029" y="16582"/>
                  </a:lnTo>
                  <a:lnTo>
                    <a:pt x="0" y="1658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 62">
              <a:extLst>
                <a:ext uri="{FF2B5EF4-FFF2-40B4-BE49-F238E27FC236}">
                  <a16:creationId xmlns:a16="http://schemas.microsoft.com/office/drawing/2014/main" id="{EF710C2F-1157-A91C-5829-838781605D3A}"/>
                </a:ext>
              </a:extLst>
            </p:cNvPr>
            <p:cNvSpPr/>
            <p:nvPr/>
          </p:nvSpPr>
          <p:spPr>
            <a:xfrm>
              <a:off x="7564855" y="3584555"/>
              <a:ext cx="961084" cy="1110846"/>
            </a:xfrm>
            <a:custGeom>
              <a:avLst/>
              <a:gdLst>
                <a:gd name="connsiteX0" fmla="*/ 635502 w 848847"/>
                <a:gd name="connsiteY0" fmla="*/ -210 h 981120"/>
                <a:gd name="connsiteX1" fmla="*/ 212380 w 848847"/>
                <a:gd name="connsiteY1" fmla="*/ -210 h 981120"/>
                <a:gd name="connsiteX2" fmla="*/ -514 w 848847"/>
                <a:gd name="connsiteY2" fmla="*/ 980910 h 981120"/>
                <a:gd name="connsiteX3" fmla="*/ 848334 w 848847"/>
                <a:gd name="connsiteY3" fmla="*/ 980910 h 981120"/>
                <a:gd name="connsiteX4" fmla="*/ 635502 w 848847"/>
                <a:gd name="connsiteY4" fmla="*/ -210 h 981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8847" h="981120">
                  <a:moveTo>
                    <a:pt x="635502" y="-210"/>
                  </a:moveTo>
                  <a:lnTo>
                    <a:pt x="212380" y="-210"/>
                  </a:lnTo>
                  <a:cubicBezTo>
                    <a:pt x="12319" y="253281"/>
                    <a:pt x="-514" y="980910"/>
                    <a:pt x="-514" y="980910"/>
                  </a:cubicBezTo>
                  <a:lnTo>
                    <a:pt x="848334" y="980910"/>
                  </a:lnTo>
                  <a:cubicBezTo>
                    <a:pt x="848334" y="980910"/>
                    <a:pt x="838104" y="253281"/>
                    <a:pt x="635502" y="-210"/>
                  </a:cubicBez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 63">
              <a:extLst>
                <a:ext uri="{FF2B5EF4-FFF2-40B4-BE49-F238E27FC236}">
                  <a16:creationId xmlns:a16="http://schemas.microsoft.com/office/drawing/2014/main" id="{89621023-94C2-73E6-FD5F-84A1A7E1FAA8}"/>
                </a:ext>
              </a:extLst>
            </p:cNvPr>
            <p:cNvSpPr/>
            <p:nvPr/>
          </p:nvSpPr>
          <p:spPr>
            <a:xfrm>
              <a:off x="6993099" y="2948350"/>
              <a:ext cx="1467130" cy="1769867"/>
            </a:xfrm>
            <a:custGeom>
              <a:avLst/>
              <a:gdLst>
                <a:gd name="connsiteX0" fmla="*/ 927593 w 1295797"/>
                <a:gd name="connsiteY0" fmla="*/ 878849 h 1563180"/>
                <a:gd name="connsiteX1" fmla="*/ 1022891 w 1295797"/>
                <a:gd name="connsiteY1" fmla="*/ 1014617 h 1563180"/>
                <a:gd name="connsiteX2" fmla="*/ 992077 w 1295797"/>
                <a:gd name="connsiteY2" fmla="*/ 1186152 h 1563180"/>
                <a:gd name="connsiteX3" fmla="*/ 821876 w 1295797"/>
                <a:gd name="connsiteY3" fmla="*/ 1157900 h 1563180"/>
                <a:gd name="connsiteX4" fmla="*/ 820161 w 1295797"/>
                <a:gd name="connsiteY4" fmla="*/ 1155403 h 1563180"/>
                <a:gd name="connsiteX5" fmla="*/ 668447 w 1295797"/>
                <a:gd name="connsiteY5" fmla="*/ 940348 h 1563180"/>
                <a:gd name="connsiteX6" fmla="*/ 668447 w 1295797"/>
                <a:gd name="connsiteY6" fmla="*/ 935202 h 1563180"/>
                <a:gd name="connsiteX7" fmla="*/ 663300 w 1295797"/>
                <a:gd name="connsiteY7" fmla="*/ 932661 h 1563180"/>
                <a:gd name="connsiteX8" fmla="*/ 694114 w 1295797"/>
                <a:gd name="connsiteY8" fmla="*/ 761125 h 1563180"/>
                <a:gd name="connsiteX9" fmla="*/ 765968 w 1295797"/>
                <a:gd name="connsiteY9" fmla="*/ 364243 h 1563180"/>
                <a:gd name="connsiteX10" fmla="*/ 368196 w 1295797"/>
                <a:gd name="connsiteY10" fmla="*/ 297661 h 1563180"/>
                <a:gd name="connsiteX11" fmla="*/ 250154 w 1295797"/>
                <a:gd name="connsiteY11" fmla="*/ 551153 h 1563180"/>
                <a:gd name="connsiteX12" fmla="*/ 134780 w 1295797"/>
                <a:gd name="connsiteY12" fmla="*/ 686793 h 1563180"/>
                <a:gd name="connsiteX13" fmla="*/ 1364 w 1295797"/>
                <a:gd name="connsiteY13" fmla="*/ 574152 h 1563180"/>
                <a:gd name="connsiteX14" fmla="*/ 224614 w 1295797"/>
                <a:gd name="connsiteY14" fmla="*/ 95313 h 1563180"/>
                <a:gd name="connsiteX15" fmla="*/ 966156 w 1295797"/>
                <a:gd name="connsiteY15" fmla="*/ 223329 h 1563180"/>
                <a:gd name="connsiteX16" fmla="*/ 927657 w 1295797"/>
                <a:gd name="connsiteY16" fmla="*/ 878849 h 1563180"/>
                <a:gd name="connsiteX17" fmla="*/ 1245823 w 1295797"/>
                <a:gd name="connsiteY17" fmla="*/ 1332149 h 1563180"/>
                <a:gd name="connsiteX18" fmla="*/ 1271236 w 1295797"/>
                <a:gd name="connsiteY18" fmla="*/ 1367980 h 1563180"/>
                <a:gd name="connsiteX19" fmla="*/ 1242965 w 1295797"/>
                <a:gd name="connsiteY19" fmla="*/ 1542121 h 1563180"/>
                <a:gd name="connsiteX20" fmla="*/ 1068506 w 1295797"/>
                <a:gd name="connsiteY20" fmla="*/ 1511371 h 1563180"/>
                <a:gd name="connsiteX21" fmla="*/ 1043093 w 1295797"/>
                <a:gd name="connsiteY21" fmla="*/ 1473252 h 1563180"/>
                <a:gd name="connsiteX22" fmla="*/ 1073906 w 1295797"/>
                <a:gd name="connsiteY22" fmla="*/ 1301717 h 1563180"/>
                <a:gd name="connsiteX23" fmla="*/ 1242583 w 1295797"/>
                <a:gd name="connsiteY23" fmla="*/ 1327847 h 1563180"/>
                <a:gd name="connsiteX24" fmla="*/ 1245823 w 1295797"/>
                <a:gd name="connsiteY24" fmla="*/ 1332466 h 1563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95797" h="1563180">
                  <a:moveTo>
                    <a:pt x="927593" y="878849"/>
                  </a:moveTo>
                  <a:lnTo>
                    <a:pt x="1022891" y="1014617"/>
                  </a:lnTo>
                  <a:cubicBezTo>
                    <a:pt x="1063932" y="1070906"/>
                    <a:pt x="1051098" y="1145174"/>
                    <a:pt x="992077" y="1186152"/>
                  </a:cubicBezTo>
                  <a:cubicBezTo>
                    <a:pt x="937313" y="1225345"/>
                    <a:pt x="861075" y="1212696"/>
                    <a:pt x="821876" y="1157900"/>
                  </a:cubicBezTo>
                  <a:cubicBezTo>
                    <a:pt x="821305" y="1157074"/>
                    <a:pt x="820732" y="1156242"/>
                    <a:pt x="820161" y="1155403"/>
                  </a:cubicBezTo>
                  <a:lnTo>
                    <a:pt x="668447" y="940348"/>
                  </a:lnTo>
                  <a:lnTo>
                    <a:pt x="668447" y="935202"/>
                  </a:lnTo>
                  <a:cubicBezTo>
                    <a:pt x="663300" y="935202"/>
                    <a:pt x="663300" y="935202"/>
                    <a:pt x="663300" y="932661"/>
                  </a:cubicBezTo>
                  <a:cubicBezTo>
                    <a:pt x="624801" y="878849"/>
                    <a:pt x="640239" y="799244"/>
                    <a:pt x="694114" y="761125"/>
                  </a:cubicBezTo>
                  <a:cubicBezTo>
                    <a:pt x="822384" y="668941"/>
                    <a:pt x="855738" y="492259"/>
                    <a:pt x="765968" y="364243"/>
                  </a:cubicBezTo>
                  <a:cubicBezTo>
                    <a:pt x="673593" y="233621"/>
                    <a:pt x="499135" y="208018"/>
                    <a:pt x="368196" y="297661"/>
                  </a:cubicBezTo>
                  <a:cubicBezTo>
                    <a:pt x="283572" y="359096"/>
                    <a:pt x="239926" y="456491"/>
                    <a:pt x="250154" y="551153"/>
                  </a:cubicBezTo>
                  <a:cubicBezTo>
                    <a:pt x="255618" y="620421"/>
                    <a:pt x="204030" y="681056"/>
                    <a:pt x="134780" y="686793"/>
                  </a:cubicBezTo>
                  <a:cubicBezTo>
                    <a:pt x="65467" y="691939"/>
                    <a:pt x="9051" y="643274"/>
                    <a:pt x="1364" y="574152"/>
                  </a:cubicBezTo>
                  <a:cubicBezTo>
                    <a:pt x="-14456" y="386231"/>
                    <a:pt x="70486" y="204003"/>
                    <a:pt x="224614" y="95313"/>
                  </a:cubicBezTo>
                  <a:cubicBezTo>
                    <a:pt x="466035" y="-71140"/>
                    <a:pt x="799386" y="-14788"/>
                    <a:pt x="966156" y="223329"/>
                  </a:cubicBezTo>
                  <a:cubicBezTo>
                    <a:pt x="1107832" y="424058"/>
                    <a:pt x="1091822" y="696081"/>
                    <a:pt x="927657" y="878849"/>
                  </a:cubicBezTo>
                  <a:close/>
                  <a:moveTo>
                    <a:pt x="1245823" y="1332149"/>
                  </a:moveTo>
                  <a:lnTo>
                    <a:pt x="1271236" y="1367980"/>
                  </a:lnTo>
                  <a:cubicBezTo>
                    <a:pt x="1312277" y="1426874"/>
                    <a:pt x="1299444" y="1501397"/>
                    <a:pt x="1242965" y="1542121"/>
                  </a:cubicBezTo>
                  <a:cubicBezTo>
                    <a:pt x="1189089" y="1577953"/>
                    <a:pt x="1109548" y="1567533"/>
                    <a:pt x="1068506" y="1511371"/>
                  </a:cubicBezTo>
                  <a:lnTo>
                    <a:pt x="1043093" y="1473252"/>
                  </a:lnTo>
                  <a:cubicBezTo>
                    <a:pt x="1004593" y="1419505"/>
                    <a:pt x="1019968" y="1339836"/>
                    <a:pt x="1073906" y="1301717"/>
                  </a:cubicBezTo>
                  <a:cubicBezTo>
                    <a:pt x="1127718" y="1262346"/>
                    <a:pt x="1203257" y="1274049"/>
                    <a:pt x="1242583" y="1327847"/>
                  </a:cubicBezTo>
                  <a:cubicBezTo>
                    <a:pt x="1243727" y="1329359"/>
                    <a:pt x="1244806" y="1330903"/>
                    <a:pt x="1245823" y="1332466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 64">
              <a:extLst>
                <a:ext uri="{FF2B5EF4-FFF2-40B4-BE49-F238E27FC236}">
                  <a16:creationId xmlns:a16="http://schemas.microsoft.com/office/drawing/2014/main" id="{2EBF264C-64EC-D63A-CB03-F93853642C3C}"/>
                </a:ext>
              </a:extLst>
            </p:cNvPr>
            <p:cNvSpPr/>
            <p:nvPr/>
          </p:nvSpPr>
          <p:spPr>
            <a:xfrm>
              <a:off x="8074926" y="2908035"/>
              <a:ext cx="512041" cy="826857"/>
            </a:xfrm>
            <a:custGeom>
              <a:avLst/>
              <a:gdLst>
                <a:gd name="connsiteX0" fmla="*/ 274260 w 452244"/>
                <a:gd name="connsiteY0" fmla="*/ -210 h 730296"/>
                <a:gd name="connsiteX1" fmla="*/ 451387 w 452244"/>
                <a:gd name="connsiteY1" fmla="*/ 381616 h 730296"/>
                <a:gd name="connsiteX2" fmla="*/ 43132 w 452244"/>
                <a:gd name="connsiteY2" fmla="*/ 730087 h 730296"/>
                <a:gd name="connsiteX3" fmla="*/ -514 w 452244"/>
                <a:gd name="connsiteY3" fmla="*/ 558551 h 730296"/>
                <a:gd name="connsiteX4" fmla="*/ 315302 w 452244"/>
                <a:gd name="connsiteY4" fmla="*/ 366368 h 730296"/>
                <a:gd name="connsiteX5" fmla="*/ 248594 w 452244"/>
                <a:gd name="connsiteY5" fmla="*/ 207539 h 730296"/>
                <a:gd name="connsiteX6" fmla="*/ 274007 w 452244"/>
                <a:gd name="connsiteY6" fmla="*/ -19 h 730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2244" h="730296">
                  <a:moveTo>
                    <a:pt x="274260" y="-210"/>
                  </a:moveTo>
                  <a:cubicBezTo>
                    <a:pt x="274260" y="-210"/>
                    <a:pt x="438553" y="292036"/>
                    <a:pt x="451387" y="381616"/>
                  </a:cubicBezTo>
                  <a:cubicBezTo>
                    <a:pt x="464093" y="473864"/>
                    <a:pt x="120196" y="717317"/>
                    <a:pt x="43132" y="730087"/>
                  </a:cubicBezTo>
                  <a:lnTo>
                    <a:pt x="-514" y="558551"/>
                  </a:lnTo>
                  <a:cubicBezTo>
                    <a:pt x="-514" y="558551"/>
                    <a:pt x="284489" y="425135"/>
                    <a:pt x="315302" y="366368"/>
                  </a:cubicBezTo>
                  <a:lnTo>
                    <a:pt x="248594" y="207539"/>
                  </a:lnTo>
                  <a:lnTo>
                    <a:pt x="274007" y="-19"/>
                  </a:ln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 65">
              <a:extLst>
                <a:ext uri="{FF2B5EF4-FFF2-40B4-BE49-F238E27FC236}">
                  <a16:creationId xmlns:a16="http://schemas.microsoft.com/office/drawing/2014/main" id="{5C027203-A68E-B035-815A-C100E2DD03A3}"/>
                </a:ext>
              </a:extLst>
            </p:cNvPr>
            <p:cNvSpPr/>
            <p:nvPr/>
          </p:nvSpPr>
          <p:spPr>
            <a:xfrm>
              <a:off x="8008236" y="3573622"/>
              <a:ext cx="101648" cy="117572"/>
            </a:xfrm>
            <a:custGeom>
              <a:avLst/>
              <a:gdLst>
                <a:gd name="connsiteX0" fmla="*/ 66265 w 89777"/>
                <a:gd name="connsiteY0" fmla="*/ 362 h 103842"/>
                <a:gd name="connsiteX1" fmla="*/ 5147 w 89777"/>
                <a:gd name="connsiteY1" fmla="*/ 15800 h 103842"/>
                <a:gd name="connsiteX2" fmla="*/ 89263 w 89777"/>
                <a:gd name="connsiteY2" fmla="*/ 95596 h 103842"/>
                <a:gd name="connsiteX3" fmla="*/ 66265 w 89777"/>
                <a:gd name="connsiteY3" fmla="*/ 298 h 103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777" h="103842">
                  <a:moveTo>
                    <a:pt x="66265" y="362"/>
                  </a:moveTo>
                  <a:cubicBezTo>
                    <a:pt x="66265" y="362"/>
                    <a:pt x="15439" y="-4784"/>
                    <a:pt x="5147" y="15800"/>
                  </a:cubicBezTo>
                  <a:cubicBezTo>
                    <a:pt x="-5145" y="36384"/>
                    <a:pt x="-12705" y="131555"/>
                    <a:pt x="89263" y="95596"/>
                  </a:cubicBezTo>
                  <a:lnTo>
                    <a:pt x="66265" y="298"/>
                  </a:ln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 67">
              <a:extLst>
                <a:ext uri="{FF2B5EF4-FFF2-40B4-BE49-F238E27FC236}">
                  <a16:creationId xmlns:a16="http://schemas.microsoft.com/office/drawing/2014/main" id="{6F7BF02D-36DD-D9F3-8D89-3C200378C9AD}"/>
                </a:ext>
              </a:extLst>
            </p:cNvPr>
            <p:cNvSpPr/>
            <p:nvPr/>
          </p:nvSpPr>
          <p:spPr>
            <a:xfrm rot="19901924">
              <a:off x="4001212" y="2597109"/>
              <a:ext cx="340051" cy="595716"/>
            </a:xfrm>
            <a:custGeom>
              <a:avLst/>
              <a:gdLst>
                <a:gd name="connsiteX0" fmla="*/ 596690 w 1007682"/>
                <a:gd name="connsiteY0" fmla="*/ 1042540 h 1765307"/>
                <a:gd name="connsiteX1" fmla="*/ 596690 w 1007682"/>
                <a:gd name="connsiteY1" fmla="*/ 1209120 h 1765307"/>
                <a:gd name="connsiteX2" fmla="*/ 479747 w 1007682"/>
                <a:gd name="connsiteY2" fmla="*/ 1332124 h 1765307"/>
                <a:gd name="connsiteX3" fmla="*/ 473502 w 1007682"/>
                <a:gd name="connsiteY3" fmla="*/ 1332118 h 1765307"/>
                <a:gd name="connsiteX4" fmla="*/ 350314 w 1007682"/>
                <a:gd name="connsiteY4" fmla="*/ 1209120 h 1765307"/>
                <a:gd name="connsiteX5" fmla="*/ 350314 w 1007682"/>
                <a:gd name="connsiteY5" fmla="*/ 945209 h 1765307"/>
                <a:gd name="connsiteX6" fmla="*/ 352855 w 1007682"/>
                <a:gd name="connsiteY6" fmla="*/ 940063 h 1765307"/>
                <a:gd name="connsiteX7" fmla="*/ 350314 w 1007682"/>
                <a:gd name="connsiteY7" fmla="*/ 934981 h 1765307"/>
                <a:gd name="connsiteX8" fmla="*/ 473502 w 1007682"/>
                <a:gd name="connsiteY8" fmla="*/ 811983 h 1765307"/>
                <a:gd name="connsiteX9" fmla="*/ 760983 w 1007682"/>
                <a:gd name="connsiteY9" fmla="*/ 530157 h 1765307"/>
                <a:gd name="connsiteX10" fmla="*/ 473502 w 1007682"/>
                <a:gd name="connsiteY10" fmla="*/ 245725 h 1765307"/>
                <a:gd name="connsiteX11" fmla="*/ 229667 w 1007682"/>
                <a:gd name="connsiteY11" fmla="*/ 384097 h 1765307"/>
                <a:gd name="connsiteX12" fmla="*/ 62134 w 1007682"/>
                <a:gd name="connsiteY12" fmla="*/ 430888 h 1765307"/>
                <a:gd name="connsiteX13" fmla="*/ 15343 w 1007682"/>
                <a:gd name="connsiteY13" fmla="*/ 263355 h 1765307"/>
                <a:gd name="connsiteX14" fmla="*/ 16645 w 1007682"/>
                <a:gd name="connsiteY14" fmla="*/ 261100 h 1765307"/>
                <a:gd name="connsiteX15" fmla="*/ 473502 w 1007682"/>
                <a:gd name="connsiteY15" fmla="*/ -206 h 1765307"/>
                <a:gd name="connsiteX16" fmla="*/ 1007168 w 1007682"/>
                <a:gd name="connsiteY16" fmla="*/ 530157 h 1765307"/>
                <a:gd name="connsiteX17" fmla="*/ 596499 w 1007682"/>
                <a:gd name="connsiteY17" fmla="*/ 1042540 h 1765307"/>
                <a:gd name="connsiteX18" fmla="*/ 596690 w 1007682"/>
                <a:gd name="connsiteY18" fmla="*/ 1595965 h 1765307"/>
                <a:gd name="connsiteX19" fmla="*/ 596690 w 1007682"/>
                <a:gd name="connsiteY19" fmla="*/ 1642089 h 1765307"/>
                <a:gd name="connsiteX20" fmla="*/ 473502 w 1007682"/>
                <a:gd name="connsiteY20" fmla="*/ 1765086 h 1765307"/>
                <a:gd name="connsiteX21" fmla="*/ 350314 w 1007682"/>
                <a:gd name="connsiteY21" fmla="*/ 1645221 h 1765307"/>
                <a:gd name="connsiteX22" fmla="*/ 350314 w 1007682"/>
                <a:gd name="connsiteY22" fmla="*/ 1642089 h 1765307"/>
                <a:gd name="connsiteX23" fmla="*/ 350314 w 1007682"/>
                <a:gd name="connsiteY23" fmla="*/ 1595965 h 1765307"/>
                <a:gd name="connsiteX24" fmla="*/ 473502 w 1007682"/>
                <a:gd name="connsiteY24" fmla="*/ 1473031 h 1765307"/>
                <a:gd name="connsiteX25" fmla="*/ 596690 w 1007682"/>
                <a:gd name="connsiteY25" fmla="*/ 1592769 h 1765307"/>
                <a:gd name="connsiteX26" fmla="*/ 596690 w 1007682"/>
                <a:gd name="connsiteY26" fmla="*/ 1595965 h 1765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07682" h="1765307">
                  <a:moveTo>
                    <a:pt x="596690" y="1042540"/>
                  </a:moveTo>
                  <a:lnTo>
                    <a:pt x="596690" y="1209120"/>
                  </a:lnTo>
                  <a:cubicBezTo>
                    <a:pt x="598361" y="1275377"/>
                    <a:pt x="546004" y="1330447"/>
                    <a:pt x="479747" y="1332124"/>
                  </a:cubicBezTo>
                  <a:cubicBezTo>
                    <a:pt x="477663" y="1332175"/>
                    <a:pt x="475579" y="1332175"/>
                    <a:pt x="473502" y="1332118"/>
                  </a:cubicBezTo>
                  <a:cubicBezTo>
                    <a:pt x="405529" y="1332156"/>
                    <a:pt x="350384" y="1277093"/>
                    <a:pt x="350314" y="1209120"/>
                  </a:cubicBezTo>
                  <a:lnTo>
                    <a:pt x="350314" y="945209"/>
                  </a:lnTo>
                  <a:cubicBezTo>
                    <a:pt x="350314" y="942668"/>
                    <a:pt x="352855" y="942668"/>
                    <a:pt x="352855" y="940063"/>
                  </a:cubicBezTo>
                  <a:cubicBezTo>
                    <a:pt x="350314" y="937522"/>
                    <a:pt x="350314" y="937522"/>
                    <a:pt x="350314" y="934981"/>
                  </a:cubicBezTo>
                  <a:cubicBezTo>
                    <a:pt x="350314" y="870941"/>
                    <a:pt x="406793" y="811983"/>
                    <a:pt x="473502" y="811983"/>
                  </a:cubicBezTo>
                  <a:cubicBezTo>
                    <a:pt x="632649" y="811983"/>
                    <a:pt x="760983" y="686445"/>
                    <a:pt x="760983" y="530157"/>
                  </a:cubicBezTo>
                  <a:cubicBezTo>
                    <a:pt x="760983" y="368723"/>
                    <a:pt x="632649" y="245725"/>
                    <a:pt x="473502" y="245725"/>
                  </a:cubicBezTo>
                  <a:cubicBezTo>
                    <a:pt x="373636" y="246094"/>
                    <a:pt x="281198" y="298552"/>
                    <a:pt x="229667" y="384097"/>
                  </a:cubicBezTo>
                  <a:cubicBezTo>
                    <a:pt x="196326" y="443283"/>
                    <a:pt x="121320" y="464230"/>
                    <a:pt x="62134" y="430888"/>
                  </a:cubicBezTo>
                  <a:cubicBezTo>
                    <a:pt x="2948" y="397547"/>
                    <a:pt x="-17999" y="322541"/>
                    <a:pt x="15343" y="263355"/>
                  </a:cubicBezTo>
                  <a:cubicBezTo>
                    <a:pt x="15769" y="262599"/>
                    <a:pt x="16201" y="261850"/>
                    <a:pt x="16645" y="261100"/>
                  </a:cubicBezTo>
                  <a:cubicBezTo>
                    <a:pt x="111346" y="98668"/>
                    <a:pt x="285480" y="-930"/>
                    <a:pt x="473502" y="-206"/>
                  </a:cubicBezTo>
                  <a:cubicBezTo>
                    <a:pt x="766129" y="-206"/>
                    <a:pt x="1007168" y="235497"/>
                    <a:pt x="1007168" y="530157"/>
                  </a:cubicBezTo>
                  <a:cubicBezTo>
                    <a:pt x="1007168" y="778693"/>
                    <a:pt x="832647" y="988792"/>
                    <a:pt x="596499" y="1042540"/>
                  </a:cubicBezTo>
                  <a:close/>
                  <a:moveTo>
                    <a:pt x="596690" y="1595965"/>
                  </a:moveTo>
                  <a:lnTo>
                    <a:pt x="596690" y="1642089"/>
                  </a:lnTo>
                  <a:cubicBezTo>
                    <a:pt x="596690" y="1713816"/>
                    <a:pt x="545356" y="1765086"/>
                    <a:pt x="473502" y="1765086"/>
                  </a:cubicBezTo>
                  <a:cubicBezTo>
                    <a:pt x="406387" y="1766001"/>
                    <a:pt x="351235" y="1712336"/>
                    <a:pt x="350314" y="1645221"/>
                  </a:cubicBezTo>
                  <a:cubicBezTo>
                    <a:pt x="350301" y="1644179"/>
                    <a:pt x="350301" y="1643131"/>
                    <a:pt x="350314" y="1642089"/>
                  </a:cubicBezTo>
                  <a:lnTo>
                    <a:pt x="350314" y="1595965"/>
                  </a:lnTo>
                  <a:cubicBezTo>
                    <a:pt x="351305" y="1528386"/>
                    <a:pt x="405923" y="1473882"/>
                    <a:pt x="473502" y="1473031"/>
                  </a:cubicBezTo>
                  <a:cubicBezTo>
                    <a:pt x="540585" y="1472078"/>
                    <a:pt x="595737" y="1525686"/>
                    <a:pt x="596690" y="1592769"/>
                  </a:cubicBezTo>
                  <a:cubicBezTo>
                    <a:pt x="596703" y="1593830"/>
                    <a:pt x="596703" y="1594897"/>
                    <a:pt x="596690" y="1595965"/>
                  </a:cubicBezTo>
                  <a:close/>
                </a:path>
              </a:pathLst>
            </a:custGeom>
            <a:solidFill>
              <a:srgbClr val="D0D4DA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pic>
        <p:nvPicPr>
          <p:cNvPr id="74" name="图片 73">
            <a:extLst>
              <a:ext uri="{FF2B5EF4-FFF2-40B4-BE49-F238E27FC236}">
                <a16:creationId xmlns:a16="http://schemas.microsoft.com/office/drawing/2014/main" id="{DC44796B-E79B-37BB-86A6-38003DEFD4D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3035" y="299594"/>
            <a:ext cx="1837445" cy="501494"/>
          </a:xfrm>
          <a:prstGeom prst="rect">
            <a:avLst/>
          </a:prstGeom>
        </p:spPr>
      </p:pic>
      <p:sp>
        <p:nvSpPr>
          <p:cNvPr id="2" name="文本框 1">
            <a:extLst>
              <a:ext uri="{FF2B5EF4-FFF2-40B4-BE49-F238E27FC236}">
                <a16:creationId xmlns:a16="http://schemas.microsoft.com/office/drawing/2014/main" id="{7DC18AF8-D101-F0FA-1575-F34461BA94CF}"/>
              </a:ext>
            </a:extLst>
          </p:cNvPr>
          <p:cNvSpPr txBox="1">
            <a:spLocks/>
          </p:cNvSpPr>
          <p:nvPr/>
        </p:nvSpPr>
        <p:spPr>
          <a:xfrm>
            <a:off x="812798" y="3581260"/>
            <a:ext cx="6613914" cy="823953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>
              <a:lnSpc>
                <a:spcPct val="120000"/>
              </a:lnSpc>
            </a:pPr>
            <a:r>
              <a:rPr kumimoji="1"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文案</a:t>
            </a:r>
            <a:r>
              <a:rPr kumimoji="1"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kumimoji="1"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为什么门诊医生需要开展疫苗科普 </a:t>
            </a:r>
            <a:r>
              <a:rPr kumimoji="1"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| </a:t>
            </a:r>
            <a:r>
              <a:rPr kumimoji="1"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门诊优秀案例分享</a:t>
            </a:r>
            <a:endParaRPr kumimoji="1"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kumimoji="1"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文案</a:t>
            </a:r>
            <a:r>
              <a:rPr kumimoji="1"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kumimoji="1"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努把力，动起来，更多的奖励等着你</a:t>
            </a:r>
            <a:endParaRPr kumimoji="1"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爆炸形: 8 pt  5">
            <a:extLst>
              <a:ext uri="{FF2B5EF4-FFF2-40B4-BE49-F238E27FC236}">
                <a16:creationId xmlns:a16="http://schemas.microsoft.com/office/drawing/2014/main" id="{CE454B1F-4838-C3E0-B81D-A1DC04A98C6A}"/>
              </a:ext>
            </a:extLst>
          </p:cNvPr>
          <p:cNvSpPr/>
          <p:nvPr/>
        </p:nvSpPr>
        <p:spPr bwMode="auto">
          <a:xfrm>
            <a:off x="8168219" y="3598350"/>
            <a:ext cx="3090441" cy="2187611"/>
          </a:xfrm>
          <a:prstGeom prst="irregularSeal1">
            <a:avLst/>
          </a:prstGeom>
          <a:solidFill>
            <a:schemeClr val="accent1">
              <a:lumMod val="40000"/>
              <a:lumOff val="6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zh-CN" altLang="en-US" sz="3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为什么？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20E784AF-E0CF-2138-BB06-C57A7C2DE09B}"/>
              </a:ext>
            </a:extLst>
          </p:cNvPr>
          <p:cNvSpPr txBox="1">
            <a:spLocks/>
          </p:cNvSpPr>
          <p:nvPr/>
        </p:nvSpPr>
        <p:spPr>
          <a:xfrm>
            <a:off x="812798" y="5117532"/>
            <a:ext cx="7175585" cy="823953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>
              <a:lnSpc>
                <a:spcPct val="120000"/>
              </a:lnSpc>
            </a:pPr>
            <a:r>
              <a:rPr kumimoji="1"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文案</a:t>
            </a:r>
            <a:r>
              <a:rPr kumimoji="1"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kumimoji="1"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案例分享</a:t>
            </a:r>
            <a:r>
              <a:rPr kumimoji="1"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| </a:t>
            </a:r>
            <a:r>
              <a:rPr kumimoji="1"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你的门诊科普难题，他用</a:t>
            </a:r>
            <a:r>
              <a:rPr kumimoji="1"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kumimoji="1"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招轻松搞定！点击查看</a:t>
            </a:r>
            <a:endParaRPr kumimoji="1"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kumimoji="1"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文案</a:t>
            </a:r>
            <a:r>
              <a:rPr kumimoji="1"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kumimoji="1"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再有</a:t>
            </a:r>
            <a:r>
              <a:rPr kumimoji="1"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kumimoji="1"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步，你就可以领一份</a:t>
            </a:r>
            <a:r>
              <a:rPr kumimoji="1"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10</a:t>
            </a:r>
            <a:r>
              <a:rPr kumimoji="1"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元小礼包</a:t>
            </a:r>
            <a:endParaRPr kumimoji="1"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71680137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图片 39">
            <a:extLst>
              <a:ext uri="{FF2B5EF4-FFF2-40B4-BE49-F238E27FC236}">
                <a16:creationId xmlns:a16="http://schemas.microsoft.com/office/drawing/2014/main" id="{7CB1490E-39EF-785B-93D8-3B5E023A7BD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9418" y="253211"/>
            <a:ext cx="1837445" cy="501494"/>
          </a:xfrm>
          <a:prstGeom prst="rect">
            <a:avLst/>
          </a:prstGeom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id="{F47EC12C-5D39-0782-902E-14EF8355CE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371" y="2135685"/>
            <a:ext cx="5035391" cy="33948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文本框 35">
            <a:extLst>
              <a:ext uri="{FF2B5EF4-FFF2-40B4-BE49-F238E27FC236}">
                <a16:creationId xmlns:a16="http://schemas.microsoft.com/office/drawing/2014/main" id="{7A1E7A94-BDAA-AAB0-E4D6-C88068A4F325}"/>
              </a:ext>
            </a:extLst>
          </p:cNvPr>
          <p:cNvSpPr txBox="1"/>
          <p:nvPr/>
        </p:nvSpPr>
        <p:spPr>
          <a:xfrm>
            <a:off x="5182889" y="5763808"/>
            <a:ext cx="3638382" cy="456535"/>
          </a:xfrm>
          <a:prstGeom prst="rect">
            <a:avLst/>
          </a:prstGeom>
          <a:noFill/>
        </p:spPr>
        <p:txBody>
          <a:bodyPr wrap="square" rtlCol="0" anchor="b" anchorCtr="0">
            <a:normAutofit/>
          </a:bodyPr>
          <a:lstStyle>
            <a:defPPr>
              <a:defRPr lang="zh-CN"/>
            </a:defPPr>
            <a:lvl1pPr>
              <a:lnSpc>
                <a:spcPct val="150000"/>
              </a:lnSpc>
              <a:defRPr kumimoji="0" sz="1200" b="1" i="0" u="none" strike="noStrike" cap="none" spc="0" normalizeH="0" baseline="0">
                <a:ln>
                  <a:noFill/>
                </a:ln>
                <a:effectLst/>
                <a:uLnTx/>
                <a:uFillTx/>
              </a:defRPr>
            </a:lvl1pPr>
          </a:lstStyle>
          <a:p>
            <a:pPr>
              <a:lnSpc>
                <a:spcPct val="100000"/>
              </a:lnSpc>
            </a:pPr>
            <a:r>
              <a:rPr kumimoji="1" lang="zh-CN" altLang="en-US" sz="18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吸睛是因为击中了用户的心理</a:t>
            </a:r>
            <a:endParaRPr kumimoji="1" lang="en-US" altLang="zh-CN" sz="1800" b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PA_文本框 21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>
            <a:extLst>
              <a:ext uri="{FF2B5EF4-FFF2-40B4-BE49-F238E27FC236}">
                <a16:creationId xmlns:a16="http://schemas.microsoft.com/office/drawing/2014/main" id="{EB15CC80-CF2A-2BCF-9F74-8937D327667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80230" y="330214"/>
            <a:ext cx="5152913" cy="46166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zh-CN"/>
            </a:defPPr>
            <a:lvl1pPr marL="12700" marR="0" lvl="0" indent="0" fontAlgn="auto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F05A23"/>
                </a:solidFill>
                <a:effectLst/>
                <a:uLnTx/>
                <a:uFillTx/>
                <a:latin typeface="Arial"/>
                <a:ea typeface="华文楷体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  <a:lvl6pPr>
              <a:defRPr>
                <a:latin typeface="+mn-lt"/>
                <a:ea typeface="+mn-ea"/>
                <a:cs typeface="+mn-cs"/>
              </a:defRPr>
            </a:lvl6pPr>
            <a:lvl7pPr>
              <a:defRPr>
                <a:latin typeface="+mn-lt"/>
                <a:ea typeface="+mn-ea"/>
                <a:cs typeface="+mn-cs"/>
              </a:defRPr>
            </a:lvl7pPr>
            <a:lvl8pPr>
              <a:defRPr>
                <a:latin typeface="+mn-lt"/>
                <a:ea typeface="+mn-ea"/>
                <a:cs typeface="+mn-cs"/>
              </a:defRPr>
            </a:lvl8pPr>
            <a:lvl9pPr>
              <a:defRPr>
                <a:latin typeface="+mn-lt"/>
                <a:ea typeface="+mn-ea"/>
                <a:cs typeface="+mn-cs"/>
              </a:defRPr>
            </a:lvl9pPr>
          </a:lstStyle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</a:t>
            </a:r>
            <a:r>
              <a:rPr lang="en-US" altLang="zh-CN" sz="2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2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步：吸睛标题，吸引注意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2B23F7BC-282A-284C-1BC8-0CF3B481E51A}"/>
              </a:ext>
            </a:extLst>
          </p:cNvPr>
          <p:cNvSpPr txBox="1"/>
          <p:nvPr/>
        </p:nvSpPr>
        <p:spPr>
          <a:xfrm>
            <a:off x="280650" y="358385"/>
            <a:ext cx="6744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.1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6" name="表格 5">
            <a:extLst>
              <a:ext uri="{FF2B5EF4-FFF2-40B4-BE49-F238E27FC236}">
                <a16:creationId xmlns:a16="http://schemas.microsoft.com/office/drawing/2014/main" id="{C8B25A0D-06F9-8241-45DA-E7AA200DE3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56942"/>
              </p:ext>
            </p:extLst>
          </p:nvPr>
        </p:nvGraphicFramePr>
        <p:xfrm>
          <a:off x="5292762" y="2135684"/>
          <a:ext cx="5845513" cy="35658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41323">
                  <a:extLst>
                    <a:ext uri="{9D8B030D-6E8A-4147-A177-3AD203B41FA5}">
                      <a16:colId xmlns:a16="http://schemas.microsoft.com/office/drawing/2014/main" val="123992678"/>
                    </a:ext>
                  </a:extLst>
                </a:gridCol>
                <a:gridCol w="4504190">
                  <a:extLst>
                    <a:ext uri="{9D8B030D-6E8A-4147-A177-3AD203B41FA5}">
                      <a16:colId xmlns:a16="http://schemas.microsoft.com/office/drawing/2014/main" val="2649354788"/>
                    </a:ext>
                  </a:extLst>
                </a:gridCol>
              </a:tblGrid>
              <a:tr h="396207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八大驱动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用户心理分析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92972948"/>
                  </a:ext>
                </a:extLst>
              </a:tr>
              <a:tr h="396207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拥有</a:t>
                      </a:r>
                    </a:p>
                  </a:txBody>
                  <a:tcPr>
                    <a:solidFill>
                      <a:srgbClr val="F9D1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获得好处，奖金、资源等</a:t>
                      </a:r>
                    </a:p>
                  </a:txBody>
                  <a:tcPr>
                    <a:solidFill>
                      <a:srgbClr val="F9D1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4464336"/>
                  </a:ext>
                </a:extLst>
              </a:tr>
              <a:tr h="396207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逃避</a:t>
                      </a:r>
                    </a:p>
                  </a:txBody>
                  <a:tcPr>
                    <a:solidFill>
                      <a:srgbClr val="F9D1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恐慌</a:t>
                      </a:r>
                    </a:p>
                  </a:txBody>
                  <a:tcPr>
                    <a:solidFill>
                      <a:srgbClr val="F9D1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3636790"/>
                  </a:ext>
                </a:extLst>
              </a:tr>
              <a:tr h="396207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成就</a:t>
                      </a:r>
                    </a:p>
                  </a:txBody>
                  <a:tcPr>
                    <a:solidFill>
                      <a:srgbClr val="F9D1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解决问题，获得进步</a:t>
                      </a:r>
                    </a:p>
                  </a:txBody>
                  <a:tcPr>
                    <a:solidFill>
                      <a:srgbClr val="F9D1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7185472"/>
                  </a:ext>
                </a:extLst>
              </a:tr>
              <a:tr h="396207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未知</a:t>
                      </a:r>
                    </a:p>
                  </a:txBody>
                  <a:tcPr>
                    <a:solidFill>
                      <a:srgbClr val="F9D1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好奇，探索</a:t>
                      </a:r>
                    </a:p>
                  </a:txBody>
                  <a:tcPr>
                    <a:solidFill>
                      <a:srgbClr val="F9D1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3078474"/>
                  </a:ext>
                </a:extLst>
              </a:tr>
              <a:tr h="39620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社交</a:t>
                      </a:r>
                    </a:p>
                  </a:txBody>
                  <a:tcPr>
                    <a:solidFill>
                      <a:srgbClr val="FCEAE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从众，对比出优势</a:t>
                      </a:r>
                    </a:p>
                  </a:txBody>
                  <a:tcPr>
                    <a:solidFill>
                      <a:srgbClr val="FCEA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0386439"/>
                  </a:ext>
                </a:extLst>
              </a:tr>
              <a:tr h="396207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使命</a:t>
                      </a:r>
                    </a:p>
                  </a:txBody>
                  <a:tcPr>
                    <a:solidFill>
                      <a:srgbClr val="FCEAE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同理心、社会责任</a:t>
                      </a:r>
                    </a:p>
                  </a:txBody>
                  <a:tcPr>
                    <a:solidFill>
                      <a:srgbClr val="FCEA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5919489"/>
                  </a:ext>
                </a:extLst>
              </a:tr>
              <a:tr h="39620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稀缺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害怕错过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0679513"/>
                  </a:ext>
                </a:extLst>
              </a:tr>
              <a:tr h="396207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创造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里程碑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3834571"/>
                  </a:ext>
                </a:extLst>
              </a:tr>
            </a:tbl>
          </a:graphicData>
        </a:graphic>
      </p:graphicFrame>
      <p:sp>
        <p:nvSpPr>
          <p:cNvPr id="7" name="文本框 6">
            <a:extLst>
              <a:ext uri="{FF2B5EF4-FFF2-40B4-BE49-F238E27FC236}">
                <a16:creationId xmlns:a16="http://schemas.microsoft.com/office/drawing/2014/main" id="{B9A3C2F5-276A-FAEC-6B43-7FF01D5297C8}"/>
              </a:ext>
            </a:extLst>
          </p:cNvPr>
          <p:cNvSpPr txBox="1"/>
          <p:nvPr/>
        </p:nvSpPr>
        <p:spPr>
          <a:xfrm>
            <a:off x="1808002" y="1264098"/>
            <a:ext cx="7913893" cy="581057"/>
          </a:xfrm>
          <a:prstGeom prst="rect">
            <a:avLst/>
          </a:prstGeom>
          <a:noFill/>
        </p:spPr>
        <p:txBody>
          <a:bodyPr wrap="square" anchor="b">
            <a:noAutofit/>
          </a:bodyPr>
          <a:lstStyle/>
          <a:p>
            <a:pPr algn="ctr"/>
            <a:r>
              <a:rPr lang="zh-CN" altLang="en-US" sz="3000" b="1" dirty="0">
                <a:solidFill>
                  <a:srgbClr val="F05A2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八角行为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分析，了解吸睛法则</a:t>
            </a:r>
          </a:p>
        </p:txBody>
      </p:sp>
    </p:spTree>
    <p:extLst>
      <p:ext uri="{BB962C8B-B14F-4D97-AF65-F5344CB8AC3E}">
        <p14:creationId xmlns:p14="http://schemas.microsoft.com/office/powerpoint/2010/main" val="318616548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图片 39">
            <a:extLst>
              <a:ext uri="{FF2B5EF4-FFF2-40B4-BE49-F238E27FC236}">
                <a16:creationId xmlns:a16="http://schemas.microsoft.com/office/drawing/2014/main" id="{7CB1490E-39EF-785B-93D8-3B5E023A7BD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9418" y="253211"/>
            <a:ext cx="1837445" cy="501494"/>
          </a:xfrm>
          <a:prstGeom prst="rect">
            <a:avLst/>
          </a:prstGeom>
        </p:spPr>
      </p:pic>
      <p:sp>
        <p:nvSpPr>
          <p:cNvPr id="2" name="PA_文本框 21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>
            <a:extLst>
              <a:ext uri="{FF2B5EF4-FFF2-40B4-BE49-F238E27FC236}">
                <a16:creationId xmlns:a16="http://schemas.microsoft.com/office/drawing/2014/main" id="{EB15CC80-CF2A-2BCF-9F74-8937D327667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80230" y="330214"/>
            <a:ext cx="5152913" cy="46166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zh-CN"/>
            </a:defPPr>
            <a:lvl1pPr marL="12700" marR="0" lvl="0" indent="0" fontAlgn="auto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F05A23"/>
                </a:solidFill>
                <a:effectLst/>
                <a:uLnTx/>
                <a:uFillTx/>
                <a:latin typeface="Arial"/>
                <a:ea typeface="华文楷体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  <a:lvl6pPr>
              <a:defRPr>
                <a:latin typeface="+mn-lt"/>
                <a:ea typeface="+mn-ea"/>
                <a:cs typeface="+mn-cs"/>
              </a:defRPr>
            </a:lvl6pPr>
            <a:lvl7pPr>
              <a:defRPr>
                <a:latin typeface="+mn-lt"/>
                <a:ea typeface="+mn-ea"/>
                <a:cs typeface="+mn-cs"/>
              </a:defRPr>
            </a:lvl7pPr>
            <a:lvl8pPr>
              <a:defRPr>
                <a:latin typeface="+mn-lt"/>
                <a:ea typeface="+mn-ea"/>
                <a:cs typeface="+mn-cs"/>
              </a:defRPr>
            </a:lvl8pPr>
            <a:lvl9pPr>
              <a:defRPr>
                <a:latin typeface="+mn-lt"/>
                <a:ea typeface="+mn-ea"/>
                <a:cs typeface="+mn-cs"/>
              </a:defRPr>
            </a:lvl9pPr>
          </a:lstStyle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</a:t>
            </a:r>
            <a:r>
              <a:rPr lang="en-US" altLang="zh-CN" sz="2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2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步：吸睛标题，吸引注意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2B23F7BC-282A-284C-1BC8-0CF3B481E51A}"/>
              </a:ext>
            </a:extLst>
          </p:cNvPr>
          <p:cNvSpPr txBox="1"/>
          <p:nvPr/>
        </p:nvSpPr>
        <p:spPr>
          <a:xfrm>
            <a:off x="280650" y="358385"/>
            <a:ext cx="6744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.1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3538EC3C-3C3C-4D39-4234-389884546116}"/>
              </a:ext>
            </a:extLst>
          </p:cNvPr>
          <p:cNvCxnSpPr>
            <a:cxnSpLocks/>
          </p:cNvCxnSpPr>
          <p:nvPr/>
        </p:nvCxnSpPr>
        <p:spPr>
          <a:xfrm flipV="1">
            <a:off x="2058019" y="3717113"/>
            <a:ext cx="8063261" cy="3175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  <a:alpha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右大括号 3">
            <a:extLst>
              <a:ext uri="{FF2B5EF4-FFF2-40B4-BE49-F238E27FC236}">
                <a16:creationId xmlns:a16="http://schemas.microsoft.com/office/drawing/2014/main" id="{EA2254FA-1410-8AE8-2146-5FF8D0A4AA7E}"/>
              </a:ext>
            </a:extLst>
          </p:cNvPr>
          <p:cNvSpPr/>
          <p:nvPr/>
        </p:nvSpPr>
        <p:spPr>
          <a:xfrm rot="16200000">
            <a:off x="5790288" y="-1445627"/>
            <a:ext cx="598725" cy="8174450"/>
          </a:xfrm>
          <a:prstGeom prst="rightBrace">
            <a:avLst>
              <a:gd name="adj1" fmla="val 88763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7" name="组合 6">
            <a:extLst>
              <a:ext uri="{FF2B5EF4-FFF2-40B4-BE49-F238E27FC236}">
                <a16:creationId xmlns:a16="http://schemas.microsoft.com/office/drawing/2014/main" id="{C074880F-0940-DB5E-DEFA-201CC23CBB04}"/>
              </a:ext>
            </a:extLst>
          </p:cNvPr>
          <p:cNvGrpSpPr/>
          <p:nvPr/>
        </p:nvGrpSpPr>
        <p:grpSpPr>
          <a:xfrm>
            <a:off x="1774882" y="3660909"/>
            <a:ext cx="540000" cy="992708"/>
            <a:chOff x="1482782" y="3643506"/>
            <a:chExt cx="540000" cy="992708"/>
          </a:xfrm>
        </p:grpSpPr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249D21DA-963D-D3E9-2D5A-DCCA77BE05AB}"/>
                </a:ext>
              </a:extLst>
            </p:cNvPr>
            <p:cNvGrpSpPr>
              <a:grpSpLocks/>
            </p:cNvGrpSpPr>
            <p:nvPr/>
          </p:nvGrpSpPr>
          <p:grpSpPr>
            <a:xfrm>
              <a:off x="1482782" y="4096214"/>
              <a:ext cx="540000" cy="540000"/>
              <a:chOff x="2697243" y="1164218"/>
              <a:chExt cx="454025" cy="454025"/>
            </a:xfrm>
          </p:grpSpPr>
          <p:sp>
            <p:nvSpPr>
              <p:cNvPr id="11" name="椭圆 10">
                <a:extLst>
                  <a:ext uri="{FF2B5EF4-FFF2-40B4-BE49-F238E27FC236}">
                    <a16:creationId xmlns:a16="http://schemas.microsoft.com/office/drawing/2014/main" id="{2EEA1A7F-2EF1-035D-DDF7-1A8C15448225}"/>
                  </a:ext>
                </a:extLst>
              </p:cNvPr>
              <p:cNvSpPr/>
              <p:nvPr/>
            </p:nvSpPr>
            <p:spPr>
              <a:xfrm>
                <a:off x="2697243" y="1164218"/>
                <a:ext cx="454025" cy="454025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2" name="任意多边形: 形状 11">
                <a:extLst>
                  <a:ext uri="{FF2B5EF4-FFF2-40B4-BE49-F238E27FC236}">
                    <a16:creationId xmlns:a16="http://schemas.microsoft.com/office/drawing/2014/main" id="{9875CF64-629D-BB5B-C025-DFAE373AC259}"/>
                  </a:ext>
                </a:extLst>
              </p:cNvPr>
              <p:cNvSpPr/>
              <p:nvPr/>
            </p:nvSpPr>
            <p:spPr bwMode="auto">
              <a:xfrm>
                <a:off x="2834564" y="1282040"/>
                <a:ext cx="179383" cy="218380"/>
              </a:xfrm>
              <a:custGeom>
                <a:avLst/>
                <a:gdLst>
                  <a:gd name="connsiteX0" fmla="*/ 283816 w 438150"/>
                  <a:gd name="connsiteY0" fmla="*/ 621 h 533400"/>
                  <a:gd name="connsiteX1" fmla="*/ 286102 w 438150"/>
                  <a:gd name="connsiteY1" fmla="*/ 716 h 533400"/>
                  <a:gd name="connsiteX2" fmla="*/ 286102 w 438150"/>
                  <a:gd name="connsiteY2" fmla="*/ 124446 h 533400"/>
                  <a:gd name="connsiteX3" fmla="*/ 286197 w 438150"/>
                  <a:gd name="connsiteY3" fmla="*/ 126160 h 533400"/>
                  <a:gd name="connsiteX4" fmla="*/ 314677 w 438150"/>
                  <a:gd name="connsiteY4" fmla="*/ 153021 h 533400"/>
                  <a:gd name="connsiteX5" fmla="*/ 314677 w 438150"/>
                  <a:gd name="connsiteY5" fmla="*/ 153021 h 533400"/>
                  <a:gd name="connsiteX6" fmla="*/ 438407 w 438150"/>
                  <a:gd name="connsiteY6" fmla="*/ 153021 h 533400"/>
                  <a:gd name="connsiteX7" fmla="*/ 438502 w 438150"/>
                  <a:gd name="connsiteY7" fmla="*/ 155307 h 533400"/>
                  <a:gd name="connsiteX8" fmla="*/ 438502 w 438150"/>
                  <a:gd name="connsiteY8" fmla="*/ 505446 h 533400"/>
                  <a:gd name="connsiteX9" fmla="*/ 409927 w 438150"/>
                  <a:gd name="connsiteY9" fmla="*/ 534021 h 533400"/>
                  <a:gd name="connsiteX10" fmla="*/ 28927 w 438150"/>
                  <a:gd name="connsiteY10" fmla="*/ 534021 h 533400"/>
                  <a:gd name="connsiteX11" fmla="*/ 352 w 438150"/>
                  <a:gd name="connsiteY11" fmla="*/ 505446 h 533400"/>
                  <a:gd name="connsiteX12" fmla="*/ 352 w 438150"/>
                  <a:gd name="connsiteY12" fmla="*/ 29196 h 533400"/>
                  <a:gd name="connsiteX13" fmla="*/ 28927 w 438150"/>
                  <a:gd name="connsiteY13" fmla="*/ 621 h 533400"/>
                  <a:gd name="connsiteX14" fmla="*/ 283816 w 438150"/>
                  <a:gd name="connsiteY14" fmla="*/ 621 h 533400"/>
                  <a:gd name="connsiteX15" fmla="*/ 248002 w 438150"/>
                  <a:gd name="connsiteY15" fmla="*/ 200646 h 533400"/>
                  <a:gd name="connsiteX16" fmla="*/ 152752 w 438150"/>
                  <a:gd name="connsiteY16" fmla="*/ 200646 h 533400"/>
                  <a:gd name="connsiteX17" fmla="*/ 152752 w 438150"/>
                  <a:gd name="connsiteY17" fmla="*/ 410196 h 533400"/>
                  <a:gd name="connsiteX18" fmla="*/ 171802 w 438150"/>
                  <a:gd name="connsiteY18" fmla="*/ 410196 h 533400"/>
                  <a:gd name="connsiteX19" fmla="*/ 171802 w 438150"/>
                  <a:gd name="connsiteY19" fmla="*/ 314946 h 533400"/>
                  <a:gd name="connsiteX20" fmla="*/ 248002 w 438150"/>
                  <a:gd name="connsiteY20" fmla="*/ 314946 h 533400"/>
                  <a:gd name="connsiteX21" fmla="*/ 250098 w 438150"/>
                  <a:gd name="connsiteY21" fmla="*/ 314946 h 533400"/>
                  <a:gd name="connsiteX22" fmla="*/ 305152 w 438150"/>
                  <a:gd name="connsiteY22" fmla="*/ 257796 h 533400"/>
                  <a:gd name="connsiteX23" fmla="*/ 248002 w 438150"/>
                  <a:gd name="connsiteY23" fmla="*/ 200646 h 533400"/>
                  <a:gd name="connsiteX24" fmla="*/ 248002 w 438150"/>
                  <a:gd name="connsiteY24" fmla="*/ 200646 h 533400"/>
                  <a:gd name="connsiteX25" fmla="*/ 248002 w 438150"/>
                  <a:gd name="connsiteY25" fmla="*/ 219696 h 533400"/>
                  <a:gd name="connsiteX26" fmla="*/ 286102 w 438150"/>
                  <a:gd name="connsiteY26" fmla="*/ 257796 h 533400"/>
                  <a:gd name="connsiteX27" fmla="*/ 248002 w 438150"/>
                  <a:gd name="connsiteY27" fmla="*/ 295896 h 533400"/>
                  <a:gd name="connsiteX28" fmla="*/ 248002 w 438150"/>
                  <a:gd name="connsiteY28" fmla="*/ 295896 h 533400"/>
                  <a:gd name="connsiteX29" fmla="*/ 171802 w 438150"/>
                  <a:gd name="connsiteY29" fmla="*/ 295896 h 533400"/>
                  <a:gd name="connsiteX30" fmla="*/ 171802 w 438150"/>
                  <a:gd name="connsiteY30" fmla="*/ 219696 h 533400"/>
                  <a:gd name="connsiteX31" fmla="*/ 248002 w 438150"/>
                  <a:gd name="connsiteY31" fmla="*/ 219696 h 533400"/>
                  <a:gd name="connsiteX32" fmla="*/ 428977 w 438150"/>
                  <a:gd name="connsiteY32" fmla="*/ 133971 h 533400"/>
                  <a:gd name="connsiteX33" fmla="*/ 314677 w 438150"/>
                  <a:gd name="connsiteY33" fmla="*/ 133971 h 533400"/>
                  <a:gd name="connsiteX34" fmla="*/ 313534 w 438150"/>
                  <a:gd name="connsiteY34" fmla="*/ 133876 h 533400"/>
                  <a:gd name="connsiteX35" fmla="*/ 305152 w 438150"/>
                  <a:gd name="connsiteY35" fmla="*/ 124446 h 533400"/>
                  <a:gd name="connsiteX36" fmla="*/ 305152 w 438150"/>
                  <a:gd name="connsiteY36" fmla="*/ 124446 h 533400"/>
                  <a:gd name="connsiteX37" fmla="*/ 305152 w 438150"/>
                  <a:gd name="connsiteY37" fmla="*/ 10146 h 533400"/>
                  <a:gd name="connsiteX38" fmla="*/ 428977 w 438150"/>
                  <a:gd name="connsiteY38" fmla="*/ 133971 h 533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438150" h="533400">
                    <a:moveTo>
                      <a:pt x="283816" y="621"/>
                    </a:moveTo>
                    <a:cubicBezTo>
                      <a:pt x="284578" y="621"/>
                      <a:pt x="285340" y="621"/>
                      <a:pt x="286102" y="716"/>
                    </a:cubicBezTo>
                    <a:lnTo>
                      <a:pt x="286102" y="124446"/>
                    </a:lnTo>
                    <a:lnTo>
                      <a:pt x="286197" y="126160"/>
                    </a:lnTo>
                    <a:cubicBezTo>
                      <a:pt x="287055" y="141115"/>
                      <a:pt x="299532" y="153021"/>
                      <a:pt x="314677" y="153021"/>
                    </a:cubicBezTo>
                    <a:lnTo>
                      <a:pt x="314677" y="153021"/>
                    </a:lnTo>
                    <a:lnTo>
                      <a:pt x="438407" y="153021"/>
                    </a:lnTo>
                    <a:cubicBezTo>
                      <a:pt x="438502" y="153783"/>
                      <a:pt x="438502" y="154545"/>
                      <a:pt x="438502" y="155307"/>
                    </a:cubicBezTo>
                    <a:lnTo>
                      <a:pt x="438502" y="505446"/>
                    </a:lnTo>
                    <a:cubicBezTo>
                      <a:pt x="438502" y="521257"/>
                      <a:pt x="425739" y="534021"/>
                      <a:pt x="409927" y="534021"/>
                    </a:cubicBezTo>
                    <a:lnTo>
                      <a:pt x="28927" y="534021"/>
                    </a:lnTo>
                    <a:cubicBezTo>
                      <a:pt x="13115" y="534021"/>
                      <a:pt x="352" y="521257"/>
                      <a:pt x="352" y="505446"/>
                    </a:cubicBezTo>
                    <a:lnTo>
                      <a:pt x="352" y="29196"/>
                    </a:lnTo>
                    <a:cubicBezTo>
                      <a:pt x="352" y="13385"/>
                      <a:pt x="13115" y="621"/>
                      <a:pt x="28927" y="621"/>
                    </a:cubicBezTo>
                    <a:lnTo>
                      <a:pt x="283816" y="621"/>
                    </a:lnTo>
                    <a:close/>
                    <a:moveTo>
                      <a:pt x="248002" y="200646"/>
                    </a:moveTo>
                    <a:lnTo>
                      <a:pt x="152752" y="200646"/>
                    </a:lnTo>
                    <a:lnTo>
                      <a:pt x="152752" y="410196"/>
                    </a:lnTo>
                    <a:lnTo>
                      <a:pt x="171802" y="410196"/>
                    </a:lnTo>
                    <a:lnTo>
                      <a:pt x="171802" y="314946"/>
                    </a:lnTo>
                    <a:lnTo>
                      <a:pt x="248002" y="314946"/>
                    </a:lnTo>
                    <a:lnTo>
                      <a:pt x="250098" y="314946"/>
                    </a:lnTo>
                    <a:cubicBezTo>
                      <a:pt x="280673" y="313803"/>
                      <a:pt x="305152" y="288657"/>
                      <a:pt x="305152" y="257796"/>
                    </a:cubicBezTo>
                    <a:cubicBezTo>
                      <a:pt x="305152" y="226268"/>
                      <a:pt x="279530" y="200646"/>
                      <a:pt x="248002" y="200646"/>
                    </a:cubicBezTo>
                    <a:lnTo>
                      <a:pt x="248002" y="200646"/>
                    </a:lnTo>
                    <a:close/>
                    <a:moveTo>
                      <a:pt x="248002" y="219696"/>
                    </a:moveTo>
                    <a:cubicBezTo>
                      <a:pt x="269052" y="219696"/>
                      <a:pt x="286102" y="236746"/>
                      <a:pt x="286102" y="257796"/>
                    </a:cubicBezTo>
                    <a:cubicBezTo>
                      <a:pt x="286102" y="278846"/>
                      <a:pt x="269052" y="295896"/>
                      <a:pt x="248002" y="295896"/>
                    </a:cubicBezTo>
                    <a:lnTo>
                      <a:pt x="248002" y="295896"/>
                    </a:lnTo>
                    <a:lnTo>
                      <a:pt x="171802" y="295896"/>
                    </a:lnTo>
                    <a:lnTo>
                      <a:pt x="171802" y="219696"/>
                    </a:lnTo>
                    <a:lnTo>
                      <a:pt x="248002" y="219696"/>
                    </a:lnTo>
                    <a:close/>
                    <a:moveTo>
                      <a:pt x="428977" y="133971"/>
                    </a:moveTo>
                    <a:lnTo>
                      <a:pt x="314677" y="133971"/>
                    </a:lnTo>
                    <a:lnTo>
                      <a:pt x="313534" y="133876"/>
                    </a:lnTo>
                    <a:cubicBezTo>
                      <a:pt x="308772" y="133304"/>
                      <a:pt x="305152" y="129304"/>
                      <a:pt x="305152" y="124446"/>
                    </a:cubicBezTo>
                    <a:lnTo>
                      <a:pt x="305152" y="124446"/>
                    </a:lnTo>
                    <a:lnTo>
                      <a:pt x="305152" y="10146"/>
                    </a:lnTo>
                    <a:lnTo>
                      <a:pt x="428977" y="13397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</p:sp>
        </p:grpSp>
        <p:sp>
          <p:nvSpPr>
            <p:cNvPr id="10" name="椭圆 9">
              <a:extLst>
                <a:ext uri="{FF2B5EF4-FFF2-40B4-BE49-F238E27FC236}">
                  <a16:creationId xmlns:a16="http://schemas.microsoft.com/office/drawing/2014/main" id="{31718EF8-3FCC-7D9D-D90A-76EB5E5B27C2}"/>
                </a:ext>
              </a:extLst>
            </p:cNvPr>
            <p:cNvSpPr/>
            <p:nvPr/>
          </p:nvSpPr>
          <p:spPr>
            <a:xfrm>
              <a:off x="1689282" y="3643506"/>
              <a:ext cx="127000" cy="1270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3" name="组合 12">
            <a:extLst>
              <a:ext uri="{FF2B5EF4-FFF2-40B4-BE49-F238E27FC236}">
                <a16:creationId xmlns:a16="http://schemas.microsoft.com/office/drawing/2014/main" id="{54179369-6365-85ED-0648-8C3502E06FC4}"/>
              </a:ext>
            </a:extLst>
          </p:cNvPr>
          <p:cNvGrpSpPr/>
          <p:nvPr/>
        </p:nvGrpSpPr>
        <p:grpSpPr>
          <a:xfrm>
            <a:off x="3793981" y="3653613"/>
            <a:ext cx="540000" cy="992708"/>
            <a:chOff x="3651217" y="3643506"/>
            <a:chExt cx="540000" cy="992708"/>
          </a:xfrm>
        </p:grpSpPr>
        <p:grpSp>
          <p:nvGrpSpPr>
            <p:cNvPr id="14" name="组合 13">
              <a:extLst>
                <a:ext uri="{FF2B5EF4-FFF2-40B4-BE49-F238E27FC236}">
                  <a16:creationId xmlns:a16="http://schemas.microsoft.com/office/drawing/2014/main" id="{A554F785-8717-0727-11C0-DE00709713AC}"/>
                </a:ext>
              </a:extLst>
            </p:cNvPr>
            <p:cNvGrpSpPr>
              <a:grpSpLocks/>
            </p:cNvGrpSpPr>
            <p:nvPr/>
          </p:nvGrpSpPr>
          <p:grpSpPr>
            <a:xfrm>
              <a:off x="3651217" y="4096214"/>
              <a:ext cx="540000" cy="540000"/>
              <a:chOff x="3275695" y="1164217"/>
              <a:chExt cx="454025" cy="454025"/>
            </a:xfrm>
          </p:grpSpPr>
          <p:sp>
            <p:nvSpPr>
              <p:cNvPr id="16" name="椭圆 15">
                <a:extLst>
                  <a:ext uri="{FF2B5EF4-FFF2-40B4-BE49-F238E27FC236}">
                    <a16:creationId xmlns:a16="http://schemas.microsoft.com/office/drawing/2014/main" id="{3F76D52F-F6F4-8610-FAD9-450699D7C85D}"/>
                  </a:ext>
                </a:extLst>
              </p:cNvPr>
              <p:cNvSpPr/>
              <p:nvPr/>
            </p:nvSpPr>
            <p:spPr>
              <a:xfrm>
                <a:off x="3275695" y="1164217"/>
                <a:ext cx="454025" cy="454025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7" name="任意多边形: 形状 16">
                <a:extLst>
                  <a:ext uri="{FF2B5EF4-FFF2-40B4-BE49-F238E27FC236}">
                    <a16:creationId xmlns:a16="http://schemas.microsoft.com/office/drawing/2014/main" id="{F5C23358-2208-9B75-129B-F74A7C51C72B}"/>
                  </a:ext>
                </a:extLst>
              </p:cNvPr>
              <p:cNvSpPr/>
              <p:nvPr/>
            </p:nvSpPr>
            <p:spPr bwMode="auto">
              <a:xfrm>
                <a:off x="3401169" y="1282039"/>
                <a:ext cx="203077" cy="218380"/>
              </a:xfrm>
              <a:custGeom>
                <a:avLst/>
                <a:gdLst>
                  <a:gd name="connsiteX0" fmla="*/ 8774 w 487162"/>
                  <a:gd name="connsiteY0" fmla="*/ 514114 h 523875"/>
                  <a:gd name="connsiteX1" fmla="*/ 8203 w 487162"/>
                  <a:gd name="connsiteY1" fmla="*/ 513447 h 523875"/>
                  <a:gd name="connsiteX2" fmla="*/ 8203 w 487162"/>
                  <a:gd name="connsiteY2" fmla="*/ 513447 h 523875"/>
                  <a:gd name="connsiteX3" fmla="*/ 7727 w 487162"/>
                  <a:gd name="connsiteY3" fmla="*/ 512780 h 523875"/>
                  <a:gd name="connsiteX4" fmla="*/ 5726 w 487162"/>
                  <a:gd name="connsiteY4" fmla="*/ 509732 h 523875"/>
                  <a:gd name="connsiteX5" fmla="*/ 5726 w 487162"/>
                  <a:gd name="connsiteY5" fmla="*/ 509732 h 523875"/>
                  <a:gd name="connsiteX6" fmla="*/ 5250 w 487162"/>
                  <a:gd name="connsiteY6" fmla="*/ 508970 h 523875"/>
                  <a:gd name="connsiteX7" fmla="*/ 4488 w 487162"/>
                  <a:gd name="connsiteY7" fmla="*/ 507446 h 523875"/>
                  <a:gd name="connsiteX8" fmla="*/ 3821 w 487162"/>
                  <a:gd name="connsiteY8" fmla="*/ 505827 h 523875"/>
                  <a:gd name="connsiteX9" fmla="*/ 3726 w 487162"/>
                  <a:gd name="connsiteY9" fmla="*/ 505637 h 523875"/>
                  <a:gd name="connsiteX10" fmla="*/ 3631 w 487162"/>
                  <a:gd name="connsiteY10" fmla="*/ 505351 h 523875"/>
                  <a:gd name="connsiteX11" fmla="*/ 3631 w 487162"/>
                  <a:gd name="connsiteY11" fmla="*/ 505160 h 523875"/>
                  <a:gd name="connsiteX12" fmla="*/ 2964 w 487162"/>
                  <a:gd name="connsiteY12" fmla="*/ 503160 h 523875"/>
                  <a:gd name="connsiteX13" fmla="*/ 2583 w 487162"/>
                  <a:gd name="connsiteY13" fmla="*/ 501826 h 523875"/>
                  <a:gd name="connsiteX14" fmla="*/ 2107 w 487162"/>
                  <a:gd name="connsiteY14" fmla="*/ 499921 h 523875"/>
                  <a:gd name="connsiteX15" fmla="*/ 1250 w 487162"/>
                  <a:gd name="connsiteY15" fmla="*/ 495635 h 523875"/>
                  <a:gd name="connsiteX16" fmla="*/ 964 w 487162"/>
                  <a:gd name="connsiteY16" fmla="*/ 493159 h 523875"/>
                  <a:gd name="connsiteX17" fmla="*/ 773 w 487162"/>
                  <a:gd name="connsiteY17" fmla="*/ 486587 h 523875"/>
                  <a:gd name="connsiteX18" fmla="*/ 5345 w 487162"/>
                  <a:gd name="connsiteY18" fmla="*/ 468298 h 523875"/>
                  <a:gd name="connsiteX19" fmla="*/ 154983 w 487162"/>
                  <a:gd name="connsiteY19" fmla="*/ 151592 h 523875"/>
                  <a:gd name="connsiteX20" fmla="*/ 158603 w 487162"/>
                  <a:gd name="connsiteY20" fmla="*/ 135305 h 523875"/>
                  <a:gd name="connsiteX21" fmla="*/ 158603 w 487162"/>
                  <a:gd name="connsiteY21" fmla="*/ 19671 h 523875"/>
                  <a:gd name="connsiteX22" fmla="*/ 120503 w 487162"/>
                  <a:gd name="connsiteY22" fmla="*/ 19671 h 523875"/>
                  <a:gd name="connsiteX23" fmla="*/ 120503 w 487162"/>
                  <a:gd name="connsiteY23" fmla="*/ 621 h 523875"/>
                  <a:gd name="connsiteX24" fmla="*/ 368153 w 487162"/>
                  <a:gd name="connsiteY24" fmla="*/ 621 h 523875"/>
                  <a:gd name="connsiteX25" fmla="*/ 368153 w 487162"/>
                  <a:gd name="connsiteY25" fmla="*/ 19671 h 523875"/>
                  <a:gd name="connsiteX26" fmla="*/ 330053 w 487162"/>
                  <a:gd name="connsiteY26" fmla="*/ 19671 h 523875"/>
                  <a:gd name="connsiteX27" fmla="*/ 330053 w 487162"/>
                  <a:gd name="connsiteY27" fmla="*/ 135305 h 523875"/>
                  <a:gd name="connsiteX28" fmla="*/ 333672 w 487162"/>
                  <a:gd name="connsiteY28" fmla="*/ 151592 h 523875"/>
                  <a:gd name="connsiteX29" fmla="*/ 483310 w 487162"/>
                  <a:gd name="connsiteY29" fmla="*/ 468298 h 523875"/>
                  <a:gd name="connsiteX30" fmla="*/ 484834 w 487162"/>
                  <a:gd name="connsiteY30" fmla="*/ 505541 h 523875"/>
                  <a:gd name="connsiteX31" fmla="*/ 484739 w 487162"/>
                  <a:gd name="connsiteY31" fmla="*/ 505732 h 523875"/>
                  <a:gd name="connsiteX32" fmla="*/ 484167 w 487162"/>
                  <a:gd name="connsiteY32" fmla="*/ 507160 h 523875"/>
                  <a:gd name="connsiteX33" fmla="*/ 459307 w 487162"/>
                  <a:gd name="connsiteY33" fmla="*/ 524401 h 523875"/>
                  <a:gd name="connsiteX34" fmla="*/ 457497 w 487162"/>
                  <a:gd name="connsiteY34" fmla="*/ 524496 h 523875"/>
                  <a:gd name="connsiteX35" fmla="*/ 31253 w 487162"/>
                  <a:gd name="connsiteY35" fmla="*/ 524496 h 523875"/>
                  <a:gd name="connsiteX36" fmla="*/ 29444 w 487162"/>
                  <a:gd name="connsiteY36" fmla="*/ 524401 h 523875"/>
                  <a:gd name="connsiteX37" fmla="*/ 26967 w 487162"/>
                  <a:gd name="connsiteY37" fmla="*/ 524115 h 523875"/>
                  <a:gd name="connsiteX38" fmla="*/ 23157 w 487162"/>
                  <a:gd name="connsiteY38" fmla="*/ 523258 h 523875"/>
                  <a:gd name="connsiteX39" fmla="*/ 23157 w 487162"/>
                  <a:gd name="connsiteY39" fmla="*/ 523258 h 523875"/>
                  <a:gd name="connsiteX40" fmla="*/ 17633 w 487162"/>
                  <a:gd name="connsiteY40" fmla="*/ 520972 h 523875"/>
                  <a:gd name="connsiteX41" fmla="*/ 16204 w 487162"/>
                  <a:gd name="connsiteY41" fmla="*/ 520210 h 523875"/>
                  <a:gd name="connsiteX42" fmla="*/ 15251 w 487162"/>
                  <a:gd name="connsiteY42" fmla="*/ 519638 h 523875"/>
                  <a:gd name="connsiteX43" fmla="*/ 10298 w 487162"/>
                  <a:gd name="connsiteY43" fmla="*/ 515542 h 523875"/>
                  <a:gd name="connsiteX44" fmla="*/ 8774 w 487162"/>
                  <a:gd name="connsiteY44" fmla="*/ 514114 h 523875"/>
                  <a:gd name="connsiteX45" fmla="*/ 8774 w 487162"/>
                  <a:gd name="connsiteY45" fmla="*/ 514114 h 523875"/>
                  <a:gd name="connsiteX46" fmla="*/ 255377 w 487162"/>
                  <a:gd name="connsiteY46" fmla="*/ 404767 h 523875"/>
                  <a:gd name="connsiteX47" fmla="*/ 252519 w 487162"/>
                  <a:gd name="connsiteY47" fmla="*/ 406576 h 523875"/>
                  <a:gd name="connsiteX48" fmla="*/ 246995 w 487162"/>
                  <a:gd name="connsiteY48" fmla="*/ 410291 h 523875"/>
                  <a:gd name="connsiteX49" fmla="*/ 55161 w 487162"/>
                  <a:gd name="connsiteY49" fmla="*/ 416864 h 523875"/>
                  <a:gd name="connsiteX50" fmla="*/ 51351 w 487162"/>
                  <a:gd name="connsiteY50" fmla="*/ 415339 h 523875"/>
                  <a:gd name="connsiteX51" fmla="*/ 22490 w 487162"/>
                  <a:gd name="connsiteY51" fmla="*/ 476395 h 523875"/>
                  <a:gd name="connsiteX52" fmla="*/ 21633 w 487162"/>
                  <a:gd name="connsiteY52" fmla="*/ 478300 h 523875"/>
                  <a:gd name="connsiteX53" fmla="*/ 21538 w 487162"/>
                  <a:gd name="connsiteY53" fmla="*/ 498778 h 523875"/>
                  <a:gd name="connsiteX54" fmla="*/ 28681 w 487162"/>
                  <a:gd name="connsiteY54" fmla="*/ 505065 h 523875"/>
                  <a:gd name="connsiteX55" fmla="*/ 29920 w 487162"/>
                  <a:gd name="connsiteY55" fmla="*/ 505255 h 523875"/>
                  <a:gd name="connsiteX56" fmla="*/ 31063 w 487162"/>
                  <a:gd name="connsiteY56" fmla="*/ 505351 h 523875"/>
                  <a:gd name="connsiteX57" fmla="*/ 457306 w 487162"/>
                  <a:gd name="connsiteY57" fmla="*/ 505351 h 523875"/>
                  <a:gd name="connsiteX58" fmla="*/ 458450 w 487162"/>
                  <a:gd name="connsiteY58" fmla="*/ 505255 h 523875"/>
                  <a:gd name="connsiteX59" fmla="*/ 466831 w 487162"/>
                  <a:gd name="connsiteY59" fmla="*/ 498683 h 523875"/>
                  <a:gd name="connsiteX60" fmla="*/ 467403 w 487162"/>
                  <a:gd name="connsiteY60" fmla="*/ 480205 h 523875"/>
                  <a:gd name="connsiteX61" fmla="*/ 466736 w 487162"/>
                  <a:gd name="connsiteY61" fmla="*/ 478205 h 523875"/>
                  <a:gd name="connsiteX62" fmla="*/ 465879 w 487162"/>
                  <a:gd name="connsiteY62" fmla="*/ 476300 h 523875"/>
                  <a:gd name="connsiteX63" fmla="*/ 424255 w 487162"/>
                  <a:gd name="connsiteY63" fmla="*/ 388098 h 523875"/>
                  <a:gd name="connsiteX64" fmla="*/ 255377 w 487162"/>
                  <a:gd name="connsiteY64" fmla="*/ 404767 h 523875"/>
                  <a:gd name="connsiteX65" fmla="*/ 306240 w 487162"/>
                  <a:gd name="connsiteY65" fmla="*/ 257796 h 523875"/>
                  <a:gd name="connsiteX66" fmla="*/ 272903 w 487162"/>
                  <a:gd name="connsiteY66" fmla="*/ 291134 h 523875"/>
                  <a:gd name="connsiteX67" fmla="*/ 306240 w 487162"/>
                  <a:gd name="connsiteY67" fmla="*/ 324471 h 523875"/>
                  <a:gd name="connsiteX68" fmla="*/ 339578 w 487162"/>
                  <a:gd name="connsiteY68" fmla="*/ 291134 h 523875"/>
                  <a:gd name="connsiteX69" fmla="*/ 306240 w 487162"/>
                  <a:gd name="connsiteY69" fmla="*/ 257796 h 523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</a:cxnLst>
                <a:rect l="l" t="t" r="r" b="b"/>
                <a:pathLst>
                  <a:path w="487162" h="523875">
                    <a:moveTo>
                      <a:pt x="8774" y="514114"/>
                    </a:moveTo>
                    <a:lnTo>
                      <a:pt x="8203" y="513447"/>
                    </a:lnTo>
                    <a:lnTo>
                      <a:pt x="8203" y="513447"/>
                    </a:lnTo>
                    <a:lnTo>
                      <a:pt x="7727" y="512780"/>
                    </a:lnTo>
                    <a:cubicBezTo>
                      <a:pt x="6964" y="511828"/>
                      <a:pt x="6393" y="510780"/>
                      <a:pt x="5726" y="509732"/>
                    </a:cubicBezTo>
                    <a:lnTo>
                      <a:pt x="5726" y="509732"/>
                    </a:lnTo>
                    <a:lnTo>
                      <a:pt x="5250" y="508970"/>
                    </a:lnTo>
                    <a:lnTo>
                      <a:pt x="4488" y="507446"/>
                    </a:lnTo>
                    <a:lnTo>
                      <a:pt x="3821" y="505827"/>
                    </a:lnTo>
                    <a:lnTo>
                      <a:pt x="3726" y="505637"/>
                    </a:lnTo>
                    <a:lnTo>
                      <a:pt x="3631" y="505351"/>
                    </a:lnTo>
                    <a:lnTo>
                      <a:pt x="3631" y="505160"/>
                    </a:lnTo>
                    <a:lnTo>
                      <a:pt x="2964" y="503160"/>
                    </a:lnTo>
                    <a:cubicBezTo>
                      <a:pt x="2869" y="502684"/>
                      <a:pt x="2678" y="502303"/>
                      <a:pt x="2583" y="501826"/>
                    </a:cubicBezTo>
                    <a:cubicBezTo>
                      <a:pt x="2393" y="501160"/>
                      <a:pt x="2202" y="500588"/>
                      <a:pt x="2107" y="499921"/>
                    </a:cubicBezTo>
                    <a:cubicBezTo>
                      <a:pt x="1726" y="498493"/>
                      <a:pt x="1535" y="497064"/>
                      <a:pt x="1250" y="495635"/>
                    </a:cubicBezTo>
                    <a:lnTo>
                      <a:pt x="964" y="493159"/>
                    </a:lnTo>
                    <a:cubicBezTo>
                      <a:pt x="773" y="490968"/>
                      <a:pt x="678" y="488777"/>
                      <a:pt x="773" y="486587"/>
                    </a:cubicBezTo>
                    <a:cubicBezTo>
                      <a:pt x="1059" y="480300"/>
                      <a:pt x="2583" y="474109"/>
                      <a:pt x="5345" y="468298"/>
                    </a:cubicBezTo>
                    <a:lnTo>
                      <a:pt x="154983" y="151592"/>
                    </a:lnTo>
                    <a:cubicBezTo>
                      <a:pt x="157364" y="146544"/>
                      <a:pt x="158603" y="140924"/>
                      <a:pt x="158603" y="135305"/>
                    </a:cubicBezTo>
                    <a:lnTo>
                      <a:pt x="158603" y="19671"/>
                    </a:lnTo>
                    <a:lnTo>
                      <a:pt x="120503" y="19671"/>
                    </a:lnTo>
                    <a:lnTo>
                      <a:pt x="120503" y="621"/>
                    </a:lnTo>
                    <a:lnTo>
                      <a:pt x="368153" y="621"/>
                    </a:lnTo>
                    <a:lnTo>
                      <a:pt x="368153" y="19671"/>
                    </a:lnTo>
                    <a:lnTo>
                      <a:pt x="330053" y="19671"/>
                    </a:lnTo>
                    <a:lnTo>
                      <a:pt x="330053" y="135305"/>
                    </a:lnTo>
                    <a:cubicBezTo>
                      <a:pt x="330053" y="140924"/>
                      <a:pt x="331291" y="146449"/>
                      <a:pt x="333672" y="151592"/>
                    </a:cubicBezTo>
                    <a:lnTo>
                      <a:pt x="483310" y="468298"/>
                    </a:lnTo>
                    <a:cubicBezTo>
                      <a:pt x="488834" y="480014"/>
                      <a:pt x="489406" y="493444"/>
                      <a:pt x="484834" y="505541"/>
                    </a:cubicBezTo>
                    <a:lnTo>
                      <a:pt x="484739" y="505732"/>
                    </a:lnTo>
                    <a:lnTo>
                      <a:pt x="484167" y="507160"/>
                    </a:lnTo>
                    <a:cubicBezTo>
                      <a:pt x="479690" y="517066"/>
                      <a:pt x="470165" y="523734"/>
                      <a:pt x="459307" y="524401"/>
                    </a:cubicBezTo>
                    <a:lnTo>
                      <a:pt x="457497" y="524496"/>
                    </a:lnTo>
                    <a:lnTo>
                      <a:pt x="31253" y="524496"/>
                    </a:lnTo>
                    <a:lnTo>
                      <a:pt x="29444" y="524401"/>
                    </a:lnTo>
                    <a:cubicBezTo>
                      <a:pt x="28586" y="524305"/>
                      <a:pt x="27824" y="524305"/>
                      <a:pt x="26967" y="524115"/>
                    </a:cubicBezTo>
                    <a:cubicBezTo>
                      <a:pt x="25634" y="523925"/>
                      <a:pt x="24395" y="523639"/>
                      <a:pt x="23157" y="523258"/>
                    </a:cubicBezTo>
                    <a:lnTo>
                      <a:pt x="23157" y="523258"/>
                    </a:lnTo>
                    <a:cubicBezTo>
                      <a:pt x="21252" y="522686"/>
                      <a:pt x="19347" y="521924"/>
                      <a:pt x="17633" y="520972"/>
                    </a:cubicBezTo>
                    <a:lnTo>
                      <a:pt x="16204" y="520210"/>
                    </a:lnTo>
                    <a:cubicBezTo>
                      <a:pt x="15918" y="520020"/>
                      <a:pt x="15632" y="519829"/>
                      <a:pt x="15251" y="519638"/>
                    </a:cubicBezTo>
                    <a:cubicBezTo>
                      <a:pt x="13442" y="518495"/>
                      <a:pt x="11727" y="517066"/>
                      <a:pt x="10298" y="515542"/>
                    </a:cubicBezTo>
                    <a:lnTo>
                      <a:pt x="8774" y="514114"/>
                    </a:lnTo>
                    <a:lnTo>
                      <a:pt x="8774" y="514114"/>
                    </a:lnTo>
                    <a:close/>
                    <a:moveTo>
                      <a:pt x="255377" y="404767"/>
                    </a:moveTo>
                    <a:lnTo>
                      <a:pt x="252519" y="406576"/>
                    </a:lnTo>
                    <a:lnTo>
                      <a:pt x="246995" y="410291"/>
                    </a:lnTo>
                    <a:cubicBezTo>
                      <a:pt x="199751" y="441628"/>
                      <a:pt x="120217" y="442581"/>
                      <a:pt x="55161" y="416864"/>
                    </a:cubicBezTo>
                    <a:lnTo>
                      <a:pt x="51351" y="415339"/>
                    </a:lnTo>
                    <a:lnTo>
                      <a:pt x="22490" y="476395"/>
                    </a:lnTo>
                    <a:lnTo>
                      <a:pt x="21633" y="478300"/>
                    </a:lnTo>
                    <a:cubicBezTo>
                      <a:pt x="19156" y="484872"/>
                      <a:pt x="19061" y="492111"/>
                      <a:pt x="21538" y="498778"/>
                    </a:cubicBezTo>
                    <a:cubicBezTo>
                      <a:pt x="22776" y="502017"/>
                      <a:pt x="25443" y="504303"/>
                      <a:pt x="28681" y="505065"/>
                    </a:cubicBezTo>
                    <a:lnTo>
                      <a:pt x="29920" y="505255"/>
                    </a:lnTo>
                    <a:lnTo>
                      <a:pt x="31063" y="505351"/>
                    </a:lnTo>
                    <a:lnTo>
                      <a:pt x="457306" y="505351"/>
                    </a:lnTo>
                    <a:lnTo>
                      <a:pt x="458450" y="505255"/>
                    </a:lnTo>
                    <a:cubicBezTo>
                      <a:pt x="462260" y="504875"/>
                      <a:pt x="465498" y="502303"/>
                      <a:pt x="466831" y="498683"/>
                    </a:cubicBezTo>
                    <a:cubicBezTo>
                      <a:pt x="469118" y="492778"/>
                      <a:pt x="469308" y="486205"/>
                      <a:pt x="467403" y="480205"/>
                    </a:cubicBezTo>
                    <a:lnTo>
                      <a:pt x="466736" y="478205"/>
                    </a:lnTo>
                    <a:lnTo>
                      <a:pt x="465879" y="476300"/>
                    </a:lnTo>
                    <a:lnTo>
                      <a:pt x="424255" y="388098"/>
                    </a:lnTo>
                    <a:cubicBezTo>
                      <a:pt x="366152" y="373810"/>
                      <a:pt x="296715" y="379335"/>
                      <a:pt x="255377" y="404767"/>
                    </a:cubicBezTo>
                    <a:close/>
                    <a:moveTo>
                      <a:pt x="306240" y="257796"/>
                    </a:moveTo>
                    <a:cubicBezTo>
                      <a:pt x="287857" y="257796"/>
                      <a:pt x="272903" y="272750"/>
                      <a:pt x="272903" y="291134"/>
                    </a:cubicBezTo>
                    <a:cubicBezTo>
                      <a:pt x="272903" y="309517"/>
                      <a:pt x="287857" y="324471"/>
                      <a:pt x="306240" y="324471"/>
                    </a:cubicBezTo>
                    <a:cubicBezTo>
                      <a:pt x="324623" y="324471"/>
                      <a:pt x="339578" y="309517"/>
                      <a:pt x="339578" y="291134"/>
                    </a:cubicBezTo>
                    <a:cubicBezTo>
                      <a:pt x="339578" y="272750"/>
                      <a:pt x="324623" y="257796"/>
                      <a:pt x="306240" y="25779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</p:sp>
        </p:grpSp>
        <p:sp>
          <p:nvSpPr>
            <p:cNvPr id="15" name="椭圆 14">
              <a:extLst>
                <a:ext uri="{FF2B5EF4-FFF2-40B4-BE49-F238E27FC236}">
                  <a16:creationId xmlns:a16="http://schemas.microsoft.com/office/drawing/2014/main" id="{07810588-DE52-2B5E-1FEA-CC058CCD0857}"/>
                </a:ext>
              </a:extLst>
            </p:cNvPr>
            <p:cNvSpPr/>
            <p:nvPr/>
          </p:nvSpPr>
          <p:spPr>
            <a:xfrm>
              <a:off x="3857717" y="3643506"/>
              <a:ext cx="127000" cy="1270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8" name="组合 17">
            <a:extLst>
              <a:ext uri="{FF2B5EF4-FFF2-40B4-BE49-F238E27FC236}">
                <a16:creationId xmlns:a16="http://schemas.microsoft.com/office/drawing/2014/main" id="{5F1CF4F0-5D7C-8790-6A4B-7CC4D1041532}"/>
              </a:ext>
            </a:extLst>
          </p:cNvPr>
          <p:cNvGrpSpPr/>
          <p:nvPr/>
        </p:nvGrpSpPr>
        <p:grpSpPr>
          <a:xfrm>
            <a:off x="5813080" y="3668205"/>
            <a:ext cx="540000" cy="992708"/>
            <a:chOff x="5795928" y="3643506"/>
            <a:chExt cx="540000" cy="992708"/>
          </a:xfrm>
        </p:grpSpPr>
        <p:grpSp>
          <p:nvGrpSpPr>
            <p:cNvPr id="19" name="组合 18">
              <a:extLst>
                <a:ext uri="{FF2B5EF4-FFF2-40B4-BE49-F238E27FC236}">
                  <a16:creationId xmlns:a16="http://schemas.microsoft.com/office/drawing/2014/main" id="{D89F5424-4A61-3D51-8B2D-2513F13EAAAA}"/>
                </a:ext>
              </a:extLst>
            </p:cNvPr>
            <p:cNvGrpSpPr>
              <a:grpSpLocks/>
            </p:cNvGrpSpPr>
            <p:nvPr/>
          </p:nvGrpSpPr>
          <p:grpSpPr>
            <a:xfrm>
              <a:off x="5795928" y="4096214"/>
              <a:ext cx="540000" cy="540000"/>
              <a:chOff x="3854147" y="1148389"/>
              <a:chExt cx="454025" cy="454025"/>
            </a:xfrm>
          </p:grpSpPr>
          <p:sp>
            <p:nvSpPr>
              <p:cNvPr id="21" name="椭圆 20">
                <a:extLst>
                  <a:ext uri="{FF2B5EF4-FFF2-40B4-BE49-F238E27FC236}">
                    <a16:creationId xmlns:a16="http://schemas.microsoft.com/office/drawing/2014/main" id="{85806CD8-ED4F-68B1-40F4-E8693B881BD6}"/>
                  </a:ext>
                </a:extLst>
              </p:cNvPr>
              <p:cNvSpPr/>
              <p:nvPr/>
            </p:nvSpPr>
            <p:spPr>
              <a:xfrm>
                <a:off x="3854147" y="1148389"/>
                <a:ext cx="454025" cy="454025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2" name="任意多边形: 形状 21">
                <a:extLst>
                  <a:ext uri="{FF2B5EF4-FFF2-40B4-BE49-F238E27FC236}">
                    <a16:creationId xmlns:a16="http://schemas.microsoft.com/office/drawing/2014/main" id="{59510B8B-ADE2-A3B6-BC72-5ACC26B9C36C}"/>
                  </a:ext>
                </a:extLst>
              </p:cNvPr>
              <p:cNvSpPr/>
              <p:nvPr/>
            </p:nvSpPr>
            <p:spPr bwMode="auto">
              <a:xfrm>
                <a:off x="3971969" y="1288453"/>
                <a:ext cx="218380" cy="173896"/>
              </a:xfrm>
              <a:custGeom>
                <a:avLst/>
                <a:gdLst>
                  <a:gd name="connsiteX0" fmla="*/ 486767 w 514350"/>
                  <a:gd name="connsiteY0" fmla="*/ 621 h 409575"/>
                  <a:gd name="connsiteX1" fmla="*/ 515342 w 514350"/>
                  <a:gd name="connsiteY1" fmla="*/ 29196 h 409575"/>
                  <a:gd name="connsiteX2" fmla="*/ 515342 w 514350"/>
                  <a:gd name="connsiteY2" fmla="*/ 324471 h 409575"/>
                  <a:gd name="connsiteX3" fmla="*/ 486767 w 514350"/>
                  <a:gd name="connsiteY3" fmla="*/ 353046 h 409575"/>
                  <a:gd name="connsiteX4" fmla="*/ 192159 w 514350"/>
                  <a:gd name="connsiteY4" fmla="*/ 353046 h 409575"/>
                  <a:gd name="connsiteX5" fmla="*/ 115387 w 514350"/>
                  <a:gd name="connsiteY5" fmla="*/ 410196 h 409575"/>
                  <a:gd name="connsiteX6" fmla="*/ 115387 w 514350"/>
                  <a:gd name="connsiteY6" fmla="*/ 353046 h 409575"/>
                  <a:gd name="connsiteX7" fmla="*/ 29567 w 514350"/>
                  <a:gd name="connsiteY7" fmla="*/ 353046 h 409575"/>
                  <a:gd name="connsiteX8" fmla="*/ 992 w 514350"/>
                  <a:gd name="connsiteY8" fmla="*/ 324471 h 409575"/>
                  <a:gd name="connsiteX9" fmla="*/ 992 w 514350"/>
                  <a:gd name="connsiteY9" fmla="*/ 29196 h 409575"/>
                  <a:gd name="connsiteX10" fmla="*/ 29567 w 514350"/>
                  <a:gd name="connsiteY10" fmla="*/ 621 h 409575"/>
                  <a:gd name="connsiteX11" fmla="*/ 486767 w 514350"/>
                  <a:gd name="connsiteY11" fmla="*/ 621 h 409575"/>
                  <a:gd name="connsiteX12" fmla="*/ 124817 w 514350"/>
                  <a:gd name="connsiteY12" fmla="*/ 143496 h 409575"/>
                  <a:gd name="connsiteX13" fmla="*/ 91480 w 514350"/>
                  <a:gd name="connsiteY13" fmla="*/ 176834 h 409575"/>
                  <a:gd name="connsiteX14" fmla="*/ 124817 w 514350"/>
                  <a:gd name="connsiteY14" fmla="*/ 210171 h 409575"/>
                  <a:gd name="connsiteX15" fmla="*/ 158155 w 514350"/>
                  <a:gd name="connsiteY15" fmla="*/ 176834 h 409575"/>
                  <a:gd name="connsiteX16" fmla="*/ 124817 w 514350"/>
                  <a:gd name="connsiteY16" fmla="*/ 143496 h 409575"/>
                  <a:gd name="connsiteX17" fmla="*/ 258167 w 514350"/>
                  <a:gd name="connsiteY17" fmla="*/ 143496 h 409575"/>
                  <a:gd name="connsiteX18" fmla="*/ 224830 w 514350"/>
                  <a:gd name="connsiteY18" fmla="*/ 176834 h 409575"/>
                  <a:gd name="connsiteX19" fmla="*/ 258167 w 514350"/>
                  <a:gd name="connsiteY19" fmla="*/ 210171 h 409575"/>
                  <a:gd name="connsiteX20" fmla="*/ 291505 w 514350"/>
                  <a:gd name="connsiteY20" fmla="*/ 176834 h 409575"/>
                  <a:gd name="connsiteX21" fmla="*/ 258167 w 514350"/>
                  <a:gd name="connsiteY21" fmla="*/ 143496 h 409575"/>
                  <a:gd name="connsiteX22" fmla="*/ 391517 w 514350"/>
                  <a:gd name="connsiteY22" fmla="*/ 143496 h 409575"/>
                  <a:gd name="connsiteX23" fmla="*/ 358180 w 514350"/>
                  <a:gd name="connsiteY23" fmla="*/ 176834 h 409575"/>
                  <a:gd name="connsiteX24" fmla="*/ 391517 w 514350"/>
                  <a:gd name="connsiteY24" fmla="*/ 210171 h 409575"/>
                  <a:gd name="connsiteX25" fmla="*/ 424855 w 514350"/>
                  <a:gd name="connsiteY25" fmla="*/ 176834 h 409575"/>
                  <a:gd name="connsiteX26" fmla="*/ 391517 w 514350"/>
                  <a:gd name="connsiteY26" fmla="*/ 143496 h 409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14350" h="409575">
                    <a:moveTo>
                      <a:pt x="486767" y="621"/>
                    </a:moveTo>
                    <a:cubicBezTo>
                      <a:pt x="502579" y="621"/>
                      <a:pt x="515342" y="13385"/>
                      <a:pt x="515342" y="29196"/>
                    </a:cubicBezTo>
                    <a:lnTo>
                      <a:pt x="515342" y="324471"/>
                    </a:lnTo>
                    <a:cubicBezTo>
                      <a:pt x="515342" y="340282"/>
                      <a:pt x="502579" y="353046"/>
                      <a:pt x="486767" y="353046"/>
                    </a:cubicBezTo>
                    <a:lnTo>
                      <a:pt x="192159" y="353046"/>
                    </a:lnTo>
                    <a:lnTo>
                      <a:pt x="115387" y="410196"/>
                    </a:lnTo>
                    <a:lnTo>
                      <a:pt x="115387" y="353046"/>
                    </a:lnTo>
                    <a:lnTo>
                      <a:pt x="29567" y="353046"/>
                    </a:lnTo>
                    <a:cubicBezTo>
                      <a:pt x="13755" y="353046"/>
                      <a:pt x="992" y="340282"/>
                      <a:pt x="992" y="324471"/>
                    </a:cubicBezTo>
                    <a:lnTo>
                      <a:pt x="992" y="29196"/>
                    </a:lnTo>
                    <a:cubicBezTo>
                      <a:pt x="992" y="13385"/>
                      <a:pt x="13755" y="621"/>
                      <a:pt x="29567" y="621"/>
                    </a:cubicBezTo>
                    <a:lnTo>
                      <a:pt x="486767" y="621"/>
                    </a:lnTo>
                    <a:close/>
                    <a:moveTo>
                      <a:pt x="124817" y="143496"/>
                    </a:moveTo>
                    <a:cubicBezTo>
                      <a:pt x="106434" y="143496"/>
                      <a:pt x="91480" y="158450"/>
                      <a:pt x="91480" y="176834"/>
                    </a:cubicBezTo>
                    <a:cubicBezTo>
                      <a:pt x="91480" y="195217"/>
                      <a:pt x="106434" y="210171"/>
                      <a:pt x="124817" y="210171"/>
                    </a:cubicBezTo>
                    <a:cubicBezTo>
                      <a:pt x="143200" y="210171"/>
                      <a:pt x="158155" y="195217"/>
                      <a:pt x="158155" y="176834"/>
                    </a:cubicBezTo>
                    <a:cubicBezTo>
                      <a:pt x="158155" y="158450"/>
                      <a:pt x="143200" y="143496"/>
                      <a:pt x="124817" y="143496"/>
                    </a:cubicBezTo>
                    <a:close/>
                    <a:moveTo>
                      <a:pt x="258167" y="143496"/>
                    </a:moveTo>
                    <a:cubicBezTo>
                      <a:pt x="239784" y="143496"/>
                      <a:pt x="224830" y="158450"/>
                      <a:pt x="224830" y="176834"/>
                    </a:cubicBezTo>
                    <a:cubicBezTo>
                      <a:pt x="224830" y="195217"/>
                      <a:pt x="239784" y="210171"/>
                      <a:pt x="258167" y="210171"/>
                    </a:cubicBezTo>
                    <a:cubicBezTo>
                      <a:pt x="276550" y="210171"/>
                      <a:pt x="291505" y="195217"/>
                      <a:pt x="291505" y="176834"/>
                    </a:cubicBezTo>
                    <a:cubicBezTo>
                      <a:pt x="291505" y="158450"/>
                      <a:pt x="276550" y="143496"/>
                      <a:pt x="258167" y="143496"/>
                    </a:cubicBezTo>
                    <a:close/>
                    <a:moveTo>
                      <a:pt x="391517" y="143496"/>
                    </a:moveTo>
                    <a:cubicBezTo>
                      <a:pt x="373134" y="143496"/>
                      <a:pt x="358180" y="158450"/>
                      <a:pt x="358180" y="176834"/>
                    </a:cubicBezTo>
                    <a:cubicBezTo>
                      <a:pt x="358180" y="195217"/>
                      <a:pt x="373134" y="210171"/>
                      <a:pt x="391517" y="210171"/>
                    </a:cubicBezTo>
                    <a:cubicBezTo>
                      <a:pt x="409900" y="210171"/>
                      <a:pt x="424855" y="195217"/>
                      <a:pt x="424855" y="176834"/>
                    </a:cubicBezTo>
                    <a:cubicBezTo>
                      <a:pt x="424855" y="158450"/>
                      <a:pt x="409900" y="143496"/>
                      <a:pt x="391517" y="14349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</p:sp>
        </p:grpSp>
        <p:sp>
          <p:nvSpPr>
            <p:cNvPr id="20" name="椭圆 19">
              <a:extLst>
                <a:ext uri="{FF2B5EF4-FFF2-40B4-BE49-F238E27FC236}">
                  <a16:creationId xmlns:a16="http://schemas.microsoft.com/office/drawing/2014/main" id="{6D5ED4D1-31CD-16E4-2A76-F3F96501F178}"/>
                </a:ext>
              </a:extLst>
            </p:cNvPr>
            <p:cNvSpPr/>
            <p:nvPr/>
          </p:nvSpPr>
          <p:spPr>
            <a:xfrm>
              <a:off x="6002428" y="3643506"/>
              <a:ext cx="127000" cy="1270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3" name="组合 22">
            <a:extLst>
              <a:ext uri="{FF2B5EF4-FFF2-40B4-BE49-F238E27FC236}">
                <a16:creationId xmlns:a16="http://schemas.microsoft.com/office/drawing/2014/main" id="{98CC7F29-65C4-56EA-AC67-44B9753FD132}"/>
              </a:ext>
            </a:extLst>
          </p:cNvPr>
          <p:cNvGrpSpPr>
            <a:grpSpLocks/>
          </p:cNvGrpSpPr>
          <p:nvPr/>
        </p:nvGrpSpPr>
        <p:grpSpPr>
          <a:xfrm>
            <a:off x="7832179" y="3675501"/>
            <a:ext cx="540000" cy="992708"/>
            <a:chOff x="7988085" y="3643506"/>
            <a:chExt cx="540000" cy="992708"/>
          </a:xfrm>
        </p:grpSpPr>
        <p:grpSp>
          <p:nvGrpSpPr>
            <p:cNvPr id="24" name="组合 23">
              <a:extLst>
                <a:ext uri="{FF2B5EF4-FFF2-40B4-BE49-F238E27FC236}">
                  <a16:creationId xmlns:a16="http://schemas.microsoft.com/office/drawing/2014/main" id="{48D0E775-48AA-7E08-8646-C1CD3E306252}"/>
                </a:ext>
              </a:extLst>
            </p:cNvPr>
            <p:cNvGrpSpPr>
              <a:grpSpLocks/>
            </p:cNvGrpSpPr>
            <p:nvPr/>
          </p:nvGrpSpPr>
          <p:grpSpPr>
            <a:xfrm>
              <a:off x="7988085" y="4096214"/>
              <a:ext cx="540000" cy="540000"/>
              <a:chOff x="4438007" y="1144791"/>
              <a:chExt cx="454025" cy="454025"/>
            </a:xfrm>
          </p:grpSpPr>
          <p:sp>
            <p:nvSpPr>
              <p:cNvPr id="26" name="椭圆 25">
                <a:extLst>
                  <a:ext uri="{FF2B5EF4-FFF2-40B4-BE49-F238E27FC236}">
                    <a16:creationId xmlns:a16="http://schemas.microsoft.com/office/drawing/2014/main" id="{A0EA0FCC-B45F-7ABF-3273-F12607C0BAEB}"/>
                  </a:ext>
                </a:extLst>
              </p:cNvPr>
              <p:cNvSpPr/>
              <p:nvPr/>
            </p:nvSpPr>
            <p:spPr>
              <a:xfrm>
                <a:off x="4438007" y="1144791"/>
                <a:ext cx="454025" cy="454025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7" name="任意多边形: 形状 26">
                <a:extLst>
                  <a:ext uri="{FF2B5EF4-FFF2-40B4-BE49-F238E27FC236}">
                    <a16:creationId xmlns:a16="http://schemas.microsoft.com/office/drawing/2014/main" id="{B6CA94B1-33DB-102D-EBA2-3871B94A1931}"/>
                  </a:ext>
                </a:extLst>
              </p:cNvPr>
              <p:cNvSpPr/>
              <p:nvPr/>
            </p:nvSpPr>
            <p:spPr bwMode="auto">
              <a:xfrm>
                <a:off x="4555829" y="1289911"/>
                <a:ext cx="218380" cy="163785"/>
              </a:xfrm>
              <a:custGeom>
                <a:avLst/>
                <a:gdLst>
                  <a:gd name="connsiteX0" fmla="*/ 505433 w 533400"/>
                  <a:gd name="connsiteY0" fmla="*/ 621 h 400050"/>
                  <a:gd name="connsiteX1" fmla="*/ 534008 w 533400"/>
                  <a:gd name="connsiteY1" fmla="*/ 29196 h 400050"/>
                  <a:gd name="connsiteX2" fmla="*/ 534008 w 533400"/>
                  <a:gd name="connsiteY2" fmla="*/ 372096 h 400050"/>
                  <a:gd name="connsiteX3" fmla="*/ 505433 w 533400"/>
                  <a:gd name="connsiteY3" fmla="*/ 400671 h 400050"/>
                  <a:gd name="connsiteX4" fmla="*/ 29183 w 533400"/>
                  <a:gd name="connsiteY4" fmla="*/ 400671 h 400050"/>
                  <a:gd name="connsiteX5" fmla="*/ 608 w 533400"/>
                  <a:gd name="connsiteY5" fmla="*/ 372096 h 400050"/>
                  <a:gd name="connsiteX6" fmla="*/ 608 w 533400"/>
                  <a:gd name="connsiteY6" fmla="*/ 29196 h 400050"/>
                  <a:gd name="connsiteX7" fmla="*/ 29183 w 533400"/>
                  <a:gd name="connsiteY7" fmla="*/ 621 h 400050"/>
                  <a:gd name="connsiteX8" fmla="*/ 505433 w 533400"/>
                  <a:gd name="connsiteY8" fmla="*/ 621 h 400050"/>
                  <a:gd name="connsiteX9" fmla="*/ 391419 w 533400"/>
                  <a:gd name="connsiteY9" fmla="*/ 198646 h 400050"/>
                  <a:gd name="connsiteX10" fmla="*/ 351414 w 533400"/>
                  <a:gd name="connsiteY10" fmla="*/ 204170 h 400050"/>
                  <a:gd name="connsiteX11" fmla="*/ 351414 w 533400"/>
                  <a:gd name="connsiteY11" fmla="*/ 204170 h 400050"/>
                  <a:gd name="connsiteX12" fmla="*/ 267118 w 533400"/>
                  <a:gd name="connsiteY12" fmla="*/ 315613 h 400050"/>
                  <a:gd name="connsiteX13" fmla="*/ 264641 w 533400"/>
                  <a:gd name="connsiteY13" fmla="*/ 318470 h 400050"/>
                  <a:gd name="connsiteX14" fmla="*/ 224255 w 533400"/>
                  <a:gd name="connsiteY14" fmla="*/ 318756 h 400050"/>
                  <a:gd name="connsiteX15" fmla="*/ 224255 w 533400"/>
                  <a:gd name="connsiteY15" fmla="*/ 318756 h 400050"/>
                  <a:gd name="connsiteX16" fmla="*/ 162152 w 533400"/>
                  <a:gd name="connsiteY16" fmla="*/ 257415 h 400050"/>
                  <a:gd name="connsiteX17" fmla="*/ 160247 w 533400"/>
                  <a:gd name="connsiteY17" fmla="*/ 255701 h 400050"/>
                  <a:gd name="connsiteX18" fmla="*/ 120052 w 533400"/>
                  <a:gd name="connsiteY18" fmla="*/ 259606 h 400050"/>
                  <a:gd name="connsiteX19" fmla="*/ 120052 w 533400"/>
                  <a:gd name="connsiteY19" fmla="*/ 259606 h 400050"/>
                  <a:gd name="connsiteX20" fmla="*/ 32517 w 533400"/>
                  <a:gd name="connsiteY20" fmla="*/ 366095 h 400050"/>
                  <a:gd name="connsiteX21" fmla="*/ 30326 w 533400"/>
                  <a:gd name="connsiteY21" fmla="*/ 372096 h 400050"/>
                  <a:gd name="connsiteX22" fmla="*/ 39851 w 533400"/>
                  <a:gd name="connsiteY22" fmla="*/ 381621 h 400050"/>
                  <a:gd name="connsiteX23" fmla="*/ 39851 w 533400"/>
                  <a:gd name="connsiteY23" fmla="*/ 381621 h 400050"/>
                  <a:gd name="connsiteX24" fmla="*/ 497242 w 533400"/>
                  <a:gd name="connsiteY24" fmla="*/ 381621 h 400050"/>
                  <a:gd name="connsiteX25" fmla="*/ 502480 w 533400"/>
                  <a:gd name="connsiteY25" fmla="*/ 380002 h 400050"/>
                  <a:gd name="connsiteX26" fmla="*/ 505147 w 533400"/>
                  <a:gd name="connsiteY26" fmla="*/ 366762 h 400050"/>
                  <a:gd name="connsiteX27" fmla="*/ 505147 w 533400"/>
                  <a:gd name="connsiteY27" fmla="*/ 366762 h 400050"/>
                  <a:gd name="connsiteX28" fmla="*/ 397991 w 533400"/>
                  <a:gd name="connsiteY28" fmla="*/ 205504 h 400050"/>
                  <a:gd name="connsiteX29" fmla="*/ 391419 w 533400"/>
                  <a:gd name="connsiteY29" fmla="*/ 198646 h 400050"/>
                  <a:gd name="connsiteX30" fmla="*/ 95858 w 533400"/>
                  <a:gd name="connsiteY30" fmla="*/ 57771 h 400050"/>
                  <a:gd name="connsiteX31" fmla="*/ 57758 w 533400"/>
                  <a:gd name="connsiteY31" fmla="*/ 95871 h 400050"/>
                  <a:gd name="connsiteX32" fmla="*/ 95858 w 533400"/>
                  <a:gd name="connsiteY32" fmla="*/ 133971 h 400050"/>
                  <a:gd name="connsiteX33" fmla="*/ 133958 w 533400"/>
                  <a:gd name="connsiteY33" fmla="*/ 95871 h 400050"/>
                  <a:gd name="connsiteX34" fmla="*/ 95858 w 533400"/>
                  <a:gd name="connsiteY34" fmla="*/ 57771 h 400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533400" h="400050">
                    <a:moveTo>
                      <a:pt x="505433" y="621"/>
                    </a:moveTo>
                    <a:cubicBezTo>
                      <a:pt x="521245" y="621"/>
                      <a:pt x="534008" y="13385"/>
                      <a:pt x="534008" y="29196"/>
                    </a:cubicBezTo>
                    <a:lnTo>
                      <a:pt x="534008" y="372096"/>
                    </a:lnTo>
                    <a:cubicBezTo>
                      <a:pt x="534008" y="387907"/>
                      <a:pt x="521245" y="400671"/>
                      <a:pt x="505433" y="400671"/>
                    </a:cubicBezTo>
                    <a:lnTo>
                      <a:pt x="29183" y="400671"/>
                    </a:lnTo>
                    <a:cubicBezTo>
                      <a:pt x="13371" y="400671"/>
                      <a:pt x="608" y="387907"/>
                      <a:pt x="608" y="372096"/>
                    </a:cubicBezTo>
                    <a:lnTo>
                      <a:pt x="608" y="29196"/>
                    </a:lnTo>
                    <a:cubicBezTo>
                      <a:pt x="608" y="13385"/>
                      <a:pt x="13371" y="621"/>
                      <a:pt x="29183" y="621"/>
                    </a:cubicBezTo>
                    <a:lnTo>
                      <a:pt x="505433" y="621"/>
                    </a:lnTo>
                    <a:close/>
                    <a:moveTo>
                      <a:pt x="391419" y="198646"/>
                    </a:moveTo>
                    <a:cubicBezTo>
                      <a:pt x="378846" y="189121"/>
                      <a:pt x="360939" y="191597"/>
                      <a:pt x="351414" y="204170"/>
                    </a:cubicBezTo>
                    <a:lnTo>
                      <a:pt x="351414" y="204170"/>
                    </a:lnTo>
                    <a:lnTo>
                      <a:pt x="267118" y="315613"/>
                    </a:lnTo>
                    <a:cubicBezTo>
                      <a:pt x="266355" y="316660"/>
                      <a:pt x="265498" y="317518"/>
                      <a:pt x="264641" y="318470"/>
                    </a:cubicBezTo>
                    <a:cubicBezTo>
                      <a:pt x="253592" y="329710"/>
                      <a:pt x="235495" y="329805"/>
                      <a:pt x="224255" y="318756"/>
                    </a:cubicBezTo>
                    <a:lnTo>
                      <a:pt x="224255" y="318756"/>
                    </a:lnTo>
                    <a:lnTo>
                      <a:pt x="162152" y="257415"/>
                    </a:lnTo>
                    <a:cubicBezTo>
                      <a:pt x="161485" y="256844"/>
                      <a:pt x="160914" y="256177"/>
                      <a:pt x="160247" y="255701"/>
                    </a:cubicBezTo>
                    <a:cubicBezTo>
                      <a:pt x="148055" y="245699"/>
                      <a:pt x="130053" y="247414"/>
                      <a:pt x="120052" y="259606"/>
                    </a:cubicBezTo>
                    <a:lnTo>
                      <a:pt x="120052" y="259606"/>
                    </a:lnTo>
                    <a:lnTo>
                      <a:pt x="32517" y="366095"/>
                    </a:lnTo>
                    <a:cubicBezTo>
                      <a:pt x="31088" y="367810"/>
                      <a:pt x="30326" y="369905"/>
                      <a:pt x="30326" y="372096"/>
                    </a:cubicBezTo>
                    <a:cubicBezTo>
                      <a:pt x="30326" y="377335"/>
                      <a:pt x="34612" y="381621"/>
                      <a:pt x="39851" y="381621"/>
                    </a:cubicBezTo>
                    <a:lnTo>
                      <a:pt x="39851" y="381621"/>
                    </a:lnTo>
                    <a:lnTo>
                      <a:pt x="497242" y="381621"/>
                    </a:lnTo>
                    <a:cubicBezTo>
                      <a:pt x="499146" y="381621"/>
                      <a:pt x="500956" y="381050"/>
                      <a:pt x="502480" y="380002"/>
                    </a:cubicBezTo>
                    <a:cubicBezTo>
                      <a:pt x="506862" y="377049"/>
                      <a:pt x="508005" y="371144"/>
                      <a:pt x="505147" y="366762"/>
                    </a:cubicBezTo>
                    <a:lnTo>
                      <a:pt x="505147" y="366762"/>
                    </a:lnTo>
                    <a:lnTo>
                      <a:pt x="397991" y="205504"/>
                    </a:lnTo>
                    <a:cubicBezTo>
                      <a:pt x="396181" y="202932"/>
                      <a:pt x="393990" y="200551"/>
                      <a:pt x="391419" y="198646"/>
                    </a:cubicBezTo>
                    <a:close/>
                    <a:moveTo>
                      <a:pt x="95858" y="57771"/>
                    </a:moveTo>
                    <a:cubicBezTo>
                      <a:pt x="74808" y="57771"/>
                      <a:pt x="57758" y="74821"/>
                      <a:pt x="57758" y="95871"/>
                    </a:cubicBezTo>
                    <a:cubicBezTo>
                      <a:pt x="57758" y="116921"/>
                      <a:pt x="74808" y="133971"/>
                      <a:pt x="95858" y="133971"/>
                    </a:cubicBezTo>
                    <a:cubicBezTo>
                      <a:pt x="116908" y="133971"/>
                      <a:pt x="133958" y="116921"/>
                      <a:pt x="133958" y="95871"/>
                    </a:cubicBezTo>
                    <a:cubicBezTo>
                      <a:pt x="133958" y="74821"/>
                      <a:pt x="116908" y="57771"/>
                      <a:pt x="95858" y="5777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</p:sp>
        </p:grpSp>
        <p:sp>
          <p:nvSpPr>
            <p:cNvPr id="25" name="椭圆 24">
              <a:extLst>
                <a:ext uri="{FF2B5EF4-FFF2-40B4-BE49-F238E27FC236}">
                  <a16:creationId xmlns:a16="http://schemas.microsoft.com/office/drawing/2014/main" id="{05F8B7EF-B329-E234-91FD-D42EACED2A93}"/>
                </a:ext>
              </a:extLst>
            </p:cNvPr>
            <p:cNvSpPr/>
            <p:nvPr/>
          </p:nvSpPr>
          <p:spPr>
            <a:xfrm>
              <a:off x="8194585" y="3643506"/>
              <a:ext cx="127000" cy="1270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28" name="文本框 27">
            <a:extLst>
              <a:ext uri="{FF2B5EF4-FFF2-40B4-BE49-F238E27FC236}">
                <a16:creationId xmlns:a16="http://schemas.microsoft.com/office/drawing/2014/main" id="{18F620AD-C3AC-6998-68ED-05DF11A792D8}"/>
              </a:ext>
            </a:extLst>
          </p:cNvPr>
          <p:cNvSpPr txBox="1"/>
          <p:nvPr/>
        </p:nvSpPr>
        <p:spPr>
          <a:xfrm>
            <a:off x="2108382" y="1656277"/>
            <a:ext cx="7913893" cy="581057"/>
          </a:xfrm>
          <a:prstGeom prst="rect">
            <a:avLst/>
          </a:prstGeom>
          <a:noFill/>
        </p:spPr>
        <p:txBody>
          <a:bodyPr wrap="square" anchor="b">
            <a:noAutofit/>
          </a:bodyPr>
          <a:lstStyle/>
          <a:p>
            <a:pPr algn="ctr"/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掌握这</a:t>
            </a:r>
            <a:r>
              <a:rPr lang="en-US" altLang="zh-CN" sz="3000" b="1" dirty="0">
                <a:solidFill>
                  <a:srgbClr val="F05A2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zh-CN" altLang="en-US" sz="3000" b="1" dirty="0">
                <a:solidFill>
                  <a:srgbClr val="F05A2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种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常用的吸睛标题写法，解决</a:t>
            </a:r>
            <a:r>
              <a:rPr lang="en-US" altLang="zh-CN" sz="3000" b="1" dirty="0">
                <a:solidFill>
                  <a:srgbClr val="F05A2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90%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标题创作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47" name="组合 46"/>
          <p:cNvGrpSpPr/>
          <p:nvPr/>
        </p:nvGrpSpPr>
        <p:grpSpPr>
          <a:xfrm>
            <a:off x="1121478" y="4786188"/>
            <a:ext cx="1908000" cy="1101837"/>
            <a:chOff x="1121478" y="4786188"/>
            <a:chExt cx="1908000" cy="1101837"/>
          </a:xfrm>
        </p:grpSpPr>
        <p:sp>
          <p:nvSpPr>
            <p:cNvPr id="29" name="文本框 28">
              <a:extLst>
                <a:ext uri="{FF2B5EF4-FFF2-40B4-BE49-F238E27FC236}">
                  <a16:creationId xmlns:a16="http://schemas.microsoft.com/office/drawing/2014/main" id="{055B4B6E-C621-B7E8-F785-BC52E948E1C2}"/>
                </a:ext>
              </a:extLst>
            </p:cNvPr>
            <p:cNvSpPr txBox="1">
              <a:spLocks/>
            </p:cNvSpPr>
            <p:nvPr/>
          </p:nvSpPr>
          <p:spPr>
            <a:xfrm>
              <a:off x="1121478" y="4786188"/>
              <a:ext cx="1908000" cy="338554"/>
            </a:xfrm>
            <a:prstGeom prst="rect">
              <a:avLst/>
            </a:prstGeom>
            <a:noFill/>
          </p:spPr>
          <p:txBody>
            <a:bodyPr wrap="square" anchor="b">
              <a:noAutofit/>
            </a:bodyPr>
            <a:lstStyle/>
            <a:p>
              <a:pPr algn="ctr"/>
              <a:r>
                <a:rPr kumimoji="1" lang="zh-CN" altLang="en-US" sz="2000" b="1" dirty="0">
                  <a:solidFill>
                    <a:srgbClr val="F05A23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好处</a:t>
              </a:r>
              <a:r>
                <a:rPr kumimoji="1" lang="en-US" altLang="zh-CN" sz="2000" b="1" dirty="0">
                  <a:solidFill>
                    <a:srgbClr val="F05A23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+</a:t>
              </a:r>
              <a:r>
                <a:rPr kumimoji="1" lang="zh-CN" altLang="en-US" sz="2000" b="1" dirty="0">
                  <a:solidFill>
                    <a:srgbClr val="F05A23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行动指引</a:t>
              </a:r>
              <a:endParaRPr kumimoji="1" lang="en-US" altLang="zh-CN" sz="2000" b="1" dirty="0">
                <a:solidFill>
                  <a:srgbClr val="F05A23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0" name="文本框 29">
              <a:extLst>
                <a:ext uri="{FF2B5EF4-FFF2-40B4-BE49-F238E27FC236}">
                  <a16:creationId xmlns:a16="http://schemas.microsoft.com/office/drawing/2014/main" id="{A12A8A02-866C-DD6B-2777-1DD26DA9A77C}"/>
                </a:ext>
              </a:extLst>
            </p:cNvPr>
            <p:cNvSpPr txBox="1">
              <a:spLocks/>
            </p:cNvSpPr>
            <p:nvPr/>
          </p:nvSpPr>
          <p:spPr>
            <a:xfrm>
              <a:off x="1121478" y="5151220"/>
              <a:ext cx="1908000" cy="736805"/>
            </a:xfrm>
            <a:prstGeom prst="rect">
              <a:avLst/>
            </a:prstGeom>
            <a:noFill/>
          </p:spPr>
          <p:txBody>
            <a:bodyPr wrap="square">
              <a:normAutofit/>
            </a:bodyPr>
            <a:lstStyle/>
            <a:p>
              <a:pPr algn="ctr">
                <a:lnSpc>
                  <a:spcPct val="120000"/>
                </a:lnSpc>
              </a:pPr>
              <a:r>
                <a:rPr kumimoji="1"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“拥有”动机</a:t>
              </a:r>
              <a:endParaRPr kumimoji="1"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6" name="组合 35"/>
          <p:cNvGrpSpPr/>
          <p:nvPr/>
        </p:nvGrpSpPr>
        <p:grpSpPr>
          <a:xfrm>
            <a:off x="3109981" y="4786188"/>
            <a:ext cx="1908000" cy="1101837"/>
            <a:chOff x="3109981" y="4836691"/>
            <a:chExt cx="1908000" cy="1101837"/>
          </a:xfrm>
        </p:grpSpPr>
        <p:sp>
          <p:nvSpPr>
            <p:cNvPr id="31" name="文本框 30">
              <a:extLst>
                <a:ext uri="{FF2B5EF4-FFF2-40B4-BE49-F238E27FC236}">
                  <a16:creationId xmlns:a16="http://schemas.microsoft.com/office/drawing/2014/main" id="{B8D1716C-DECA-86DF-2C1A-842932D3344C}"/>
                </a:ext>
              </a:extLst>
            </p:cNvPr>
            <p:cNvSpPr txBox="1">
              <a:spLocks/>
            </p:cNvSpPr>
            <p:nvPr/>
          </p:nvSpPr>
          <p:spPr>
            <a:xfrm>
              <a:off x="3109981" y="4836691"/>
              <a:ext cx="1908000" cy="338554"/>
            </a:xfrm>
            <a:prstGeom prst="rect">
              <a:avLst/>
            </a:prstGeom>
            <a:noFill/>
          </p:spPr>
          <p:txBody>
            <a:bodyPr wrap="square" anchor="b">
              <a:noAutofit/>
            </a:bodyPr>
            <a:lstStyle/>
            <a:p>
              <a:pPr algn="ctr"/>
              <a:r>
                <a:rPr kumimoji="1" lang="zh-CN" altLang="en-US" sz="2000" b="1" dirty="0">
                  <a:solidFill>
                    <a:srgbClr val="F05A23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问题</a:t>
              </a:r>
              <a:r>
                <a:rPr kumimoji="1" lang="en-US" altLang="zh-CN" sz="2000" b="1" dirty="0">
                  <a:solidFill>
                    <a:srgbClr val="F05A23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+</a:t>
              </a:r>
              <a:r>
                <a:rPr kumimoji="1" lang="zh-CN" altLang="en-US" sz="2000" b="1" dirty="0">
                  <a:solidFill>
                    <a:srgbClr val="F05A23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成就</a:t>
              </a:r>
              <a:endParaRPr kumimoji="1" lang="en-US" altLang="zh-CN" sz="2000" b="1" dirty="0">
                <a:solidFill>
                  <a:srgbClr val="F05A23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2" name="文本框 31">
              <a:extLst>
                <a:ext uri="{FF2B5EF4-FFF2-40B4-BE49-F238E27FC236}">
                  <a16:creationId xmlns:a16="http://schemas.microsoft.com/office/drawing/2014/main" id="{287885CA-F351-EC38-3C0C-480A4B0C6C44}"/>
                </a:ext>
              </a:extLst>
            </p:cNvPr>
            <p:cNvSpPr txBox="1">
              <a:spLocks/>
            </p:cNvSpPr>
            <p:nvPr/>
          </p:nvSpPr>
          <p:spPr>
            <a:xfrm>
              <a:off x="3109981" y="5201723"/>
              <a:ext cx="1908000" cy="736805"/>
            </a:xfrm>
            <a:prstGeom prst="rect">
              <a:avLst/>
            </a:prstGeom>
            <a:noFill/>
          </p:spPr>
          <p:txBody>
            <a:bodyPr wrap="square">
              <a:normAutofit/>
            </a:bodyPr>
            <a:lstStyle/>
            <a:p>
              <a:pPr algn="ctr">
                <a:lnSpc>
                  <a:spcPct val="120000"/>
                </a:lnSpc>
              </a:pPr>
              <a:r>
                <a:rPr kumimoji="1"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“成就”动机</a:t>
              </a:r>
              <a:endParaRPr kumimoji="1"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3" name="组合 32">
            <a:extLst>
              <a:ext uri="{FF2B5EF4-FFF2-40B4-BE49-F238E27FC236}">
                <a16:creationId xmlns:a16="http://schemas.microsoft.com/office/drawing/2014/main" id="{DD11BEF8-5458-60E9-2557-6D8632132CF4}"/>
              </a:ext>
            </a:extLst>
          </p:cNvPr>
          <p:cNvGrpSpPr>
            <a:grpSpLocks/>
          </p:cNvGrpSpPr>
          <p:nvPr/>
        </p:nvGrpSpPr>
        <p:grpSpPr>
          <a:xfrm>
            <a:off x="9851280" y="3682798"/>
            <a:ext cx="540000" cy="992708"/>
            <a:chOff x="7988085" y="3643506"/>
            <a:chExt cx="540000" cy="992708"/>
          </a:xfrm>
        </p:grpSpPr>
        <p:grpSp>
          <p:nvGrpSpPr>
            <p:cNvPr id="34" name="组合 33">
              <a:extLst>
                <a:ext uri="{FF2B5EF4-FFF2-40B4-BE49-F238E27FC236}">
                  <a16:creationId xmlns:a16="http://schemas.microsoft.com/office/drawing/2014/main" id="{32F2B205-75D8-6345-5F03-EA47D32D4547}"/>
                </a:ext>
              </a:extLst>
            </p:cNvPr>
            <p:cNvGrpSpPr>
              <a:grpSpLocks/>
            </p:cNvGrpSpPr>
            <p:nvPr/>
          </p:nvGrpSpPr>
          <p:grpSpPr>
            <a:xfrm>
              <a:off x="7988085" y="4096214"/>
              <a:ext cx="540000" cy="540000"/>
              <a:chOff x="4438007" y="1144791"/>
              <a:chExt cx="454025" cy="454025"/>
            </a:xfrm>
          </p:grpSpPr>
          <p:sp>
            <p:nvSpPr>
              <p:cNvPr id="37" name="椭圆 36">
                <a:extLst>
                  <a:ext uri="{FF2B5EF4-FFF2-40B4-BE49-F238E27FC236}">
                    <a16:creationId xmlns:a16="http://schemas.microsoft.com/office/drawing/2014/main" id="{53AE9198-D9A4-ED6E-439B-16475D76B7D9}"/>
                  </a:ext>
                </a:extLst>
              </p:cNvPr>
              <p:cNvSpPr/>
              <p:nvPr/>
            </p:nvSpPr>
            <p:spPr>
              <a:xfrm>
                <a:off x="4438007" y="1144791"/>
                <a:ext cx="454025" cy="454025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8" name="任意多边形: 形状 37">
                <a:extLst>
                  <a:ext uri="{FF2B5EF4-FFF2-40B4-BE49-F238E27FC236}">
                    <a16:creationId xmlns:a16="http://schemas.microsoft.com/office/drawing/2014/main" id="{B6FDF8D9-AE4B-07D1-01FD-41F56FCD7FD3}"/>
                  </a:ext>
                </a:extLst>
              </p:cNvPr>
              <p:cNvSpPr/>
              <p:nvPr/>
            </p:nvSpPr>
            <p:spPr bwMode="auto">
              <a:xfrm>
                <a:off x="4555829" y="1289911"/>
                <a:ext cx="218380" cy="163785"/>
              </a:xfrm>
              <a:custGeom>
                <a:avLst/>
                <a:gdLst>
                  <a:gd name="connsiteX0" fmla="*/ 505433 w 533400"/>
                  <a:gd name="connsiteY0" fmla="*/ 621 h 400050"/>
                  <a:gd name="connsiteX1" fmla="*/ 534008 w 533400"/>
                  <a:gd name="connsiteY1" fmla="*/ 29196 h 400050"/>
                  <a:gd name="connsiteX2" fmla="*/ 534008 w 533400"/>
                  <a:gd name="connsiteY2" fmla="*/ 372096 h 400050"/>
                  <a:gd name="connsiteX3" fmla="*/ 505433 w 533400"/>
                  <a:gd name="connsiteY3" fmla="*/ 400671 h 400050"/>
                  <a:gd name="connsiteX4" fmla="*/ 29183 w 533400"/>
                  <a:gd name="connsiteY4" fmla="*/ 400671 h 400050"/>
                  <a:gd name="connsiteX5" fmla="*/ 608 w 533400"/>
                  <a:gd name="connsiteY5" fmla="*/ 372096 h 400050"/>
                  <a:gd name="connsiteX6" fmla="*/ 608 w 533400"/>
                  <a:gd name="connsiteY6" fmla="*/ 29196 h 400050"/>
                  <a:gd name="connsiteX7" fmla="*/ 29183 w 533400"/>
                  <a:gd name="connsiteY7" fmla="*/ 621 h 400050"/>
                  <a:gd name="connsiteX8" fmla="*/ 505433 w 533400"/>
                  <a:gd name="connsiteY8" fmla="*/ 621 h 400050"/>
                  <a:gd name="connsiteX9" fmla="*/ 391419 w 533400"/>
                  <a:gd name="connsiteY9" fmla="*/ 198646 h 400050"/>
                  <a:gd name="connsiteX10" fmla="*/ 351414 w 533400"/>
                  <a:gd name="connsiteY10" fmla="*/ 204170 h 400050"/>
                  <a:gd name="connsiteX11" fmla="*/ 351414 w 533400"/>
                  <a:gd name="connsiteY11" fmla="*/ 204170 h 400050"/>
                  <a:gd name="connsiteX12" fmla="*/ 267118 w 533400"/>
                  <a:gd name="connsiteY12" fmla="*/ 315613 h 400050"/>
                  <a:gd name="connsiteX13" fmla="*/ 264641 w 533400"/>
                  <a:gd name="connsiteY13" fmla="*/ 318470 h 400050"/>
                  <a:gd name="connsiteX14" fmla="*/ 224255 w 533400"/>
                  <a:gd name="connsiteY14" fmla="*/ 318756 h 400050"/>
                  <a:gd name="connsiteX15" fmla="*/ 224255 w 533400"/>
                  <a:gd name="connsiteY15" fmla="*/ 318756 h 400050"/>
                  <a:gd name="connsiteX16" fmla="*/ 162152 w 533400"/>
                  <a:gd name="connsiteY16" fmla="*/ 257415 h 400050"/>
                  <a:gd name="connsiteX17" fmla="*/ 160247 w 533400"/>
                  <a:gd name="connsiteY17" fmla="*/ 255701 h 400050"/>
                  <a:gd name="connsiteX18" fmla="*/ 120052 w 533400"/>
                  <a:gd name="connsiteY18" fmla="*/ 259606 h 400050"/>
                  <a:gd name="connsiteX19" fmla="*/ 120052 w 533400"/>
                  <a:gd name="connsiteY19" fmla="*/ 259606 h 400050"/>
                  <a:gd name="connsiteX20" fmla="*/ 32517 w 533400"/>
                  <a:gd name="connsiteY20" fmla="*/ 366095 h 400050"/>
                  <a:gd name="connsiteX21" fmla="*/ 30326 w 533400"/>
                  <a:gd name="connsiteY21" fmla="*/ 372096 h 400050"/>
                  <a:gd name="connsiteX22" fmla="*/ 39851 w 533400"/>
                  <a:gd name="connsiteY22" fmla="*/ 381621 h 400050"/>
                  <a:gd name="connsiteX23" fmla="*/ 39851 w 533400"/>
                  <a:gd name="connsiteY23" fmla="*/ 381621 h 400050"/>
                  <a:gd name="connsiteX24" fmla="*/ 497242 w 533400"/>
                  <a:gd name="connsiteY24" fmla="*/ 381621 h 400050"/>
                  <a:gd name="connsiteX25" fmla="*/ 502480 w 533400"/>
                  <a:gd name="connsiteY25" fmla="*/ 380002 h 400050"/>
                  <a:gd name="connsiteX26" fmla="*/ 505147 w 533400"/>
                  <a:gd name="connsiteY26" fmla="*/ 366762 h 400050"/>
                  <a:gd name="connsiteX27" fmla="*/ 505147 w 533400"/>
                  <a:gd name="connsiteY27" fmla="*/ 366762 h 400050"/>
                  <a:gd name="connsiteX28" fmla="*/ 397991 w 533400"/>
                  <a:gd name="connsiteY28" fmla="*/ 205504 h 400050"/>
                  <a:gd name="connsiteX29" fmla="*/ 391419 w 533400"/>
                  <a:gd name="connsiteY29" fmla="*/ 198646 h 400050"/>
                  <a:gd name="connsiteX30" fmla="*/ 95858 w 533400"/>
                  <a:gd name="connsiteY30" fmla="*/ 57771 h 400050"/>
                  <a:gd name="connsiteX31" fmla="*/ 57758 w 533400"/>
                  <a:gd name="connsiteY31" fmla="*/ 95871 h 400050"/>
                  <a:gd name="connsiteX32" fmla="*/ 95858 w 533400"/>
                  <a:gd name="connsiteY32" fmla="*/ 133971 h 400050"/>
                  <a:gd name="connsiteX33" fmla="*/ 133958 w 533400"/>
                  <a:gd name="connsiteY33" fmla="*/ 95871 h 400050"/>
                  <a:gd name="connsiteX34" fmla="*/ 95858 w 533400"/>
                  <a:gd name="connsiteY34" fmla="*/ 57771 h 400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533400" h="400050">
                    <a:moveTo>
                      <a:pt x="505433" y="621"/>
                    </a:moveTo>
                    <a:cubicBezTo>
                      <a:pt x="521245" y="621"/>
                      <a:pt x="534008" y="13385"/>
                      <a:pt x="534008" y="29196"/>
                    </a:cubicBezTo>
                    <a:lnTo>
                      <a:pt x="534008" y="372096"/>
                    </a:lnTo>
                    <a:cubicBezTo>
                      <a:pt x="534008" y="387907"/>
                      <a:pt x="521245" y="400671"/>
                      <a:pt x="505433" y="400671"/>
                    </a:cubicBezTo>
                    <a:lnTo>
                      <a:pt x="29183" y="400671"/>
                    </a:lnTo>
                    <a:cubicBezTo>
                      <a:pt x="13371" y="400671"/>
                      <a:pt x="608" y="387907"/>
                      <a:pt x="608" y="372096"/>
                    </a:cubicBezTo>
                    <a:lnTo>
                      <a:pt x="608" y="29196"/>
                    </a:lnTo>
                    <a:cubicBezTo>
                      <a:pt x="608" y="13385"/>
                      <a:pt x="13371" y="621"/>
                      <a:pt x="29183" y="621"/>
                    </a:cubicBezTo>
                    <a:lnTo>
                      <a:pt x="505433" y="621"/>
                    </a:lnTo>
                    <a:close/>
                    <a:moveTo>
                      <a:pt x="391419" y="198646"/>
                    </a:moveTo>
                    <a:cubicBezTo>
                      <a:pt x="378846" y="189121"/>
                      <a:pt x="360939" y="191597"/>
                      <a:pt x="351414" y="204170"/>
                    </a:cubicBezTo>
                    <a:lnTo>
                      <a:pt x="351414" y="204170"/>
                    </a:lnTo>
                    <a:lnTo>
                      <a:pt x="267118" y="315613"/>
                    </a:lnTo>
                    <a:cubicBezTo>
                      <a:pt x="266355" y="316660"/>
                      <a:pt x="265498" y="317518"/>
                      <a:pt x="264641" y="318470"/>
                    </a:cubicBezTo>
                    <a:cubicBezTo>
                      <a:pt x="253592" y="329710"/>
                      <a:pt x="235495" y="329805"/>
                      <a:pt x="224255" y="318756"/>
                    </a:cubicBezTo>
                    <a:lnTo>
                      <a:pt x="224255" y="318756"/>
                    </a:lnTo>
                    <a:lnTo>
                      <a:pt x="162152" y="257415"/>
                    </a:lnTo>
                    <a:cubicBezTo>
                      <a:pt x="161485" y="256844"/>
                      <a:pt x="160914" y="256177"/>
                      <a:pt x="160247" y="255701"/>
                    </a:cubicBezTo>
                    <a:cubicBezTo>
                      <a:pt x="148055" y="245699"/>
                      <a:pt x="130053" y="247414"/>
                      <a:pt x="120052" y="259606"/>
                    </a:cubicBezTo>
                    <a:lnTo>
                      <a:pt x="120052" y="259606"/>
                    </a:lnTo>
                    <a:lnTo>
                      <a:pt x="32517" y="366095"/>
                    </a:lnTo>
                    <a:cubicBezTo>
                      <a:pt x="31088" y="367810"/>
                      <a:pt x="30326" y="369905"/>
                      <a:pt x="30326" y="372096"/>
                    </a:cubicBezTo>
                    <a:cubicBezTo>
                      <a:pt x="30326" y="377335"/>
                      <a:pt x="34612" y="381621"/>
                      <a:pt x="39851" y="381621"/>
                    </a:cubicBezTo>
                    <a:lnTo>
                      <a:pt x="39851" y="381621"/>
                    </a:lnTo>
                    <a:lnTo>
                      <a:pt x="497242" y="381621"/>
                    </a:lnTo>
                    <a:cubicBezTo>
                      <a:pt x="499146" y="381621"/>
                      <a:pt x="500956" y="381050"/>
                      <a:pt x="502480" y="380002"/>
                    </a:cubicBezTo>
                    <a:cubicBezTo>
                      <a:pt x="506862" y="377049"/>
                      <a:pt x="508005" y="371144"/>
                      <a:pt x="505147" y="366762"/>
                    </a:cubicBezTo>
                    <a:lnTo>
                      <a:pt x="505147" y="366762"/>
                    </a:lnTo>
                    <a:lnTo>
                      <a:pt x="397991" y="205504"/>
                    </a:lnTo>
                    <a:cubicBezTo>
                      <a:pt x="396181" y="202932"/>
                      <a:pt x="393990" y="200551"/>
                      <a:pt x="391419" y="198646"/>
                    </a:cubicBezTo>
                    <a:close/>
                    <a:moveTo>
                      <a:pt x="95858" y="57771"/>
                    </a:moveTo>
                    <a:cubicBezTo>
                      <a:pt x="74808" y="57771"/>
                      <a:pt x="57758" y="74821"/>
                      <a:pt x="57758" y="95871"/>
                    </a:cubicBezTo>
                    <a:cubicBezTo>
                      <a:pt x="57758" y="116921"/>
                      <a:pt x="74808" y="133971"/>
                      <a:pt x="95858" y="133971"/>
                    </a:cubicBezTo>
                    <a:cubicBezTo>
                      <a:pt x="116908" y="133971"/>
                      <a:pt x="133958" y="116921"/>
                      <a:pt x="133958" y="95871"/>
                    </a:cubicBezTo>
                    <a:cubicBezTo>
                      <a:pt x="133958" y="74821"/>
                      <a:pt x="116908" y="57771"/>
                      <a:pt x="95858" y="5777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</p:sp>
        </p:grpSp>
        <p:sp>
          <p:nvSpPr>
            <p:cNvPr id="35" name="椭圆 34">
              <a:extLst>
                <a:ext uri="{FF2B5EF4-FFF2-40B4-BE49-F238E27FC236}">
                  <a16:creationId xmlns:a16="http://schemas.microsoft.com/office/drawing/2014/main" id="{1BC132BC-63DC-7DF0-A528-53C6780F1F5B}"/>
                </a:ext>
              </a:extLst>
            </p:cNvPr>
            <p:cNvSpPr/>
            <p:nvPr/>
          </p:nvSpPr>
          <p:spPr>
            <a:xfrm>
              <a:off x="8194585" y="3643506"/>
              <a:ext cx="127000" cy="1270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6" name="组合 5"/>
          <p:cNvGrpSpPr/>
          <p:nvPr/>
        </p:nvGrpSpPr>
        <p:grpSpPr>
          <a:xfrm>
            <a:off x="7278045" y="4786188"/>
            <a:ext cx="1908000" cy="1075359"/>
            <a:chOff x="5138775" y="4880978"/>
            <a:chExt cx="1908000" cy="1075359"/>
          </a:xfrm>
        </p:grpSpPr>
        <p:sp>
          <p:nvSpPr>
            <p:cNvPr id="39" name="文本框 38">
              <a:extLst>
                <a:ext uri="{FF2B5EF4-FFF2-40B4-BE49-F238E27FC236}">
                  <a16:creationId xmlns:a16="http://schemas.microsoft.com/office/drawing/2014/main" id="{243538B9-2D71-3122-7BB5-62BDE1655F19}"/>
                </a:ext>
              </a:extLst>
            </p:cNvPr>
            <p:cNvSpPr txBox="1">
              <a:spLocks/>
            </p:cNvSpPr>
            <p:nvPr/>
          </p:nvSpPr>
          <p:spPr>
            <a:xfrm>
              <a:off x="5138775" y="4880978"/>
              <a:ext cx="1901550" cy="338554"/>
            </a:xfrm>
            <a:prstGeom prst="rect">
              <a:avLst/>
            </a:prstGeom>
            <a:noFill/>
          </p:spPr>
          <p:txBody>
            <a:bodyPr wrap="square" anchor="b">
              <a:noAutofit/>
            </a:bodyPr>
            <a:lstStyle/>
            <a:p>
              <a:pPr algn="ctr"/>
              <a:r>
                <a:rPr kumimoji="1" lang="zh-CN" altLang="en-US" sz="2000" b="1" dirty="0">
                  <a:solidFill>
                    <a:srgbClr val="F05A23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颠覆认知</a:t>
              </a:r>
              <a:endParaRPr kumimoji="1" lang="en-US" altLang="zh-CN" sz="2000" b="1" dirty="0">
                <a:solidFill>
                  <a:srgbClr val="F05A23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1" name="文本框 40">
              <a:extLst>
                <a:ext uri="{FF2B5EF4-FFF2-40B4-BE49-F238E27FC236}">
                  <a16:creationId xmlns:a16="http://schemas.microsoft.com/office/drawing/2014/main" id="{CB8F33D0-6847-6829-651C-8F546ACB8773}"/>
                </a:ext>
              </a:extLst>
            </p:cNvPr>
            <p:cNvSpPr txBox="1">
              <a:spLocks/>
            </p:cNvSpPr>
            <p:nvPr/>
          </p:nvSpPr>
          <p:spPr>
            <a:xfrm>
              <a:off x="5145225" y="5219532"/>
              <a:ext cx="1901550" cy="736805"/>
            </a:xfrm>
            <a:prstGeom prst="rect">
              <a:avLst/>
            </a:prstGeom>
            <a:noFill/>
          </p:spPr>
          <p:txBody>
            <a:bodyPr wrap="square">
              <a:normAutofit/>
            </a:bodyPr>
            <a:lstStyle/>
            <a:p>
              <a:pPr algn="ctr">
                <a:lnSpc>
                  <a:spcPct val="120000"/>
                </a:lnSpc>
              </a:pPr>
              <a:r>
                <a:rPr kumimoji="1"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“未知”动机</a:t>
              </a:r>
              <a:endParaRPr kumimoji="1"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9" name="组合 8"/>
          <p:cNvGrpSpPr/>
          <p:nvPr/>
        </p:nvGrpSpPr>
        <p:grpSpPr>
          <a:xfrm>
            <a:off x="5146408" y="4786188"/>
            <a:ext cx="1908000" cy="1101837"/>
            <a:chOff x="7161119" y="4905188"/>
            <a:chExt cx="1908000" cy="1101837"/>
          </a:xfrm>
        </p:grpSpPr>
        <p:sp>
          <p:nvSpPr>
            <p:cNvPr id="42" name="文本框 41">
              <a:extLst>
                <a:ext uri="{FF2B5EF4-FFF2-40B4-BE49-F238E27FC236}">
                  <a16:creationId xmlns:a16="http://schemas.microsoft.com/office/drawing/2014/main" id="{6BD99F06-CC51-CC29-3336-EEF64DC59BBD}"/>
                </a:ext>
              </a:extLst>
            </p:cNvPr>
            <p:cNvSpPr txBox="1">
              <a:spLocks/>
            </p:cNvSpPr>
            <p:nvPr/>
          </p:nvSpPr>
          <p:spPr>
            <a:xfrm>
              <a:off x="7161119" y="4905188"/>
              <a:ext cx="1908000" cy="338554"/>
            </a:xfrm>
            <a:prstGeom prst="rect">
              <a:avLst/>
            </a:prstGeom>
            <a:noFill/>
          </p:spPr>
          <p:txBody>
            <a:bodyPr wrap="square" anchor="b">
              <a:noAutofit/>
            </a:bodyPr>
            <a:lstStyle/>
            <a:p>
              <a:pPr algn="ctr"/>
              <a:r>
                <a:rPr kumimoji="1" lang="zh-CN" altLang="en-US" sz="2000" b="1" dirty="0">
                  <a:solidFill>
                    <a:srgbClr val="F05A23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场景</a:t>
              </a:r>
              <a:r>
                <a:rPr kumimoji="1" lang="en-US" altLang="zh-CN" sz="2000" b="1" dirty="0">
                  <a:solidFill>
                    <a:srgbClr val="F05A23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+</a:t>
              </a:r>
              <a:r>
                <a:rPr kumimoji="1" lang="zh-CN" altLang="en-US" sz="2000" b="1" dirty="0">
                  <a:solidFill>
                    <a:srgbClr val="F05A23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危害</a:t>
              </a:r>
              <a:endParaRPr kumimoji="1" lang="en-US" altLang="zh-CN" sz="2000" b="1" dirty="0">
                <a:solidFill>
                  <a:srgbClr val="F05A23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3" name="文本框 42">
              <a:extLst>
                <a:ext uri="{FF2B5EF4-FFF2-40B4-BE49-F238E27FC236}">
                  <a16:creationId xmlns:a16="http://schemas.microsoft.com/office/drawing/2014/main" id="{B4B6DD75-5CFD-D51E-C1BC-4DC94E014B07}"/>
                </a:ext>
              </a:extLst>
            </p:cNvPr>
            <p:cNvSpPr txBox="1">
              <a:spLocks/>
            </p:cNvSpPr>
            <p:nvPr/>
          </p:nvSpPr>
          <p:spPr>
            <a:xfrm>
              <a:off x="7161119" y="5270220"/>
              <a:ext cx="1908000" cy="736805"/>
            </a:xfrm>
            <a:prstGeom prst="rect">
              <a:avLst/>
            </a:prstGeom>
            <a:noFill/>
          </p:spPr>
          <p:txBody>
            <a:bodyPr wrap="square">
              <a:normAutofit/>
            </a:bodyPr>
            <a:lstStyle/>
            <a:p>
              <a:pPr algn="ctr">
                <a:lnSpc>
                  <a:spcPct val="120000"/>
                </a:lnSpc>
              </a:pPr>
              <a:r>
                <a:rPr kumimoji="1"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“逃避”动机</a:t>
              </a:r>
              <a:endParaRPr kumimoji="1"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46" name="组合 45"/>
          <p:cNvGrpSpPr/>
          <p:nvPr/>
        </p:nvGrpSpPr>
        <p:grpSpPr>
          <a:xfrm>
            <a:off x="9297146" y="4786188"/>
            <a:ext cx="1908000" cy="1101837"/>
            <a:chOff x="9297146" y="4854500"/>
            <a:chExt cx="1908000" cy="1101837"/>
          </a:xfrm>
        </p:grpSpPr>
        <p:sp>
          <p:nvSpPr>
            <p:cNvPr id="44" name="文本框 43">
              <a:extLst>
                <a:ext uri="{FF2B5EF4-FFF2-40B4-BE49-F238E27FC236}">
                  <a16:creationId xmlns:a16="http://schemas.microsoft.com/office/drawing/2014/main" id="{AB5709DC-212D-F7A2-5EA7-C9302C62FE9B}"/>
                </a:ext>
              </a:extLst>
            </p:cNvPr>
            <p:cNvSpPr txBox="1">
              <a:spLocks/>
            </p:cNvSpPr>
            <p:nvPr/>
          </p:nvSpPr>
          <p:spPr>
            <a:xfrm>
              <a:off x="9297146" y="4854500"/>
              <a:ext cx="1908000" cy="338554"/>
            </a:xfrm>
            <a:prstGeom prst="rect">
              <a:avLst/>
            </a:prstGeom>
            <a:noFill/>
          </p:spPr>
          <p:txBody>
            <a:bodyPr wrap="square" anchor="b">
              <a:noAutofit/>
            </a:bodyPr>
            <a:lstStyle/>
            <a:p>
              <a:pPr algn="ctr"/>
              <a:r>
                <a:rPr kumimoji="1" lang="zh-CN" altLang="en-US" sz="2000" b="1" dirty="0">
                  <a:solidFill>
                    <a:srgbClr val="F05A23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把话说一半</a:t>
              </a:r>
              <a:endParaRPr kumimoji="1" lang="en-US" altLang="zh-CN" sz="2000" b="1" dirty="0">
                <a:solidFill>
                  <a:srgbClr val="F05A23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5" name="文本框 44">
              <a:extLst>
                <a:ext uri="{FF2B5EF4-FFF2-40B4-BE49-F238E27FC236}">
                  <a16:creationId xmlns:a16="http://schemas.microsoft.com/office/drawing/2014/main" id="{7E621053-5001-7AF7-002E-DB004E2C2F3A}"/>
                </a:ext>
              </a:extLst>
            </p:cNvPr>
            <p:cNvSpPr txBox="1">
              <a:spLocks/>
            </p:cNvSpPr>
            <p:nvPr/>
          </p:nvSpPr>
          <p:spPr>
            <a:xfrm>
              <a:off x="9297146" y="5219532"/>
              <a:ext cx="1908000" cy="736805"/>
            </a:xfrm>
            <a:prstGeom prst="rect">
              <a:avLst/>
            </a:prstGeom>
            <a:noFill/>
          </p:spPr>
          <p:txBody>
            <a:bodyPr wrap="square">
              <a:normAutofit/>
            </a:bodyPr>
            <a:lstStyle/>
            <a:p>
              <a:pPr algn="ctr">
                <a:lnSpc>
                  <a:spcPct val="120000"/>
                </a:lnSpc>
              </a:pPr>
              <a:r>
                <a:rPr kumimoji="1"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“未知”动机</a:t>
              </a:r>
              <a:endParaRPr kumimoji="1"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0790297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图片 39">
            <a:extLst>
              <a:ext uri="{FF2B5EF4-FFF2-40B4-BE49-F238E27FC236}">
                <a16:creationId xmlns:a16="http://schemas.microsoft.com/office/drawing/2014/main" id="{7CB1490E-39EF-785B-93D8-3B5E023A7BD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9418" y="253211"/>
            <a:ext cx="1837445" cy="501494"/>
          </a:xfrm>
          <a:prstGeom prst="rect">
            <a:avLst/>
          </a:prstGeom>
        </p:spPr>
      </p:pic>
      <p:sp>
        <p:nvSpPr>
          <p:cNvPr id="2" name="PA_文本框 21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>
            <a:extLst>
              <a:ext uri="{FF2B5EF4-FFF2-40B4-BE49-F238E27FC236}">
                <a16:creationId xmlns:a16="http://schemas.microsoft.com/office/drawing/2014/main" id="{EB15CC80-CF2A-2BCF-9F74-8937D327667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80230" y="330214"/>
            <a:ext cx="5152913" cy="46166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zh-CN"/>
            </a:defPPr>
            <a:lvl1pPr marL="12700" marR="0" lvl="0" indent="0" fontAlgn="auto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F05A23"/>
                </a:solidFill>
                <a:effectLst/>
                <a:uLnTx/>
                <a:uFillTx/>
                <a:latin typeface="Arial"/>
                <a:ea typeface="华文楷体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  <a:lvl6pPr>
              <a:defRPr>
                <a:latin typeface="+mn-lt"/>
                <a:ea typeface="+mn-ea"/>
                <a:cs typeface="+mn-cs"/>
              </a:defRPr>
            </a:lvl6pPr>
            <a:lvl7pPr>
              <a:defRPr>
                <a:latin typeface="+mn-lt"/>
                <a:ea typeface="+mn-ea"/>
                <a:cs typeface="+mn-cs"/>
              </a:defRPr>
            </a:lvl7pPr>
            <a:lvl8pPr>
              <a:defRPr>
                <a:latin typeface="+mn-lt"/>
                <a:ea typeface="+mn-ea"/>
                <a:cs typeface="+mn-cs"/>
              </a:defRPr>
            </a:lvl8pPr>
            <a:lvl9pPr>
              <a:defRPr>
                <a:latin typeface="+mn-lt"/>
                <a:ea typeface="+mn-ea"/>
                <a:cs typeface="+mn-cs"/>
              </a:defRPr>
            </a:lvl9pPr>
          </a:lstStyle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</a:t>
            </a:r>
            <a:r>
              <a:rPr lang="en-US" altLang="zh-CN" sz="2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2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步：吸睛标题，吸引注意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2B23F7BC-282A-284C-1BC8-0CF3B481E51A}"/>
              </a:ext>
            </a:extLst>
          </p:cNvPr>
          <p:cNvSpPr txBox="1"/>
          <p:nvPr/>
        </p:nvSpPr>
        <p:spPr>
          <a:xfrm>
            <a:off x="280650" y="358385"/>
            <a:ext cx="6744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.1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18F620AD-C3AC-6998-68ED-05DF11A792D8}"/>
              </a:ext>
            </a:extLst>
          </p:cNvPr>
          <p:cNvSpPr txBox="1"/>
          <p:nvPr/>
        </p:nvSpPr>
        <p:spPr>
          <a:xfrm>
            <a:off x="2108382" y="1656277"/>
            <a:ext cx="8961237" cy="581057"/>
          </a:xfrm>
          <a:prstGeom prst="rect">
            <a:avLst/>
          </a:prstGeom>
          <a:noFill/>
        </p:spPr>
        <p:txBody>
          <a:bodyPr wrap="square" anchor="b">
            <a:noAutofit/>
          </a:bodyPr>
          <a:lstStyle/>
          <a:p>
            <a:pPr algn="ctr"/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写法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直接说出</a:t>
            </a:r>
            <a:r>
              <a:rPr lang="zh-CN" altLang="en-US" sz="3000" b="1" dirty="0">
                <a:solidFill>
                  <a:srgbClr val="F05A2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好处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让用户觉得</a:t>
            </a:r>
            <a:r>
              <a:rPr lang="zh-CN" altLang="en-US" sz="3000" b="1" dirty="0">
                <a:solidFill>
                  <a:srgbClr val="F05A2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拥有就是赚到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了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6" name="文本框 45">
            <a:extLst>
              <a:ext uri="{FF2B5EF4-FFF2-40B4-BE49-F238E27FC236}">
                <a16:creationId xmlns:a16="http://schemas.microsoft.com/office/drawing/2014/main" id="{9AB7351C-862E-B5D7-A7A6-23A9AFB67243}"/>
              </a:ext>
            </a:extLst>
          </p:cNvPr>
          <p:cNvSpPr txBox="1"/>
          <p:nvPr/>
        </p:nvSpPr>
        <p:spPr>
          <a:xfrm>
            <a:off x="2744728" y="2332424"/>
            <a:ext cx="6094206" cy="389350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快来抢9.88元现金红包，限500人领取！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全场零食满199减99，活动仅剩3天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小龙虾最大力度促销，最后6小时！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新媒体小编都收藏了！这100条标题素材够你用一辈子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1.5亿人都在用的空调，半价仅需3998元！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让叶云燕都直夸好用的画报，点击领取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现在拜访，可领1～5元拜访津贴！去拜访&gt;</a:t>
            </a:r>
          </a:p>
        </p:txBody>
      </p:sp>
    </p:spTree>
    <p:extLst>
      <p:ext uri="{BB962C8B-B14F-4D97-AF65-F5344CB8AC3E}">
        <p14:creationId xmlns:p14="http://schemas.microsoft.com/office/powerpoint/2010/main" val="231628537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图片 39">
            <a:extLst>
              <a:ext uri="{FF2B5EF4-FFF2-40B4-BE49-F238E27FC236}">
                <a16:creationId xmlns:a16="http://schemas.microsoft.com/office/drawing/2014/main" id="{7CB1490E-39EF-785B-93D8-3B5E023A7BD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9418" y="253211"/>
            <a:ext cx="1837445" cy="501494"/>
          </a:xfrm>
          <a:prstGeom prst="rect">
            <a:avLst/>
          </a:prstGeom>
        </p:spPr>
      </p:pic>
      <p:sp>
        <p:nvSpPr>
          <p:cNvPr id="2" name="PA_文本框 21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>
            <a:extLst>
              <a:ext uri="{FF2B5EF4-FFF2-40B4-BE49-F238E27FC236}">
                <a16:creationId xmlns:a16="http://schemas.microsoft.com/office/drawing/2014/main" id="{EB15CC80-CF2A-2BCF-9F74-8937D327667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80230" y="330214"/>
            <a:ext cx="5152913" cy="46166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zh-CN"/>
            </a:defPPr>
            <a:lvl1pPr marL="12700" marR="0" lvl="0" indent="0" fontAlgn="auto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F05A23"/>
                </a:solidFill>
                <a:effectLst/>
                <a:uLnTx/>
                <a:uFillTx/>
                <a:latin typeface="Arial"/>
                <a:ea typeface="华文楷体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  <a:lvl6pPr>
              <a:defRPr>
                <a:latin typeface="+mn-lt"/>
                <a:ea typeface="+mn-ea"/>
                <a:cs typeface="+mn-cs"/>
              </a:defRPr>
            </a:lvl6pPr>
            <a:lvl7pPr>
              <a:defRPr>
                <a:latin typeface="+mn-lt"/>
                <a:ea typeface="+mn-ea"/>
                <a:cs typeface="+mn-cs"/>
              </a:defRPr>
            </a:lvl7pPr>
            <a:lvl8pPr>
              <a:defRPr>
                <a:latin typeface="+mn-lt"/>
                <a:ea typeface="+mn-ea"/>
                <a:cs typeface="+mn-cs"/>
              </a:defRPr>
            </a:lvl8pPr>
            <a:lvl9pPr>
              <a:defRPr>
                <a:latin typeface="+mn-lt"/>
                <a:ea typeface="+mn-ea"/>
                <a:cs typeface="+mn-cs"/>
              </a:defRPr>
            </a:lvl9pPr>
          </a:lstStyle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</a:t>
            </a:r>
            <a:r>
              <a:rPr lang="en-US" altLang="zh-CN" sz="2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2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步：吸睛标题，吸引注意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2B23F7BC-282A-284C-1BC8-0CF3B481E51A}"/>
              </a:ext>
            </a:extLst>
          </p:cNvPr>
          <p:cNvSpPr txBox="1"/>
          <p:nvPr/>
        </p:nvSpPr>
        <p:spPr>
          <a:xfrm>
            <a:off x="280650" y="358385"/>
            <a:ext cx="6744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.1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18F620AD-C3AC-6998-68ED-05DF11A792D8}"/>
              </a:ext>
            </a:extLst>
          </p:cNvPr>
          <p:cNvSpPr txBox="1"/>
          <p:nvPr/>
        </p:nvSpPr>
        <p:spPr>
          <a:xfrm>
            <a:off x="1592132" y="1656277"/>
            <a:ext cx="9477487" cy="581057"/>
          </a:xfrm>
          <a:prstGeom prst="rect">
            <a:avLst/>
          </a:prstGeom>
          <a:noFill/>
        </p:spPr>
        <p:txBody>
          <a:bodyPr wrap="square" anchor="b">
            <a:noAutofit/>
          </a:bodyPr>
          <a:lstStyle/>
          <a:p>
            <a:pPr algn="ctr"/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写法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提出</a:t>
            </a:r>
            <a:r>
              <a:rPr lang="zh-CN" altLang="en-US" sz="3000" b="1" dirty="0">
                <a:solidFill>
                  <a:srgbClr val="F05A2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很想解决的问题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让用户</a:t>
            </a:r>
            <a:r>
              <a:rPr lang="zh-CN" altLang="en-US" sz="3000" b="1" dirty="0">
                <a:solidFill>
                  <a:srgbClr val="F05A2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期待获得成就</a:t>
            </a:r>
            <a:endParaRPr lang="en-US" altLang="zh-CN" sz="3000" b="1" dirty="0">
              <a:solidFill>
                <a:srgbClr val="F05A2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6" name="文本框 45">
            <a:extLst>
              <a:ext uri="{FF2B5EF4-FFF2-40B4-BE49-F238E27FC236}">
                <a16:creationId xmlns:a16="http://schemas.microsoft.com/office/drawing/2014/main" id="{9AB7351C-862E-B5D7-A7A6-23A9AFB67243}"/>
              </a:ext>
            </a:extLst>
          </p:cNvPr>
          <p:cNvSpPr txBox="1"/>
          <p:nvPr/>
        </p:nvSpPr>
        <p:spPr>
          <a:xfrm>
            <a:off x="2252793" y="2384970"/>
            <a:ext cx="8615347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怕阅读？你只是没遇上对的书！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当你减肥坚持不下去的时候，就看看这个吧！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工作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10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还不知道怎么赚钱？这本书来帮你！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耳机总是缠在一起，应该怎么办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完居家养老讲不清、客户没感知？那是因为你没用这个工具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客户异地无法面访？用远程拜访呀！</a:t>
            </a:r>
          </a:p>
        </p:txBody>
      </p:sp>
      <p:sp>
        <p:nvSpPr>
          <p:cNvPr id="8" name="爆炸形: 8 pt  7">
            <a:extLst>
              <a:ext uri="{FF2B5EF4-FFF2-40B4-BE49-F238E27FC236}">
                <a16:creationId xmlns:a16="http://schemas.microsoft.com/office/drawing/2014/main" id="{6D0C0F58-73F4-535F-FDCA-9CB56B0E257A}"/>
              </a:ext>
            </a:extLst>
          </p:cNvPr>
          <p:cNvSpPr/>
          <p:nvPr/>
        </p:nvSpPr>
        <p:spPr bwMode="auto">
          <a:xfrm>
            <a:off x="8289326" y="2746674"/>
            <a:ext cx="3090441" cy="2187611"/>
          </a:xfrm>
          <a:prstGeom prst="irregularSeal1">
            <a:avLst/>
          </a:prstGeom>
          <a:solidFill>
            <a:schemeClr val="accent1">
              <a:lumMod val="40000"/>
              <a:lumOff val="6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zh-CN" altLang="en-US" sz="28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场景</a:t>
            </a:r>
            <a:endParaRPr lang="en-US" altLang="zh-CN" sz="28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zh-CN" altLang="en-US" sz="28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具象化</a:t>
            </a:r>
          </a:p>
        </p:txBody>
      </p:sp>
    </p:spTree>
    <p:extLst>
      <p:ext uri="{BB962C8B-B14F-4D97-AF65-F5344CB8AC3E}">
        <p14:creationId xmlns:p14="http://schemas.microsoft.com/office/powerpoint/2010/main" val="397533361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图片 39">
            <a:extLst>
              <a:ext uri="{FF2B5EF4-FFF2-40B4-BE49-F238E27FC236}">
                <a16:creationId xmlns:a16="http://schemas.microsoft.com/office/drawing/2014/main" id="{7CB1490E-39EF-785B-93D8-3B5E023A7BD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9418" y="253211"/>
            <a:ext cx="1837445" cy="501494"/>
          </a:xfrm>
          <a:prstGeom prst="rect">
            <a:avLst/>
          </a:prstGeom>
        </p:spPr>
      </p:pic>
      <p:sp>
        <p:nvSpPr>
          <p:cNvPr id="2" name="PA_文本框 21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>
            <a:extLst>
              <a:ext uri="{FF2B5EF4-FFF2-40B4-BE49-F238E27FC236}">
                <a16:creationId xmlns:a16="http://schemas.microsoft.com/office/drawing/2014/main" id="{EB15CC80-CF2A-2BCF-9F74-8937D327667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80230" y="330214"/>
            <a:ext cx="5152913" cy="46166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zh-CN"/>
            </a:defPPr>
            <a:lvl1pPr marL="12700" marR="0" lvl="0" indent="0" fontAlgn="auto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F05A23"/>
                </a:solidFill>
                <a:effectLst/>
                <a:uLnTx/>
                <a:uFillTx/>
                <a:latin typeface="Arial"/>
                <a:ea typeface="华文楷体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  <a:lvl6pPr>
              <a:defRPr>
                <a:latin typeface="+mn-lt"/>
                <a:ea typeface="+mn-ea"/>
                <a:cs typeface="+mn-cs"/>
              </a:defRPr>
            </a:lvl6pPr>
            <a:lvl7pPr>
              <a:defRPr>
                <a:latin typeface="+mn-lt"/>
                <a:ea typeface="+mn-ea"/>
                <a:cs typeface="+mn-cs"/>
              </a:defRPr>
            </a:lvl7pPr>
            <a:lvl8pPr>
              <a:defRPr>
                <a:latin typeface="+mn-lt"/>
                <a:ea typeface="+mn-ea"/>
                <a:cs typeface="+mn-cs"/>
              </a:defRPr>
            </a:lvl8pPr>
            <a:lvl9pPr>
              <a:defRPr>
                <a:latin typeface="+mn-lt"/>
                <a:ea typeface="+mn-ea"/>
                <a:cs typeface="+mn-cs"/>
              </a:defRPr>
            </a:lvl9pPr>
          </a:lstStyle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</a:t>
            </a:r>
            <a:r>
              <a:rPr lang="en-US" altLang="zh-CN" sz="2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2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步：吸睛标题，吸引注意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2B23F7BC-282A-284C-1BC8-0CF3B481E51A}"/>
              </a:ext>
            </a:extLst>
          </p:cNvPr>
          <p:cNvSpPr txBox="1"/>
          <p:nvPr/>
        </p:nvSpPr>
        <p:spPr>
          <a:xfrm>
            <a:off x="280650" y="358385"/>
            <a:ext cx="6744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.1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18F620AD-C3AC-6998-68ED-05DF11A792D8}"/>
              </a:ext>
            </a:extLst>
          </p:cNvPr>
          <p:cNvSpPr txBox="1"/>
          <p:nvPr/>
        </p:nvSpPr>
        <p:spPr>
          <a:xfrm>
            <a:off x="1592132" y="1656277"/>
            <a:ext cx="9477487" cy="581057"/>
          </a:xfrm>
          <a:prstGeom prst="rect">
            <a:avLst/>
          </a:prstGeom>
          <a:noFill/>
        </p:spPr>
        <p:txBody>
          <a:bodyPr wrap="square" anchor="b">
            <a:noAutofit/>
          </a:bodyPr>
          <a:lstStyle/>
          <a:p>
            <a:pPr algn="ctr"/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写法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提出一个场景说明</a:t>
            </a:r>
            <a:r>
              <a:rPr lang="zh-CN" altLang="en-US" sz="3000" b="1" dirty="0">
                <a:solidFill>
                  <a:srgbClr val="F05A2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危害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让用户寻求</a:t>
            </a:r>
            <a:r>
              <a:rPr lang="zh-CN" altLang="en-US" sz="3000" b="1" dirty="0">
                <a:solidFill>
                  <a:srgbClr val="F05A2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逃避方案</a:t>
            </a:r>
            <a:endParaRPr lang="en-US" altLang="zh-CN" sz="3000" b="1" dirty="0">
              <a:solidFill>
                <a:srgbClr val="F05A2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6" name="文本框 45">
            <a:extLst>
              <a:ext uri="{FF2B5EF4-FFF2-40B4-BE49-F238E27FC236}">
                <a16:creationId xmlns:a16="http://schemas.microsoft.com/office/drawing/2014/main" id="{9AB7351C-862E-B5D7-A7A6-23A9AFB67243}"/>
              </a:ext>
            </a:extLst>
          </p:cNvPr>
          <p:cNvSpPr txBox="1"/>
          <p:nvPr/>
        </p:nvSpPr>
        <p:spPr>
          <a:xfrm>
            <a:off x="2357452" y="2345203"/>
            <a:ext cx="8615347" cy="38867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这件事情不重视，孩子的皮肤和眼睛都毁了！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婴儿床上千万别放这些东西，小心害了孩子！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有种水能致癌，很多人却天天都在喝！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在这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件事上节省，会毁掉你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不懂这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个赚钱思维，你永远都会是穷人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每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人中就有一人患病，很多人却还不重视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没用过这个工具，你已经落后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70%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同事了！</a:t>
            </a:r>
          </a:p>
        </p:txBody>
      </p:sp>
    </p:spTree>
    <p:extLst>
      <p:ext uri="{BB962C8B-B14F-4D97-AF65-F5344CB8AC3E}">
        <p14:creationId xmlns:p14="http://schemas.microsoft.com/office/powerpoint/2010/main" val="27307357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: 圆角 19">
            <a:extLst>
              <a:ext uri="{FF2B5EF4-FFF2-40B4-BE49-F238E27FC236}">
                <a16:creationId xmlns:a16="http://schemas.microsoft.com/office/drawing/2014/main" id="{FBE4801F-3E16-BB30-AF6E-E7E23B5B595D}"/>
              </a:ext>
            </a:extLst>
          </p:cNvPr>
          <p:cNvSpPr>
            <a:spLocks/>
          </p:cNvSpPr>
          <p:nvPr/>
        </p:nvSpPr>
        <p:spPr>
          <a:xfrm>
            <a:off x="6477001" y="2681613"/>
            <a:ext cx="4856461" cy="3707757"/>
          </a:xfrm>
          <a:prstGeom prst="roundRect">
            <a:avLst>
              <a:gd name="adj" fmla="val 10800"/>
            </a:avLst>
          </a:prstGeom>
          <a:gradFill flip="none" rotWithShape="1">
            <a:gsLst>
              <a:gs pos="24000">
                <a:schemeClr val="bg1"/>
              </a:gs>
              <a:gs pos="100000">
                <a:schemeClr val="bg1">
                  <a:alpha val="62000"/>
                </a:schemeClr>
              </a:gs>
            </a:gsLst>
            <a:lin ang="5400000" scaled="1"/>
            <a:tileRect/>
          </a:gradFill>
          <a:ln w="12700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00000">
                  <a:schemeClr val="accent1">
                    <a:alpha val="24000"/>
                  </a:schemeClr>
                </a:gs>
              </a:gsLst>
              <a:lin ang="16200000" scaled="1"/>
              <a:tileRect/>
            </a:gradFill>
          </a:ln>
          <a:effectLst>
            <a:outerShdw blurRad="533400" dist="50800" dir="5400000" algn="ctr" rotWithShape="0">
              <a:schemeClr val="accent1">
                <a:alpha val="15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endParaRPr lang="zh-CN" altLang="en-US"/>
          </a:p>
        </p:txBody>
      </p:sp>
      <p:sp>
        <p:nvSpPr>
          <p:cNvPr id="18" name="矩形: 圆角 17">
            <a:extLst>
              <a:ext uri="{FF2B5EF4-FFF2-40B4-BE49-F238E27FC236}">
                <a16:creationId xmlns:a16="http://schemas.microsoft.com/office/drawing/2014/main" id="{A88AD805-49A9-0763-7E46-7CFC89547DBE}"/>
              </a:ext>
            </a:extLst>
          </p:cNvPr>
          <p:cNvSpPr>
            <a:spLocks/>
          </p:cNvSpPr>
          <p:nvPr/>
        </p:nvSpPr>
        <p:spPr>
          <a:xfrm>
            <a:off x="858538" y="2681613"/>
            <a:ext cx="4856461" cy="3707757"/>
          </a:xfrm>
          <a:prstGeom prst="roundRect">
            <a:avLst>
              <a:gd name="adj" fmla="val 10800"/>
            </a:avLst>
          </a:prstGeom>
          <a:gradFill flip="none" rotWithShape="1">
            <a:gsLst>
              <a:gs pos="24000">
                <a:schemeClr val="bg1"/>
              </a:gs>
              <a:gs pos="100000">
                <a:schemeClr val="bg1">
                  <a:alpha val="62000"/>
                </a:schemeClr>
              </a:gs>
            </a:gsLst>
            <a:lin ang="5400000" scaled="1"/>
            <a:tileRect/>
          </a:gradFill>
          <a:ln w="12700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00000">
                  <a:schemeClr val="accent1">
                    <a:alpha val="24000"/>
                  </a:schemeClr>
                </a:gs>
              </a:gsLst>
              <a:lin ang="16200000" scaled="1"/>
              <a:tileRect/>
            </a:gradFill>
          </a:ln>
          <a:effectLst>
            <a:outerShdw blurRad="533400" dist="50800" dir="5400000" algn="ctr" rotWithShape="0">
              <a:schemeClr val="accent1">
                <a:alpha val="15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endParaRPr lang="zh-CN" altLang="en-US"/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56764DAC-E57A-61E5-8FE6-AAABF0105800}"/>
              </a:ext>
            </a:extLst>
          </p:cNvPr>
          <p:cNvSpPr txBox="1">
            <a:spLocks/>
          </p:cNvSpPr>
          <p:nvPr/>
        </p:nvSpPr>
        <p:spPr bwMode="auto">
          <a:xfrm>
            <a:off x="1275200" y="2370982"/>
            <a:ext cx="4023135" cy="540474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51000">
                <a:schemeClr val="bg1"/>
              </a:gs>
              <a:gs pos="100000">
                <a:schemeClr val="bg1"/>
              </a:gs>
            </a:gsLst>
            <a:lin ang="5400000" scaled="1"/>
            <a:tileRect/>
          </a:gradFill>
          <a:ln w="12700">
            <a:solidFill>
              <a:schemeClr val="accent1"/>
            </a:solidFill>
          </a:ln>
          <a:effectLst>
            <a:outerShdw blurRad="533400" dist="127000" algn="ctr" rotWithShape="0">
              <a:schemeClr val="accent1">
                <a:alpha val="15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05750" algn="ctr"/>
            <a:r>
              <a:rPr lang="zh-CN" altLang="en-US" sz="1800" b="1" u="sng" dirty="0">
                <a:latin typeface="微软雅黑" panose="020B0503020204020204" pitchFamily="34" charset="-122"/>
                <a:ea typeface="微软雅黑" panose="020B0503020204020204" pitchFamily="34" charset="-122"/>
              </a:rPr>
              <a:t>过去： 无奈</a:t>
            </a:r>
          </a:p>
        </p:txBody>
      </p:sp>
      <p:sp>
        <p:nvSpPr>
          <p:cNvPr id="3" name="PA_文本框 21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>
            <a:extLst>
              <a:ext uri="{FF2B5EF4-FFF2-40B4-BE49-F238E27FC236}">
                <a16:creationId xmlns:a16="http://schemas.microsoft.com/office/drawing/2014/main" id="{DF224C04-70B2-1E71-DCBF-FB7FB662837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4126725" y="1293158"/>
            <a:ext cx="3759976" cy="46166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zh-CN"/>
            </a:defPPr>
            <a:lvl1pPr marL="12700" marR="0" lvl="0" indent="0" fontAlgn="auto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F05A23"/>
                </a:solidFill>
                <a:effectLst/>
                <a:uLnTx/>
                <a:uFillTx/>
                <a:latin typeface="Arial"/>
                <a:ea typeface="华文楷体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  <a:lvl6pPr>
              <a:defRPr>
                <a:latin typeface="+mn-lt"/>
                <a:ea typeface="+mn-ea"/>
                <a:cs typeface="+mn-cs"/>
              </a:defRPr>
            </a:lvl6pPr>
            <a:lvl7pPr>
              <a:defRPr>
                <a:latin typeface="+mn-lt"/>
                <a:ea typeface="+mn-ea"/>
                <a:cs typeface="+mn-cs"/>
              </a:defRPr>
            </a:lvl7pPr>
            <a:lvl8pPr>
              <a:defRPr>
                <a:latin typeface="+mn-lt"/>
                <a:ea typeface="+mn-ea"/>
                <a:cs typeface="+mn-cs"/>
              </a:defRPr>
            </a:lvl8pPr>
            <a:lvl9pPr>
              <a:defRPr>
                <a:latin typeface="+mn-lt"/>
                <a:ea typeface="+mn-ea"/>
                <a:cs typeface="+mn-cs"/>
              </a:defRPr>
            </a:lvl9pPr>
          </a:lstStyle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个学</a:t>
            </a:r>
            <a:r>
              <a:rPr lang="zh-CN" altLang="en-US" sz="3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数学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</a:t>
            </a:r>
            <a:r>
              <a:rPr lang="zh-CN" altLang="en-US" sz="3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文案写手</a:t>
            </a:r>
          </a:p>
        </p:txBody>
      </p:sp>
      <p:grpSp>
        <p:nvGrpSpPr>
          <p:cNvPr id="4" name="组合 3">
            <a:extLst>
              <a:ext uri="{FF2B5EF4-FFF2-40B4-BE49-F238E27FC236}">
                <a16:creationId xmlns:a16="http://schemas.microsoft.com/office/drawing/2014/main" id="{E4F2D63B-1BC4-35BA-D107-9E12F4851730}"/>
              </a:ext>
            </a:extLst>
          </p:cNvPr>
          <p:cNvGrpSpPr/>
          <p:nvPr/>
        </p:nvGrpSpPr>
        <p:grpSpPr>
          <a:xfrm>
            <a:off x="2419091" y="2465437"/>
            <a:ext cx="288000" cy="288000"/>
            <a:chOff x="6537326" y="3163888"/>
            <a:chExt cx="177800" cy="176213"/>
          </a:xfrm>
          <a:solidFill>
            <a:srgbClr val="FF8D00"/>
          </a:solidFill>
        </p:grpSpPr>
        <p:sp>
          <p:nvSpPr>
            <p:cNvPr id="5" name="Freeform 201">
              <a:extLst>
                <a:ext uri="{FF2B5EF4-FFF2-40B4-BE49-F238E27FC236}">
                  <a16:creationId xmlns:a16="http://schemas.microsoft.com/office/drawing/2014/main" id="{C7A70CD2-C727-589D-489E-C6CAAE73C4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37326" y="3163888"/>
              <a:ext cx="177800" cy="176213"/>
            </a:xfrm>
            <a:custGeom>
              <a:avLst/>
              <a:gdLst>
                <a:gd name="T0" fmla="*/ 144 w 288"/>
                <a:gd name="T1" fmla="*/ 0 h 288"/>
                <a:gd name="T2" fmla="*/ 0 w 288"/>
                <a:gd name="T3" fmla="*/ 144 h 288"/>
                <a:gd name="T4" fmla="*/ 144 w 288"/>
                <a:gd name="T5" fmla="*/ 288 h 288"/>
                <a:gd name="T6" fmla="*/ 288 w 288"/>
                <a:gd name="T7" fmla="*/ 144 h 288"/>
                <a:gd name="T8" fmla="*/ 144 w 288"/>
                <a:gd name="T9" fmla="*/ 0 h 288"/>
                <a:gd name="T10" fmla="*/ 144 w 288"/>
                <a:gd name="T11" fmla="*/ 252 h 288"/>
                <a:gd name="T12" fmla="*/ 36 w 288"/>
                <a:gd name="T13" fmla="*/ 144 h 288"/>
                <a:gd name="T14" fmla="*/ 144 w 288"/>
                <a:gd name="T15" fmla="*/ 36 h 288"/>
                <a:gd name="T16" fmla="*/ 252 w 288"/>
                <a:gd name="T17" fmla="*/ 144 h 288"/>
                <a:gd name="T18" fmla="*/ 144 w 288"/>
                <a:gd name="T19" fmla="*/ 25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8" h="288">
                  <a:moveTo>
                    <a:pt x="144" y="0"/>
                  </a:moveTo>
                  <a:cubicBezTo>
                    <a:pt x="64" y="0"/>
                    <a:pt x="0" y="65"/>
                    <a:pt x="0" y="144"/>
                  </a:cubicBezTo>
                  <a:cubicBezTo>
                    <a:pt x="0" y="224"/>
                    <a:pt x="64" y="288"/>
                    <a:pt x="144" y="288"/>
                  </a:cubicBezTo>
                  <a:cubicBezTo>
                    <a:pt x="223" y="288"/>
                    <a:pt x="288" y="224"/>
                    <a:pt x="288" y="144"/>
                  </a:cubicBezTo>
                  <a:cubicBezTo>
                    <a:pt x="288" y="65"/>
                    <a:pt x="223" y="0"/>
                    <a:pt x="144" y="0"/>
                  </a:cubicBezTo>
                  <a:close/>
                  <a:moveTo>
                    <a:pt x="144" y="252"/>
                  </a:moveTo>
                  <a:cubicBezTo>
                    <a:pt x="84" y="252"/>
                    <a:pt x="36" y="204"/>
                    <a:pt x="36" y="144"/>
                  </a:cubicBezTo>
                  <a:cubicBezTo>
                    <a:pt x="36" y="85"/>
                    <a:pt x="84" y="36"/>
                    <a:pt x="144" y="36"/>
                  </a:cubicBezTo>
                  <a:cubicBezTo>
                    <a:pt x="203" y="36"/>
                    <a:pt x="252" y="85"/>
                    <a:pt x="252" y="144"/>
                  </a:cubicBezTo>
                  <a:cubicBezTo>
                    <a:pt x="252" y="204"/>
                    <a:pt x="203" y="252"/>
                    <a:pt x="144" y="2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" name="Freeform 202">
              <a:extLst>
                <a:ext uri="{FF2B5EF4-FFF2-40B4-BE49-F238E27FC236}">
                  <a16:creationId xmlns:a16="http://schemas.microsoft.com/office/drawing/2014/main" id="{BF938723-F18E-50D8-F725-1AD0623F098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16701" y="3203576"/>
              <a:ext cx="53975" cy="82550"/>
            </a:xfrm>
            <a:custGeom>
              <a:avLst/>
              <a:gdLst>
                <a:gd name="T0" fmla="*/ 84 w 88"/>
                <a:gd name="T1" fmla="*/ 111 h 135"/>
                <a:gd name="T2" fmla="*/ 27 w 88"/>
                <a:gd name="T3" fmla="*/ 72 h 135"/>
                <a:gd name="T4" fmla="*/ 27 w 88"/>
                <a:gd name="T5" fmla="*/ 6 h 135"/>
                <a:gd name="T6" fmla="*/ 26 w 88"/>
                <a:gd name="T7" fmla="*/ 2 h 135"/>
                <a:gd name="T8" fmla="*/ 21 w 88"/>
                <a:gd name="T9" fmla="*/ 0 h 135"/>
                <a:gd name="T10" fmla="*/ 6 w 88"/>
                <a:gd name="T11" fmla="*/ 0 h 135"/>
                <a:gd name="T12" fmla="*/ 1 w 88"/>
                <a:gd name="T13" fmla="*/ 2 h 135"/>
                <a:gd name="T14" fmla="*/ 0 w 88"/>
                <a:gd name="T15" fmla="*/ 6 h 135"/>
                <a:gd name="T16" fmla="*/ 0 w 88"/>
                <a:gd name="T17" fmla="*/ 84 h 135"/>
                <a:gd name="T18" fmla="*/ 1 w 88"/>
                <a:gd name="T19" fmla="*/ 88 h 135"/>
                <a:gd name="T20" fmla="*/ 3 w 88"/>
                <a:gd name="T21" fmla="*/ 89 h 135"/>
                <a:gd name="T22" fmla="*/ 69 w 88"/>
                <a:gd name="T23" fmla="*/ 134 h 135"/>
                <a:gd name="T24" fmla="*/ 73 w 88"/>
                <a:gd name="T25" fmla="*/ 135 h 135"/>
                <a:gd name="T26" fmla="*/ 74 w 88"/>
                <a:gd name="T27" fmla="*/ 135 h 135"/>
                <a:gd name="T28" fmla="*/ 78 w 88"/>
                <a:gd name="T29" fmla="*/ 132 h 135"/>
                <a:gd name="T30" fmla="*/ 86 w 88"/>
                <a:gd name="T31" fmla="*/ 119 h 135"/>
                <a:gd name="T32" fmla="*/ 84 w 88"/>
                <a:gd name="T33" fmla="*/ 111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8" h="135">
                  <a:moveTo>
                    <a:pt x="84" y="111"/>
                  </a:moveTo>
                  <a:cubicBezTo>
                    <a:pt x="27" y="72"/>
                    <a:pt x="27" y="72"/>
                    <a:pt x="27" y="72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7" y="4"/>
                    <a:pt x="27" y="3"/>
                    <a:pt x="26" y="2"/>
                  </a:cubicBezTo>
                  <a:cubicBezTo>
                    <a:pt x="25" y="1"/>
                    <a:pt x="23" y="0"/>
                    <a:pt x="21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3" y="1"/>
                    <a:pt x="1" y="2"/>
                  </a:cubicBezTo>
                  <a:cubicBezTo>
                    <a:pt x="0" y="3"/>
                    <a:pt x="0" y="4"/>
                    <a:pt x="0" y="6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86"/>
                    <a:pt x="0" y="87"/>
                    <a:pt x="1" y="88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69" y="134"/>
                    <a:pt x="69" y="134"/>
                    <a:pt x="69" y="134"/>
                  </a:cubicBezTo>
                  <a:cubicBezTo>
                    <a:pt x="70" y="135"/>
                    <a:pt x="72" y="135"/>
                    <a:pt x="73" y="135"/>
                  </a:cubicBezTo>
                  <a:cubicBezTo>
                    <a:pt x="73" y="135"/>
                    <a:pt x="74" y="135"/>
                    <a:pt x="74" y="135"/>
                  </a:cubicBezTo>
                  <a:cubicBezTo>
                    <a:pt x="76" y="134"/>
                    <a:pt x="77" y="133"/>
                    <a:pt x="78" y="132"/>
                  </a:cubicBezTo>
                  <a:cubicBezTo>
                    <a:pt x="86" y="119"/>
                    <a:pt x="86" y="119"/>
                    <a:pt x="86" y="119"/>
                  </a:cubicBezTo>
                  <a:cubicBezTo>
                    <a:pt x="88" y="116"/>
                    <a:pt x="87" y="112"/>
                    <a:pt x="84" y="1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8" name="文本框 7">
            <a:extLst>
              <a:ext uri="{FF2B5EF4-FFF2-40B4-BE49-F238E27FC236}">
                <a16:creationId xmlns:a16="http://schemas.microsoft.com/office/drawing/2014/main" id="{5BC3E5AA-A475-3FD2-D542-2E67228C004C}"/>
              </a:ext>
            </a:extLst>
          </p:cNvPr>
          <p:cNvSpPr txBox="1"/>
          <p:nvPr/>
        </p:nvSpPr>
        <p:spPr>
          <a:xfrm>
            <a:off x="1068102" y="2995948"/>
            <a:ext cx="4325831" cy="461665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marL="105750"/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做数据分析，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05750"/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很多发现、很多想法，却看不到转化</a:t>
            </a:r>
            <a:endParaRPr lang="zh-CN" altLang="en-US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A54CC621-E491-A607-EFD9-9EC2C7A2F7F2}"/>
              </a:ext>
            </a:extLst>
          </p:cNvPr>
          <p:cNvSpPr txBox="1"/>
          <p:nvPr/>
        </p:nvSpPr>
        <p:spPr>
          <a:xfrm>
            <a:off x="6703181" y="3047672"/>
            <a:ext cx="4279587" cy="595007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marL="105750"/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做运营转化，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05750"/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感受数字背后带来的成就</a:t>
            </a:r>
            <a:endParaRPr lang="zh-CN" altLang="en-US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TextBox 6">
            <a:extLst>
              <a:ext uri="{FF2B5EF4-FFF2-40B4-BE49-F238E27FC236}">
                <a16:creationId xmlns:a16="http://schemas.microsoft.com/office/drawing/2014/main" id="{6FB4580A-D53D-3D5A-CAAA-C865C073F4FC}"/>
              </a:ext>
            </a:extLst>
          </p:cNvPr>
          <p:cNvSpPr txBox="1"/>
          <p:nvPr/>
        </p:nvSpPr>
        <p:spPr>
          <a:xfrm>
            <a:off x="738520" y="317719"/>
            <a:ext cx="5548168" cy="46166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zh-CN"/>
            </a:defPPr>
            <a:lvl1pPr marL="12700" marR="0" lvl="0" indent="0" fontAlgn="auto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1" i="0" u="none" strike="noStrike" cap="none" spc="0" normalizeH="0" baseline="0">
                <a:ln>
                  <a:noFill/>
                </a:ln>
                <a:solidFill>
                  <a:srgbClr val="F05A23"/>
                </a:solidFill>
                <a:effectLst/>
                <a:uLnTx/>
                <a:uFillTx/>
                <a:latin typeface="Arial"/>
                <a:ea typeface="华文楷体"/>
              </a:defRPr>
            </a:lvl1pPr>
          </a:lstStyle>
          <a:p>
            <a:endParaRPr lang="en-US" sz="2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5" name="图片 14">
            <a:extLst>
              <a:ext uri="{FF2B5EF4-FFF2-40B4-BE49-F238E27FC236}">
                <a16:creationId xmlns:a16="http://schemas.microsoft.com/office/drawing/2014/main" id="{5F602FE5-EC98-ACBB-FDFA-33FADCD82EC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3035" y="299594"/>
            <a:ext cx="1837445" cy="501494"/>
          </a:xfrm>
          <a:prstGeom prst="rect">
            <a:avLst/>
          </a:prstGeom>
        </p:spPr>
      </p:pic>
      <p:sp>
        <p:nvSpPr>
          <p:cNvPr id="16" name="PA_文本框 21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>
            <a:extLst>
              <a:ext uri="{FF2B5EF4-FFF2-40B4-BE49-F238E27FC236}">
                <a16:creationId xmlns:a16="http://schemas.microsoft.com/office/drawing/2014/main" id="{EB15CC80-CF2A-2BCF-9F74-8937D327667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980230" y="330214"/>
            <a:ext cx="5152913" cy="46166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zh-CN"/>
            </a:defPPr>
            <a:lvl1pPr marL="12700" marR="0" lvl="0" indent="0" fontAlgn="auto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F05A23"/>
                </a:solidFill>
                <a:effectLst/>
                <a:uLnTx/>
                <a:uFillTx/>
                <a:latin typeface="Arial"/>
                <a:ea typeface="华文楷体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  <a:lvl6pPr>
              <a:defRPr>
                <a:latin typeface="+mn-lt"/>
                <a:ea typeface="+mn-ea"/>
                <a:cs typeface="+mn-cs"/>
              </a:defRPr>
            </a:lvl6pPr>
            <a:lvl7pPr>
              <a:defRPr>
                <a:latin typeface="+mn-lt"/>
                <a:ea typeface="+mn-ea"/>
                <a:cs typeface="+mn-cs"/>
              </a:defRPr>
            </a:lvl7pPr>
            <a:lvl8pPr>
              <a:defRPr>
                <a:latin typeface="+mn-lt"/>
                <a:ea typeface="+mn-ea"/>
                <a:cs typeface="+mn-cs"/>
              </a:defRPr>
            </a:lvl8pPr>
            <a:lvl9pPr>
              <a:defRPr>
                <a:latin typeface="+mn-lt"/>
                <a:ea typeface="+mn-ea"/>
                <a:cs typeface="+mn-cs"/>
              </a:defRPr>
            </a:lvl9pPr>
          </a:lstStyle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关于我：</a:t>
            </a:r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1F1FE038-9677-9A8E-C0F5-C69029BDA3E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26092" y="3894500"/>
            <a:ext cx="4420375" cy="214053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B499FF19-572D-3C72-E77C-C9473E287C8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61769" y="3801199"/>
            <a:ext cx="3626663" cy="227423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1" name="文本框 20">
            <a:extLst>
              <a:ext uri="{FF2B5EF4-FFF2-40B4-BE49-F238E27FC236}">
                <a16:creationId xmlns:a16="http://schemas.microsoft.com/office/drawing/2014/main" id="{5F5368E9-D0D0-A2D0-3072-85841DEB8693}"/>
              </a:ext>
            </a:extLst>
          </p:cNvPr>
          <p:cNvSpPr txBox="1">
            <a:spLocks/>
          </p:cNvSpPr>
          <p:nvPr/>
        </p:nvSpPr>
        <p:spPr bwMode="auto">
          <a:xfrm>
            <a:off x="6856726" y="2361267"/>
            <a:ext cx="4023135" cy="540474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51000">
                <a:schemeClr val="bg1"/>
              </a:gs>
              <a:gs pos="100000">
                <a:schemeClr val="bg1"/>
              </a:gs>
            </a:gsLst>
            <a:lin ang="5400000" scaled="1"/>
            <a:tileRect/>
          </a:gradFill>
          <a:ln w="12700">
            <a:solidFill>
              <a:schemeClr val="accent1"/>
            </a:solidFill>
          </a:ln>
          <a:effectLst>
            <a:outerShdw blurRad="533400" dist="127000" algn="ctr" rotWithShape="0">
              <a:schemeClr val="accent1">
                <a:alpha val="15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05750" algn="ctr"/>
            <a:r>
              <a:rPr lang="zh-CN" altLang="en-US" sz="1800" b="1" u="sng" dirty="0">
                <a:latin typeface="微软雅黑" panose="020B0503020204020204" pitchFamily="34" charset="-122"/>
                <a:ea typeface="微软雅黑" panose="020B0503020204020204" pitchFamily="34" charset="-122"/>
              </a:rPr>
              <a:t>现在：快感</a:t>
            </a: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EEA2F229-1D8C-825F-5823-2B7A497C1661}"/>
              </a:ext>
            </a:extLst>
          </p:cNvPr>
          <p:cNvSpPr txBox="1"/>
          <p:nvPr/>
        </p:nvSpPr>
        <p:spPr>
          <a:xfrm>
            <a:off x="5743589" y="4304658"/>
            <a:ext cx="602669" cy="461665"/>
          </a:xfrm>
          <a:prstGeom prst="rect">
            <a:avLst/>
          </a:prstGeom>
        </p:spPr>
        <p:txBody>
          <a:bodyPr vert="horz" wrap="square" lIns="90000" tIns="45720" rIns="91440" bIns="45720" rtlCol="0" anchor="ctr" anchorCtr="1">
            <a:spAutoFit/>
          </a:bodyPr>
          <a:lstStyle/>
          <a:p>
            <a:pPr algn="l"/>
            <a:r>
              <a:rPr lang="en-US" altLang="zh-CN" sz="2400" b="1" i="1" dirty="0">
                <a:solidFill>
                  <a:srgbClr val="F05A2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VS</a:t>
            </a:r>
            <a:endParaRPr lang="zh-CN" altLang="en-US" sz="2400" b="1" i="1" dirty="0">
              <a:solidFill>
                <a:srgbClr val="F05A2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6825220E-E726-6889-819F-15CBE0515E19}"/>
              </a:ext>
            </a:extLst>
          </p:cNvPr>
          <p:cNvGrpSpPr/>
          <p:nvPr/>
        </p:nvGrpSpPr>
        <p:grpSpPr>
          <a:xfrm>
            <a:off x="8010934" y="2488321"/>
            <a:ext cx="258763" cy="277813"/>
            <a:chOff x="6245225" y="2174876"/>
            <a:chExt cx="258763" cy="277813"/>
          </a:xfrm>
          <a:solidFill>
            <a:srgbClr val="FF8D00"/>
          </a:solidFill>
        </p:grpSpPr>
        <p:sp>
          <p:nvSpPr>
            <p:cNvPr id="7" name="Freeform 281">
              <a:extLst>
                <a:ext uri="{FF2B5EF4-FFF2-40B4-BE49-F238E27FC236}">
                  <a16:creationId xmlns:a16="http://schemas.microsoft.com/office/drawing/2014/main" id="{603E5310-24CA-ABA2-D1B6-5C55ACEA92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45225" y="2174876"/>
              <a:ext cx="258763" cy="277813"/>
            </a:xfrm>
            <a:custGeom>
              <a:avLst/>
              <a:gdLst>
                <a:gd name="T0" fmla="*/ 237 w 266"/>
                <a:gd name="T1" fmla="*/ 24 h 288"/>
                <a:gd name="T2" fmla="*/ 221 w 266"/>
                <a:gd name="T3" fmla="*/ 24 h 288"/>
                <a:gd name="T4" fmla="*/ 221 w 266"/>
                <a:gd name="T5" fmla="*/ 14 h 288"/>
                <a:gd name="T6" fmla="*/ 207 w 266"/>
                <a:gd name="T7" fmla="*/ 0 h 288"/>
                <a:gd name="T8" fmla="*/ 193 w 266"/>
                <a:gd name="T9" fmla="*/ 14 h 288"/>
                <a:gd name="T10" fmla="*/ 193 w 266"/>
                <a:gd name="T11" fmla="*/ 24 h 288"/>
                <a:gd name="T12" fmla="*/ 146 w 266"/>
                <a:gd name="T13" fmla="*/ 24 h 288"/>
                <a:gd name="T14" fmla="*/ 146 w 266"/>
                <a:gd name="T15" fmla="*/ 14 h 288"/>
                <a:gd name="T16" fmla="*/ 133 w 266"/>
                <a:gd name="T17" fmla="*/ 0 h 288"/>
                <a:gd name="T18" fmla="*/ 119 w 266"/>
                <a:gd name="T19" fmla="*/ 14 h 288"/>
                <a:gd name="T20" fmla="*/ 119 w 266"/>
                <a:gd name="T21" fmla="*/ 24 h 288"/>
                <a:gd name="T22" fmla="*/ 73 w 266"/>
                <a:gd name="T23" fmla="*/ 24 h 288"/>
                <a:gd name="T24" fmla="*/ 73 w 266"/>
                <a:gd name="T25" fmla="*/ 14 h 288"/>
                <a:gd name="T26" fmla="*/ 59 w 266"/>
                <a:gd name="T27" fmla="*/ 0 h 288"/>
                <a:gd name="T28" fmla="*/ 45 w 266"/>
                <a:gd name="T29" fmla="*/ 14 h 288"/>
                <a:gd name="T30" fmla="*/ 45 w 266"/>
                <a:gd name="T31" fmla="*/ 24 h 288"/>
                <a:gd name="T32" fmla="*/ 29 w 266"/>
                <a:gd name="T33" fmla="*/ 24 h 288"/>
                <a:gd name="T34" fmla="*/ 0 w 266"/>
                <a:gd name="T35" fmla="*/ 53 h 288"/>
                <a:gd name="T36" fmla="*/ 0 w 266"/>
                <a:gd name="T37" fmla="*/ 259 h 288"/>
                <a:gd name="T38" fmla="*/ 29 w 266"/>
                <a:gd name="T39" fmla="*/ 288 h 288"/>
                <a:gd name="T40" fmla="*/ 237 w 266"/>
                <a:gd name="T41" fmla="*/ 288 h 288"/>
                <a:gd name="T42" fmla="*/ 266 w 266"/>
                <a:gd name="T43" fmla="*/ 259 h 288"/>
                <a:gd name="T44" fmla="*/ 266 w 266"/>
                <a:gd name="T45" fmla="*/ 53 h 288"/>
                <a:gd name="T46" fmla="*/ 237 w 266"/>
                <a:gd name="T47" fmla="*/ 24 h 288"/>
                <a:gd name="T48" fmla="*/ 237 w 266"/>
                <a:gd name="T49" fmla="*/ 257 h 288"/>
                <a:gd name="T50" fmla="*/ 29 w 266"/>
                <a:gd name="T51" fmla="*/ 257 h 288"/>
                <a:gd name="T52" fmla="*/ 29 w 266"/>
                <a:gd name="T53" fmla="*/ 55 h 288"/>
                <a:gd name="T54" fmla="*/ 45 w 266"/>
                <a:gd name="T55" fmla="*/ 55 h 288"/>
                <a:gd name="T56" fmla="*/ 45 w 266"/>
                <a:gd name="T57" fmla="*/ 65 h 288"/>
                <a:gd name="T58" fmla="*/ 59 w 266"/>
                <a:gd name="T59" fmla="*/ 79 h 288"/>
                <a:gd name="T60" fmla="*/ 73 w 266"/>
                <a:gd name="T61" fmla="*/ 65 h 288"/>
                <a:gd name="T62" fmla="*/ 73 w 266"/>
                <a:gd name="T63" fmla="*/ 55 h 288"/>
                <a:gd name="T64" fmla="*/ 119 w 266"/>
                <a:gd name="T65" fmla="*/ 55 h 288"/>
                <a:gd name="T66" fmla="*/ 119 w 266"/>
                <a:gd name="T67" fmla="*/ 65 h 288"/>
                <a:gd name="T68" fmla="*/ 133 w 266"/>
                <a:gd name="T69" fmla="*/ 79 h 288"/>
                <a:gd name="T70" fmla="*/ 146 w 266"/>
                <a:gd name="T71" fmla="*/ 65 h 288"/>
                <a:gd name="T72" fmla="*/ 146 w 266"/>
                <a:gd name="T73" fmla="*/ 55 h 288"/>
                <a:gd name="T74" fmla="*/ 193 w 266"/>
                <a:gd name="T75" fmla="*/ 55 h 288"/>
                <a:gd name="T76" fmla="*/ 193 w 266"/>
                <a:gd name="T77" fmla="*/ 65 h 288"/>
                <a:gd name="T78" fmla="*/ 207 w 266"/>
                <a:gd name="T79" fmla="*/ 79 h 288"/>
                <a:gd name="T80" fmla="*/ 221 w 266"/>
                <a:gd name="T81" fmla="*/ 65 h 288"/>
                <a:gd name="T82" fmla="*/ 221 w 266"/>
                <a:gd name="T83" fmla="*/ 55 h 288"/>
                <a:gd name="T84" fmla="*/ 237 w 266"/>
                <a:gd name="T85" fmla="*/ 55 h 288"/>
                <a:gd name="T86" fmla="*/ 237 w 266"/>
                <a:gd name="T87" fmla="*/ 257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66" h="288">
                  <a:moveTo>
                    <a:pt x="237" y="24"/>
                  </a:moveTo>
                  <a:cubicBezTo>
                    <a:pt x="221" y="24"/>
                    <a:pt x="221" y="24"/>
                    <a:pt x="221" y="24"/>
                  </a:cubicBezTo>
                  <a:cubicBezTo>
                    <a:pt x="221" y="14"/>
                    <a:pt x="221" y="14"/>
                    <a:pt x="221" y="14"/>
                  </a:cubicBezTo>
                  <a:cubicBezTo>
                    <a:pt x="221" y="6"/>
                    <a:pt x="214" y="0"/>
                    <a:pt x="207" y="0"/>
                  </a:cubicBezTo>
                  <a:cubicBezTo>
                    <a:pt x="199" y="0"/>
                    <a:pt x="193" y="6"/>
                    <a:pt x="193" y="14"/>
                  </a:cubicBezTo>
                  <a:cubicBezTo>
                    <a:pt x="193" y="24"/>
                    <a:pt x="193" y="24"/>
                    <a:pt x="193" y="24"/>
                  </a:cubicBezTo>
                  <a:cubicBezTo>
                    <a:pt x="146" y="24"/>
                    <a:pt x="146" y="24"/>
                    <a:pt x="146" y="24"/>
                  </a:cubicBezTo>
                  <a:cubicBezTo>
                    <a:pt x="146" y="14"/>
                    <a:pt x="146" y="14"/>
                    <a:pt x="146" y="14"/>
                  </a:cubicBezTo>
                  <a:cubicBezTo>
                    <a:pt x="146" y="6"/>
                    <a:pt x="140" y="0"/>
                    <a:pt x="133" y="0"/>
                  </a:cubicBezTo>
                  <a:cubicBezTo>
                    <a:pt x="125" y="0"/>
                    <a:pt x="119" y="6"/>
                    <a:pt x="119" y="14"/>
                  </a:cubicBezTo>
                  <a:cubicBezTo>
                    <a:pt x="119" y="24"/>
                    <a:pt x="119" y="24"/>
                    <a:pt x="119" y="24"/>
                  </a:cubicBezTo>
                  <a:cubicBezTo>
                    <a:pt x="73" y="24"/>
                    <a:pt x="73" y="24"/>
                    <a:pt x="73" y="24"/>
                  </a:cubicBezTo>
                  <a:cubicBezTo>
                    <a:pt x="73" y="14"/>
                    <a:pt x="73" y="14"/>
                    <a:pt x="73" y="14"/>
                  </a:cubicBezTo>
                  <a:cubicBezTo>
                    <a:pt x="73" y="6"/>
                    <a:pt x="66" y="0"/>
                    <a:pt x="59" y="0"/>
                  </a:cubicBezTo>
                  <a:cubicBezTo>
                    <a:pt x="51" y="0"/>
                    <a:pt x="45" y="6"/>
                    <a:pt x="45" y="1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13" y="24"/>
                    <a:pt x="0" y="37"/>
                    <a:pt x="0" y="53"/>
                  </a:cubicBezTo>
                  <a:cubicBezTo>
                    <a:pt x="0" y="259"/>
                    <a:pt x="0" y="259"/>
                    <a:pt x="0" y="259"/>
                  </a:cubicBezTo>
                  <a:cubicBezTo>
                    <a:pt x="0" y="275"/>
                    <a:pt x="13" y="288"/>
                    <a:pt x="29" y="288"/>
                  </a:cubicBezTo>
                  <a:cubicBezTo>
                    <a:pt x="237" y="288"/>
                    <a:pt x="237" y="288"/>
                    <a:pt x="237" y="288"/>
                  </a:cubicBezTo>
                  <a:cubicBezTo>
                    <a:pt x="253" y="288"/>
                    <a:pt x="266" y="275"/>
                    <a:pt x="266" y="259"/>
                  </a:cubicBezTo>
                  <a:cubicBezTo>
                    <a:pt x="266" y="53"/>
                    <a:pt x="266" y="53"/>
                    <a:pt x="266" y="53"/>
                  </a:cubicBezTo>
                  <a:cubicBezTo>
                    <a:pt x="266" y="37"/>
                    <a:pt x="253" y="24"/>
                    <a:pt x="237" y="24"/>
                  </a:cubicBezTo>
                  <a:close/>
                  <a:moveTo>
                    <a:pt x="237" y="257"/>
                  </a:moveTo>
                  <a:cubicBezTo>
                    <a:pt x="29" y="257"/>
                    <a:pt x="29" y="257"/>
                    <a:pt x="29" y="257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45" y="55"/>
                    <a:pt x="45" y="55"/>
                    <a:pt x="45" y="55"/>
                  </a:cubicBezTo>
                  <a:cubicBezTo>
                    <a:pt x="45" y="65"/>
                    <a:pt x="45" y="65"/>
                    <a:pt x="45" y="65"/>
                  </a:cubicBezTo>
                  <a:cubicBezTo>
                    <a:pt x="45" y="73"/>
                    <a:pt x="51" y="79"/>
                    <a:pt x="59" y="79"/>
                  </a:cubicBezTo>
                  <a:cubicBezTo>
                    <a:pt x="66" y="79"/>
                    <a:pt x="73" y="73"/>
                    <a:pt x="73" y="65"/>
                  </a:cubicBezTo>
                  <a:cubicBezTo>
                    <a:pt x="73" y="55"/>
                    <a:pt x="73" y="55"/>
                    <a:pt x="73" y="55"/>
                  </a:cubicBezTo>
                  <a:cubicBezTo>
                    <a:pt x="119" y="55"/>
                    <a:pt x="119" y="55"/>
                    <a:pt x="119" y="55"/>
                  </a:cubicBezTo>
                  <a:cubicBezTo>
                    <a:pt x="119" y="65"/>
                    <a:pt x="119" y="65"/>
                    <a:pt x="119" y="65"/>
                  </a:cubicBezTo>
                  <a:cubicBezTo>
                    <a:pt x="119" y="73"/>
                    <a:pt x="125" y="79"/>
                    <a:pt x="133" y="79"/>
                  </a:cubicBezTo>
                  <a:cubicBezTo>
                    <a:pt x="140" y="79"/>
                    <a:pt x="146" y="73"/>
                    <a:pt x="146" y="65"/>
                  </a:cubicBezTo>
                  <a:cubicBezTo>
                    <a:pt x="146" y="55"/>
                    <a:pt x="146" y="55"/>
                    <a:pt x="146" y="55"/>
                  </a:cubicBezTo>
                  <a:cubicBezTo>
                    <a:pt x="193" y="55"/>
                    <a:pt x="193" y="55"/>
                    <a:pt x="193" y="55"/>
                  </a:cubicBezTo>
                  <a:cubicBezTo>
                    <a:pt x="193" y="65"/>
                    <a:pt x="193" y="65"/>
                    <a:pt x="193" y="65"/>
                  </a:cubicBezTo>
                  <a:cubicBezTo>
                    <a:pt x="193" y="73"/>
                    <a:pt x="199" y="79"/>
                    <a:pt x="207" y="79"/>
                  </a:cubicBezTo>
                  <a:cubicBezTo>
                    <a:pt x="214" y="79"/>
                    <a:pt x="221" y="73"/>
                    <a:pt x="221" y="65"/>
                  </a:cubicBezTo>
                  <a:cubicBezTo>
                    <a:pt x="221" y="55"/>
                    <a:pt x="221" y="55"/>
                    <a:pt x="221" y="55"/>
                  </a:cubicBezTo>
                  <a:cubicBezTo>
                    <a:pt x="237" y="55"/>
                    <a:pt x="237" y="55"/>
                    <a:pt x="237" y="55"/>
                  </a:cubicBezTo>
                  <a:lnTo>
                    <a:pt x="237" y="2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" name="Freeform 282">
              <a:extLst>
                <a:ext uri="{FF2B5EF4-FFF2-40B4-BE49-F238E27FC236}">
                  <a16:creationId xmlns:a16="http://schemas.microsoft.com/office/drawing/2014/main" id="{E3A34480-6E7E-412D-EA52-22BA40BAD6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2375" y="2279651"/>
              <a:ext cx="144463" cy="107950"/>
            </a:xfrm>
            <a:custGeom>
              <a:avLst/>
              <a:gdLst>
                <a:gd name="T0" fmla="*/ 133 w 150"/>
                <a:gd name="T1" fmla="*/ 3 h 111"/>
                <a:gd name="T2" fmla="*/ 124 w 150"/>
                <a:gd name="T3" fmla="*/ 3 h 111"/>
                <a:gd name="T4" fmla="*/ 58 w 150"/>
                <a:gd name="T5" fmla="*/ 69 h 111"/>
                <a:gd name="T6" fmla="*/ 50 w 150"/>
                <a:gd name="T7" fmla="*/ 69 h 111"/>
                <a:gd name="T8" fmla="*/ 25 w 150"/>
                <a:gd name="T9" fmla="*/ 45 h 111"/>
                <a:gd name="T10" fmla="*/ 17 w 150"/>
                <a:gd name="T11" fmla="*/ 45 h 111"/>
                <a:gd name="T12" fmla="*/ 2 w 150"/>
                <a:gd name="T13" fmla="*/ 60 h 111"/>
                <a:gd name="T14" fmla="*/ 2 w 150"/>
                <a:gd name="T15" fmla="*/ 68 h 111"/>
                <a:gd name="T16" fmla="*/ 40 w 150"/>
                <a:gd name="T17" fmla="*/ 106 h 111"/>
                <a:gd name="T18" fmla="*/ 50 w 150"/>
                <a:gd name="T19" fmla="*/ 111 h 111"/>
                <a:gd name="T20" fmla="*/ 57 w 150"/>
                <a:gd name="T21" fmla="*/ 111 h 111"/>
                <a:gd name="T22" fmla="*/ 67 w 150"/>
                <a:gd name="T23" fmla="*/ 106 h 111"/>
                <a:gd name="T24" fmla="*/ 148 w 150"/>
                <a:gd name="T25" fmla="*/ 26 h 111"/>
                <a:gd name="T26" fmla="*/ 148 w 150"/>
                <a:gd name="T27" fmla="*/ 17 h 111"/>
                <a:gd name="T28" fmla="*/ 133 w 150"/>
                <a:gd name="T29" fmla="*/ 3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0" h="111">
                  <a:moveTo>
                    <a:pt x="133" y="3"/>
                  </a:moveTo>
                  <a:cubicBezTo>
                    <a:pt x="131" y="0"/>
                    <a:pt x="127" y="0"/>
                    <a:pt x="124" y="3"/>
                  </a:cubicBezTo>
                  <a:cubicBezTo>
                    <a:pt x="58" y="69"/>
                    <a:pt x="58" y="69"/>
                    <a:pt x="58" y="69"/>
                  </a:cubicBezTo>
                  <a:cubicBezTo>
                    <a:pt x="56" y="71"/>
                    <a:pt x="52" y="71"/>
                    <a:pt x="50" y="69"/>
                  </a:cubicBezTo>
                  <a:cubicBezTo>
                    <a:pt x="25" y="45"/>
                    <a:pt x="25" y="45"/>
                    <a:pt x="25" y="45"/>
                  </a:cubicBezTo>
                  <a:cubicBezTo>
                    <a:pt x="23" y="43"/>
                    <a:pt x="19" y="43"/>
                    <a:pt x="17" y="45"/>
                  </a:cubicBezTo>
                  <a:cubicBezTo>
                    <a:pt x="2" y="60"/>
                    <a:pt x="2" y="60"/>
                    <a:pt x="2" y="60"/>
                  </a:cubicBezTo>
                  <a:cubicBezTo>
                    <a:pt x="0" y="62"/>
                    <a:pt x="0" y="66"/>
                    <a:pt x="2" y="68"/>
                  </a:cubicBezTo>
                  <a:cubicBezTo>
                    <a:pt x="40" y="106"/>
                    <a:pt x="40" y="106"/>
                    <a:pt x="40" y="106"/>
                  </a:cubicBezTo>
                  <a:cubicBezTo>
                    <a:pt x="42" y="109"/>
                    <a:pt x="47" y="111"/>
                    <a:pt x="50" y="111"/>
                  </a:cubicBezTo>
                  <a:cubicBezTo>
                    <a:pt x="57" y="111"/>
                    <a:pt x="57" y="111"/>
                    <a:pt x="57" y="111"/>
                  </a:cubicBezTo>
                  <a:cubicBezTo>
                    <a:pt x="60" y="111"/>
                    <a:pt x="65" y="109"/>
                    <a:pt x="67" y="106"/>
                  </a:cubicBezTo>
                  <a:cubicBezTo>
                    <a:pt x="148" y="26"/>
                    <a:pt x="148" y="26"/>
                    <a:pt x="148" y="26"/>
                  </a:cubicBezTo>
                  <a:cubicBezTo>
                    <a:pt x="150" y="23"/>
                    <a:pt x="150" y="20"/>
                    <a:pt x="148" y="17"/>
                  </a:cubicBezTo>
                  <a:lnTo>
                    <a:pt x="133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312640544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图片 39">
            <a:extLst>
              <a:ext uri="{FF2B5EF4-FFF2-40B4-BE49-F238E27FC236}">
                <a16:creationId xmlns:a16="http://schemas.microsoft.com/office/drawing/2014/main" id="{7CB1490E-39EF-785B-93D8-3B5E023A7BD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9418" y="253211"/>
            <a:ext cx="1837445" cy="501494"/>
          </a:xfrm>
          <a:prstGeom prst="rect">
            <a:avLst/>
          </a:prstGeom>
        </p:spPr>
      </p:pic>
      <p:sp>
        <p:nvSpPr>
          <p:cNvPr id="2" name="PA_文本框 21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>
            <a:extLst>
              <a:ext uri="{FF2B5EF4-FFF2-40B4-BE49-F238E27FC236}">
                <a16:creationId xmlns:a16="http://schemas.microsoft.com/office/drawing/2014/main" id="{EB15CC80-CF2A-2BCF-9F74-8937D327667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80230" y="330214"/>
            <a:ext cx="5152913" cy="46166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zh-CN"/>
            </a:defPPr>
            <a:lvl1pPr marL="12700" marR="0" lvl="0" indent="0" fontAlgn="auto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F05A23"/>
                </a:solidFill>
                <a:effectLst/>
                <a:uLnTx/>
                <a:uFillTx/>
                <a:latin typeface="Arial"/>
                <a:ea typeface="华文楷体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  <a:lvl6pPr>
              <a:defRPr>
                <a:latin typeface="+mn-lt"/>
                <a:ea typeface="+mn-ea"/>
                <a:cs typeface="+mn-cs"/>
              </a:defRPr>
            </a:lvl6pPr>
            <a:lvl7pPr>
              <a:defRPr>
                <a:latin typeface="+mn-lt"/>
                <a:ea typeface="+mn-ea"/>
                <a:cs typeface="+mn-cs"/>
              </a:defRPr>
            </a:lvl7pPr>
            <a:lvl8pPr>
              <a:defRPr>
                <a:latin typeface="+mn-lt"/>
                <a:ea typeface="+mn-ea"/>
                <a:cs typeface="+mn-cs"/>
              </a:defRPr>
            </a:lvl8pPr>
            <a:lvl9pPr>
              <a:defRPr>
                <a:latin typeface="+mn-lt"/>
                <a:ea typeface="+mn-ea"/>
                <a:cs typeface="+mn-cs"/>
              </a:defRPr>
            </a:lvl9pPr>
          </a:lstStyle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</a:t>
            </a:r>
            <a:r>
              <a:rPr lang="en-US" altLang="zh-CN" sz="2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2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步：吸睛标题，吸引注意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2B23F7BC-282A-284C-1BC8-0CF3B481E51A}"/>
              </a:ext>
            </a:extLst>
          </p:cNvPr>
          <p:cNvSpPr txBox="1"/>
          <p:nvPr/>
        </p:nvSpPr>
        <p:spPr>
          <a:xfrm>
            <a:off x="280650" y="358385"/>
            <a:ext cx="6744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.1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18F620AD-C3AC-6998-68ED-05DF11A792D8}"/>
              </a:ext>
            </a:extLst>
          </p:cNvPr>
          <p:cNvSpPr txBox="1"/>
          <p:nvPr/>
        </p:nvSpPr>
        <p:spPr>
          <a:xfrm>
            <a:off x="1592132" y="1656277"/>
            <a:ext cx="9477487" cy="581057"/>
          </a:xfrm>
          <a:prstGeom prst="rect">
            <a:avLst/>
          </a:prstGeom>
          <a:noFill/>
        </p:spPr>
        <p:txBody>
          <a:bodyPr wrap="square" anchor="b">
            <a:noAutofit/>
          </a:bodyPr>
          <a:lstStyle/>
          <a:p>
            <a:pPr algn="ctr"/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写法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提出</a:t>
            </a:r>
            <a:r>
              <a:rPr lang="zh-CN" altLang="en-US" sz="3000" b="1" dirty="0">
                <a:solidFill>
                  <a:srgbClr val="F05A2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有趣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或</a:t>
            </a:r>
            <a:r>
              <a:rPr lang="zh-CN" altLang="en-US" sz="3000" b="1" dirty="0">
                <a:solidFill>
                  <a:srgbClr val="F05A2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颠覆认知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问题，让用户想</a:t>
            </a:r>
            <a:r>
              <a:rPr lang="zh-CN" altLang="en-US" sz="3000" b="1" dirty="0">
                <a:solidFill>
                  <a:srgbClr val="F05A2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探究竟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好奇）</a:t>
            </a:r>
            <a:endParaRPr lang="en-US" altLang="zh-CN" sz="3000" b="1" dirty="0">
              <a:solidFill>
                <a:srgbClr val="F3774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6" name="文本框 45">
            <a:extLst>
              <a:ext uri="{FF2B5EF4-FFF2-40B4-BE49-F238E27FC236}">
                <a16:creationId xmlns:a16="http://schemas.microsoft.com/office/drawing/2014/main" id="{9AB7351C-862E-B5D7-A7A6-23A9AFB67243}"/>
              </a:ext>
            </a:extLst>
          </p:cNvPr>
          <p:cNvSpPr txBox="1"/>
          <p:nvPr/>
        </p:nvSpPr>
        <p:spPr>
          <a:xfrm>
            <a:off x="1486082" y="2377476"/>
            <a:ext cx="8615347" cy="38867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毕业十年，人和人的差距是如何拉开的？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洗过一辈子头发，你洗过头皮吗？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一碗深夜泡面，如何吃出仪式感？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为什么追求个性的人，反而会变得越来越平庸？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作为一个运营，为什么你不能太“专业”？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如何写出阅读量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100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万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微信爆款文章？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为什么他用一个工具就签下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100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居家大单？</a:t>
            </a:r>
          </a:p>
        </p:txBody>
      </p:sp>
    </p:spTree>
    <p:extLst>
      <p:ext uri="{BB962C8B-B14F-4D97-AF65-F5344CB8AC3E}">
        <p14:creationId xmlns:p14="http://schemas.microsoft.com/office/powerpoint/2010/main" val="52797549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图片 39">
            <a:extLst>
              <a:ext uri="{FF2B5EF4-FFF2-40B4-BE49-F238E27FC236}">
                <a16:creationId xmlns:a16="http://schemas.microsoft.com/office/drawing/2014/main" id="{7CB1490E-39EF-785B-93D8-3B5E023A7BD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9418" y="253211"/>
            <a:ext cx="1837445" cy="501494"/>
          </a:xfrm>
          <a:prstGeom prst="rect">
            <a:avLst/>
          </a:prstGeom>
        </p:spPr>
      </p:pic>
      <p:sp>
        <p:nvSpPr>
          <p:cNvPr id="2" name="PA_文本框 21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>
            <a:extLst>
              <a:ext uri="{FF2B5EF4-FFF2-40B4-BE49-F238E27FC236}">
                <a16:creationId xmlns:a16="http://schemas.microsoft.com/office/drawing/2014/main" id="{EB15CC80-CF2A-2BCF-9F74-8937D327667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80230" y="330214"/>
            <a:ext cx="5152913" cy="46166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zh-CN"/>
            </a:defPPr>
            <a:lvl1pPr marL="12700" marR="0" lvl="0" indent="0" fontAlgn="auto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F05A23"/>
                </a:solidFill>
                <a:effectLst/>
                <a:uLnTx/>
                <a:uFillTx/>
                <a:latin typeface="Arial"/>
                <a:ea typeface="华文楷体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  <a:lvl6pPr>
              <a:defRPr>
                <a:latin typeface="+mn-lt"/>
                <a:ea typeface="+mn-ea"/>
                <a:cs typeface="+mn-cs"/>
              </a:defRPr>
            </a:lvl6pPr>
            <a:lvl7pPr>
              <a:defRPr>
                <a:latin typeface="+mn-lt"/>
                <a:ea typeface="+mn-ea"/>
                <a:cs typeface="+mn-cs"/>
              </a:defRPr>
            </a:lvl7pPr>
            <a:lvl8pPr>
              <a:defRPr>
                <a:latin typeface="+mn-lt"/>
                <a:ea typeface="+mn-ea"/>
                <a:cs typeface="+mn-cs"/>
              </a:defRPr>
            </a:lvl8pPr>
            <a:lvl9pPr>
              <a:defRPr>
                <a:latin typeface="+mn-lt"/>
                <a:ea typeface="+mn-ea"/>
                <a:cs typeface="+mn-cs"/>
              </a:defRPr>
            </a:lvl9pPr>
          </a:lstStyle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</a:t>
            </a:r>
            <a:r>
              <a:rPr lang="en-US" altLang="zh-CN" sz="2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2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步：吸睛标题，吸引注意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2B23F7BC-282A-284C-1BC8-0CF3B481E51A}"/>
              </a:ext>
            </a:extLst>
          </p:cNvPr>
          <p:cNvSpPr txBox="1"/>
          <p:nvPr/>
        </p:nvSpPr>
        <p:spPr>
          <a:xfrm>
            <a:off x="280650" y="358385"/>
            <a:ext cx="6744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.1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18F620AD-C3AC-6998-68ED-05DF11A792D8}"/>
              </a:ext>
            </a:extLst>
          </p:cNvPr>
          <p:cNvSpPr txBox="1"/>
          <p:nvPr/>
        </p:nvSpPr>
        <p:spPr>
          <a:xfrm>
            <a:off x="1592132" y="1656277"/>
            <a:ext cx="9477487" cy="581057"/>
          </a:xfrm>
          <a:prstGeom prst="rect">
            <a:avLst/>
          </a:prstGeom>
          <a:noFill/>
        </p:spPr>
        <p:txBody>
          <a:bodyPr wrap="square" anchor="b">
            <a:noAutofit/>
          </a:bodyPr>
          <a:lstStyle/>
          <a:p>
            <a:pPr algn="ctr"/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写法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把</a:t>
            </a:r>
            <a:r>
              <a:rPr lang="zh-CN" altLang="en-US" sz="3000" b="1" dirty="0">
                <a:solidFill>
                  <a:srgbClr val="F05A2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话说一半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让用户忍不住</a:t>
            </a:r>
            <a:r>
              <a:rPr lang="zh-CN" altLang="en-US" sz="3000" b="1" dirty="0">
                <a:solidFill>
                  <a:srgbClr val="F05A2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想看下一步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好奇）</a:t>
            </a:r>
            <a:endParaRPr lang="en-US" altLang="zh-CN" sz="3000" b="1" dirty="0">
              <a:solidFill>
                <a:srgbClr val="F3774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6" name="文本框 45">
            <a:extLst>
              <a:ext uri="{FF2B5EF4-FFF2-40B4-BE49-F238E27FC236}">
                <a16:creationId xmlns:a16="http://schemas.microsoft.com/office/drawing/2014/main" id="{9AB7351C-862E-B5D7-A7A6-23A9AFB67243}"/>
              </a:ext>
            </a:extLst>
          </p:cNvPr>
          <p:cNvSpPr txBox="1"/>
          <p:nvPr/>
        </p:nvSpPr>
        <p:spPr>
          <a:xfrm>
            <a:off x="1592132" y="2614144"/>
            <a:ext cx="8615347" cy="33327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女朋友非要去新乐路喝咖啡，竟然是为了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……?!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期末考试结束！南京家长终于解放了！但是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……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51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岁周慧敏面如少女：原来不老的人生，靠的是这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个字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十年前的时间账单，看到最后一条泪奔了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没有经验，竟拍出调研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10w+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抖音视频，原来他用了这个工具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200000"/>
              </a:lnSpc>
            </a:pP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05713586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图片 39">
            <a:extLst>
              <a:ext uri="{FF2B5EF4-FFF2-40B4-BE49-F238E27FC236}">
                <a16:creationId xmlns:a16="http://schemas.microsoft.com/office/drawing/2014/main" id="{7CB1490E-39EF-785B-93D8-3B5E023A7BD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9418" y="253211"/>
            <a:ext cx="1837445" cy="501494"/>
          </a:xfrm>
          <a:prstGeom prst="rect">
            <a:avLst/>
          </a:prstGeom>
        </p:spPr>
      </p:pic>
      <p:sp>
        <p:nvSpPr>
          <p:cNvPr id="2" name="PA_文本框 21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>
            <a:extLst>
              <a:ext uri="{FF2B5EF4-FFF2-40B4-BE49-F238E27FC236}">
                <a16:creationId xmlns:a16="http://schemas.microsoft.com/office/drawing/2014/main" id="{EB15CC80-CF2A-2BCF-9F74-8937D327667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80230" y="330214"/>
            <a:ext cx="5152913" cy="46166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zh-CN"/>
            </a:defPPr>
            <a:lvl1pPr marL="12700" marR="0" lvl="0" indent="0" fontAlgn="auto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F05A23"/>
                </a:solidFill>
                <a:effectLst/>
                <a:uLnTx/>
                <a:uFillTx/>
                <a:latin typeface="Arial"/>
                <a:ea typeface="华文楷体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  <a:lvl6pPr>
              <a:defRPr>
                <a:latin typeface="+mn-lt"/>
                <a:ea typeface="+mn-ea"/>
                <a:cs typeface="+mn-cs"/>
              </a:defRPr>
            </a:lvl6pPr>
            <a:lvl7pPr>
              <a:defRPr>
                <a:latin typeface="+mn-lt"/>
                <a:ea typeface="+mn-ea"/>
                <a:cs typeface="+mn-cs"/>
              </a:defRPr>
            </a:lvl7pPr>
            <a:lvl8pPr>
              <a:defRPr>
                <a:latin typeface="+mn-lt"/>
                <a:ea typeface="+mn-ea"/>
                <a:cs typeface="+mn-cs"/>
              </a:defRPr>
            </a:lvl8pPr>
            <a:lvl9pPr>
              <a:defRPr>
                <a:latin typeface="+mn-lt"/>
                <a:ea typeface="+mn-ea"/>
                <a:cs typeface="+mn-cs"/>
              </a:defRPr>
            </a:lvl9pPr>
          </a:lstStyle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</a:t>
            </a:r>
            <a:r>
              <a:rPr lang="en-US" altLang="zh-CN" sz="2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2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步：吸睛标题，吸引注意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2B23F7BC-282A-284C-1BC8-0CF3B481E51A}"/>
              </a:ext>
            </a:extLst>
          </p:cNvPr>
          <p:cNvSpPr txBox="1"/>
          <p:nvPr/>
        </p:nvSpPr>
        <p:spPr>
          <a:xfrm>
            <a:off x="280650" y="358385"/>
            <a:ext cx="6744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.1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18F620AD-C3AC-6998-68ED-05DF11A792D8}"/>
              </a:ext>
            </a:extLst>
          </p:cNvPr>
          <p:cNvSpPr txBox="1"/>
          <p:nvPr/>
        </p:nvSpPr>
        <p:spPr>
          <a:xfrm>
            <a:off x="1624405" y="1232364"/>
            <a:ext cx="9477487" cy="581057"/>
          </a:xfrm>
          <a:prstGeom prst="rect">
            <a:avLst/>
          </a:prstGeom>
          <a:noFill/>
        </p:spPr>
        <p:txBody>
          <a:bodyPr wrap="square" anchor="b">
            <a:noAutofit/>
          </a:bodyPr>
          <a:lstStyle/>
          <a:p>
            <a:pPr algn="ctr"/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加上</a:t>
            </a:r>
            <a:r>
              <a:rPr lang="en-US" altLang="zh-CN" sz="3000" b="1" dirty="0">
                <a:solidFill>
                  <a:srgbClr val="F05A2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3000" b="1" dirty="0">
                <a:solidFill>
                  <a:srgbClr val="F05A2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种修饰手法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进一步提升吸睛能力</a:t>
            </a:r>
            <a:endParaRPr lang="en-US" altLang="zh-CN" sz="3000" b="1" dirty="0">
              <a:solidFill>
                <a:srgbClr val="F3774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3" name="组合 2">
            <a:extLst>
              <a:ext uri="{FF2B5EF4-FFF2-40B4-BE49-F238E27FC236}">
                <a16:creationId xmlns:a16="http://schemas.microsoft.com/office/drawing/2014/main" id="{2F98A610-7793-2D6A-2E0D-2C4CA3F3E9EE}"/>
              </a:ext>
            </a:extLst>
          </p:cNvPr>
          <p:cNvGrpSpPr/>
          <p:nvPr/>
        </p:nvGrpSpPr>
        <p:grpSpPr>
          <a:xfrm>
            <a:off x="703891" y="2074520"/>
            <a:ext cx="10858503" cy="3998946"/>
            <a:chOff x="660399" y="3752562"/>
            <a:chExt cx="10858503" cy="1832115"/>
          </a:xfrm>
        </p:grpSpPr>
        <p:grpSp>
          <p:nvGrpSpPr>
            <p:cNvPr id="4" name="组合 3">
              <a:extLst>
                <a:ext uri="{FF2B5EF4-FFF2-40B4-BE49-F238E27FC236}">
                  <a16:creationId xmlns:a16="http://schemas.microsoft.com/office/drawing/2014/main" id="{D4C24ECC-76BB-EF82-8091-E60FD839BD6D}"/>
                </a:ext>
              </a:extLst>
            </p:cNvPr>
            <p:cNvGrpSpPr/>
            <p:nvPr/>
          </p:nvGrpSpPr>
          <p:grpSpPr>
            <a:xfrm>
              <a:off x="660399" y="3752562"/>
              <a:ext cx="3285861" cy="1832115"/>
              <a:chOff x="5556118" y="3871454"/>
              <a:chExt cx="2286000" cy="1832115"/>
            </a:xfrm>
          </p:grpSpPr>
          <p:sp>
            <p:nvSpPr>
              <p:cNvPr id="12" name="矩形: 圆角 11">
                <a:extLst>
                  <a:ext uri="{FF2B5EF4-FFF2-40B4-BE49-F238E27FC236}">
                    <a16:creationId xmlns:a16="http://schemas.microsoft.com/office/drawing/2014/main" id="{023890C0-1FA5-9CA0-2204-FAD6EB52A9F6}"/>
                  </a:ext>
                </a:extLst>
              </p:cNvPr>
              <p:cNvSpPr/>
              <p:nvPr/>
            </p:nvSpPr>
            <p:spPr>
              <a:xfrm>
                <a:off x="5556118" y="3871454"/>
                <a:ext cx="2286000" cy="1832115"/>
              </a:xfrm>
              <a:prstGeom prst="roundRect">
                <a:avLst>
                  <a:gd name="adj" fmla="val 10000"/>
                </a:avLst>
              </a:prstGeom>
              <a:solidFill>
                <a:schemeClr val="bg1"/>
              </a:solidFill>
              <a:ln w="12700" cap="flat">
                <a:solidFill>
                  <a:schemeClr val="accent1"/>
                </a:solidFill>
                <a:prstDash val="solid"/>
                <a:miter/>
              </a:ln>
              <a:effectLst>
                <a:outerShdw dist="50800" dir="2700000" algn="ctr" rotWithShape="0">
                  <a:schemeClr val="accent1"/>
                </a:outerShdw>
              </a:effectLst>
            </p:spPr>
            <p:txBody>
              <a:bodyPr rtlCol="0" anchor="ctr"/>
              <a:lstStyle/>
              <a:p>
                <a:r>
                  <a:rPr lang="en-US" altLang="zh-CN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《</a:t>
                </a:r>
                <a:r>
                  <a:rPr lang="zh-CN" altLang="en-US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王者荣耀里</a:t>
                </a:r>
                <a:r>
                  <a:rPr lang="en-US" altLang="zh-CN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36</a:t>
                </a:r>
                <a:r>
                  <a:rPr lang="zh-CN" altLang="en-US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个英雄的台词，竟包含了</a:t>
                </a:r>
                <a:r>
                  <a:rPr lang="en-US" altLang="zh-CN" sz="1600" dirty="0">
                    <a:solidFill>
                      <a:srgbClr val="F3774B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100</a:t>
                </a:r>
                <a:r>
                  <a:rPr lang="zh-CN" altLang="en-US" sz="1600" dirty="0">
                    <a:solidFill>
                      <a:srgbClr val="F3774B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多个</a:t>
                </a:r>
                <a:r>
                  <a:rPr lang="zh-CN" altLang="en-US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牛逼文案！ </a:t>
                </a:r>
                <a:r>
                  <a:rPr lang="en-US" altLang="zh-CN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》</a:t>
                </a:r>
              </a:p>
              <a:p>
                <a:r>
                  <a:rPr lang="en-US" altLang="zh-CN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《</a:t>
                </a:r>
                <a:r>
                  <a:rPr lang="zh-CN" altLang="en-US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百雀羚广告刷屏的背后，转化率却</a:t>
                </a:r>
                <a:r>
                  <a:rPr lang="zh-CN" altLang="en-US" sz="1600" dirty="0">
                    <a:solidFill>
                      <a:srgbClr val="F3774B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低得可怕</a:t>
                </a:r>
                <a:r>
                  <a:rPr lang="en-US" altLang="zh-CN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》</a:t>
                </a:r>
              </a:p>
              <a:p>
                <a:endParaRPr lang="en-US" altLang="zh-CN" sz="20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342900" indent="-342900">
                  <a:buFont typeface="Wingdings" panose="05000000000000000000" pitchFamily="2" charset="2"/>
                  <a:buChar char="Ø"/>
                </a:pPr>
                <a:r>
                  <a:rPr lang="zh-CN" altLang="en-US" sz="1600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感受一下：</a:t>
                </a:r>
                <a:endParaRPr lang="en-US" altLang="zh-CN" sz="1600" b="1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r>
                  <a:rPr lang="en-US" altLang="zh-CN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《</a:t>
                </a:r>
                <a:r>
                  <a:rPr lang="zh-CN" altLang="en-US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用鲁班，快速输出创意文案</a:t>
                </a:r>
                <a:r>
                  <a:rPr lang="en-US" altLang="zh-CN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》</a:t>
                </a:r>
              </a:p>
              <a:p>
                <a:r>
                  <a:rPr lang="en-US" altLang="zh-CN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《</a:t>
                </a:r>
                <a:r>
                  <a:rPr lang="zh-CN" altLang="en-US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用鲁班，</a:t>
                </a:r>
                <a:r>
                  <a:rPr lang="en-US" altLang="zh-CN" sz="1600" dirty="0">
                    <a:solidFill>
                      <a:srgbClr val="F3774B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30</a:t>
                </a:r>
                <a:r>
                  <a:rPr lang="zh-CN" altLang="en-US" sz="1600" dirty="0">
                    <a:solidFill>
                      <a:srgbClr val="F3774B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秒</a:t>
                </a:r>
                <a:r>
                  <a:rPr lang="zh-CN" altLang="en-US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输出创意文案</a:t>
                </a:r>
                <a:r>
                  <a:rPr lang="en-US" altLang="zh-CN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》</a:t>
                </a:r>
              </a:p>
            </p:txBody>
          </p:sp>
          <p:sp>
            <p:nvSpPr>
              <p:cNvPr id="13" name="矩形 12">
                <a:extLst>
                  <a:ext uri="{FF2B5EF4-FFF2-40B4-BE49-F238E27FC236}">
                    <a16:creationId xmlns:a16="http://schemas.microsoft.com/office/drawing/2014/main" id="{184A9F8D-3B37-DE04-F966-B780E34FBA42}"/>
                  </a:ext>
                </a:extLst>
              </p:cNvPr>
              <p:cNvSpPr/>
              <p:nvPr/>
            </p:nvSpPr>
            <p:spPr>
              <a:xfrm>
                <a:off x="5556118" y="3995921"/>
                <a:ext cx="2286000" cy="18331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b" anchorCtr="0">
                <a:sp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r>
                  <a:rPr kumimoji="1" lang="zh-CN" altLang="en-US" sz="2000" b="1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有冲击力词</a:t>
                </a:r>
                <a:endParaRPr kumimoji="1" lang="en-US" altLang="zh-CN" sz="2000" b="1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9CA90D97-F234-07E7-34BC-17485BDB9FB0}"/>
                </a:ext>
              </a:extLst>
            </p:cNvPr>
            <p:cNvGrpSpPr/>
            <p:nvPr/>
          </p:nvGrpSpPr>
          <p:grpSpPr>
            <a:xfrm>
              <a:off x="4426907" y="3752562"/>
              <a:ext cx="3285861" cy="1832115"/>
              <a:chOff x="5556118" y="3871454"/>
              <a:chExt cx="2286000" cy="1832115"/>
            </a:xfrm>
          </p:grpSpPr>
          <p:sp>
            <p:nvSpPr>
              <p:cNvPr id="10" name="矩形: 圆角 9">
                <a:extLst>
                  <a:ext uri="{FF2B5EF4-FFF2-40B4-BE49-F238E27FC236}">
                    <a16:creationId xmlns:a16="http://schemas.microsoft.com/office/drawing/2014/main" id="{D0B2FEF1-65E2-DFB5-0F8A-4F50FB74DEB7}"/>
                  </a:ext>
                </a:extLst>
              </p:cNvPr>
              <p:cNvSpPr/>
              <p:nvPr/>
            </p:nvSpPr>
            <p:spPr>
              <a:xfrm>
                <a:off x="5556118" y="3871454"/>
                <a:ext cx="2286000" cy="1832115"/>
              </a:xfrm>
              <a:prstGeom prst="roundRect">
                <a:avLst>
                  <a:gd name="adj" fmla="val 10000"/>
                </a:avLst>
              </a:prstGeom>
              <a:solidFill>
                <a:schemeClr val="bg1"/>
              </a:solidFill>
              <a:ln w="12700" cap="flat">
                <a:solidFill>
                  <a:schemeClr val="tx2"/>
                </a:solidFill>
                <a:prstDash val="solid"/>
                <a:miter/>
              </a:ln>
              <a:effectLst>
                <a:outerShdw dist="50800" dir="2700000" algn="ctr" rotWithShape="0">
                  <a:schemeClr val="tx2"/>
                </a:outerShdw>
              </a:effectLst>
            </p:spPr>
            <p:txBody>
              <a:bodyPr rtlCol="0" anchor="ctr"/>
              <a:lstStyle/>
              <a:p>
                <a:r>
                  <a:rPr lang="en-US" altLang="zh-CN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《</a:t>
                </a:r>
                <a:r>
                  <a:rPr lang="zh-CN" altLang="en-US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这个剧比</a:t>
                </a:r>
                <a:r>
                  <a:rPr lang="en-US" altLang="zh-CN" sz="1600" dirty="0">
                    <a:solidFill>
                      <a:srgbClr val="F3774B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《</a:t>
                </a:r>
                <a:r>
                  <a:rPr lang="zh-CN" altLang="en-US" sz="1600" dirty="0">
                    <a:solidFill>
                      <a:srgbClr val="F3774B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玫瑰的故事</a:t>
                </a:r>
                <a:r>
                  <a:rPr lang="en-US" altLang="zh-CN" sz="1600" dirty="0">
                    <a:solidFill>
                      <a:srgbClr val="F3774B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》</a:t>
                </a:r>
                <a:r>
                  <a:rPr lang="zh-CN" altLang="en-US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好看</a:t>
                </a:r>
                <a:r>
                  <a:rPr lang="en-US" altLang="zh-CN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10</a:t>
                </a:r>
                <a:r>
                  <a:rPr lang="zh-CN" altLang="en-US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倍，却很少人知道</a:t>
                </a:r>
                <a:r>
                  <a:rPr lang="en-US" altLang="zh-CN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》</a:t>
                </a:r>
              </a:p>
              <a:p>
                <a:r>
                  <a:rPr lang="en-US" altLang="zh-CN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《</a:t>
                </a:r>
                <a:r>
                  <a:rPr lang="zh-CN" altLang="en-US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震惊！这家</a:t>
                </a:r>
                <a:r>
                  <a:rPr lang="en-US" altLang="zh-CN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70</a:t>
                </a:r>
                <a:r>
                  <a:rPr lang="zh-CN" altLang="en-US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个人的小公司让马云都坐不住了！</a:t>
                </a:r>
                <a:r>
                  <a:rPr lang="en-US" altLang="zh-CN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》</a:t>
                </a:r>
              </a:p>
              <a:p>
                <a:endPara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342900" indent="-342900">
                  <a:buFont typeface="Wingdings" panose="05000000000000000000" pitchFamily="2" charset="2"/>
                  <a:buChar char="Ø"/>
                </a:pPr>
                <a:r>
                  <a:rPr lang="zh-CN" altLang="en-US" sz="1600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感受一下：</a:t>
                </a:r>
                <a:endParaRPr lang="en-US" altLang="zh-CN" sz="1600" b="1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r>
                  <a:rPr lang="en-US" altLang="zh-CN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《</a:t>
                </a:r>
                <a:r>
                  <a:rPr lang="zh-CN" altLang="en-US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火辣健身</a:t>
                </a:r>
                <a:r>
                  <a:rPr lang="en-US" altLang="zh-CN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APP</a:t>
                </a:r>
                <a:r>
                  <a:rPr lang="zh-CN" altLang="en-US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深度产品调研分析报告</a:t>
                </a:r>
                <a:r>
                  <a:rPr lang="en-US" altLang="zh-CN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》</a:t>
                </a:r>
              </a:p>
              <a:p>
                <a:r>
                  <a:rPr lang="en-US" altLang="zh-CN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《</a:t>
                </a:r>
                <a:r>
                  <a:rPr lang="zh-CN" altLang="en-US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同样的健身</a:t>
                </a:r>
                <a:r>
                  <a:rPr lang="en-US" altLang="zh-CN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APP</a:t>
                </a:r>
                <a:r>
                  <a:rPr lang="zh-CN" altLang="en-US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，它相比</a:t>
                </a:r>
                <a:r>
                  <a:rPr lang="en-US" altLang="zh-CN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Keep</a:t>
                </a:r>
                <a:r>
                  <a:rPr lang="zh-CN" altLang="en-US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到底牛逼在哪里？</a:t>
                </a:r>
                <a:r>
                  <a:rPr lang="en-US" altLang="zh-CN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》</a:t>
                </a:r>
              </a:p>
            </p:txBody>
          </p:sp>
          <p:sp>
            <p:nvSpPr>
              <p:cNvPr id="11" name="矩形 10">
                <a:extLst>
                  <a:ext uri="{FF2B5EF4-FFF2-40B4-BE49-F238E27FC236}">
                    <a16:creationId xmlns:a16="http://schemas.microsoft.com/office/drawing/2014/main" id="{2C69B8C6-3AC0-0BA6-0BD2-B61B581C1168}"/>
                  </a:ext>
                </a:extLst>
              </p:cNvPr>
              <p:cNvSpPr/>
              <p:nvPr/>
            </p:nvSpPr>
            <p:spPr>
              <a:xfrm>
                <a:off x="5556118" y="3995921"/>
                <a:ext cx="2286000" cy="18331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b" anchorCtr="0">
                <a:sp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r>
                  <a:rPr kumimoji="1" lang="zh-CN" altLang="en-US" sz="2000" b="1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傍大款</a:t>
                </a:r>
                <a:endParaRPr kumimoji="1" lang="en-US" altLang="zh-CN" sz="2000" b="1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94E01BF1-99CD-2AB4-D89D-FC2732EBFAA1}"/>
                </a:ext>
              </a:extLst>
            </p:cNvPr>
            <p:cNvGrpSpPr/>
            <p:nvPr/>
          </p:nvGrpSpPr>
          <p:grpSpPr>
            <a:xfrm>
              <a:off x="8233039" y="3752562"/>
              <a:ext cx="3285863" cy="1832115"/>
              <a:chOff x="5556117" y="3871454"/>
              <a:chExt cx="2286001" cy="1832115"/>
            </a:xfrm>
          </p:grpSpPr>
          <p:sp>
            <p:nvSpPr>
              <p:cNvPr id="8" name="矩形: 圆角 7">
                <a:extLst>
                  <a:ext uri="{FF2B5EF4-FFF2-40B4-BE49-F238E27FC236}">
                    <a16:creationId xmlns:a16="http://schemas.microsoft.com/office/drawing/2014/main" id="{3D1EE281-56F3-9185-F037-B3D3E33AEB7A}"/>
                  </a:ext>
                </a:extLst>
              </p:cNvPr>
              <p:cNvSpPr/>
              <p:nvPr/>
            </p:nvSpPr>
            <p:spPr>
              <a:xfrm>
                <a:off x="5556117" y="3871454"/>
                <a:ext cx="2286000" cy="1832115"/>
              </a:xfrm>
              <a:prstGeom prst="roundRect">
                <a:avLst>
                  <a:gd name="adj" fmla="val 10000"/>
                </a:avLst>
              </a:prstGeom>
              <a:solidFill>
                <a:schemeClr val="bg1"/>
              </a:solidFill>
              <a:ln w="12700" cap="flat">
                <a:solidFill>
                  <a:schemeClr val="accent1"/>
                </a:solidFill>
                <a:prstDash val="solid"/>
                <a:miter/>
              </a:ln>
              <a:effectLst>
                <a:outerShdw dist="50800" dir="2700000" algn="ctr" rotWithShape="0">
                  <a:schemeClr val="accent1"/>
                </a:outerShdw>
              </a:effectLst>
            </p:spPr>
            <p:txBody>
              <a:bodyPr rtlCol="0" anchor="ctr"/>
              <a:lstStyle/>
              <a:p>
                <a:r>
                  <a:rPr lang="en-US" altLang="zh-CN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《</a:t>
                </a:r>
                <a:r>
                  <a:rPr lang="zh-CN" altLang="en-US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传承</a:t>
                </a:r>
                <a:r>
                  <a:rPr lang="en-US" altLang="zh-CN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400</a:t>
                </a:r>
                <a:r>
                  <a:rPr lang="zh-CN" altLang="en-US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年的配方，</a:t>
                </a:r>
                <a:r>
                  <a:rPr lang="zh-CN" altLang="en-US" sz="1600" dirty="0">
                    <a:solidFill>
                      <a:srgbClr val="F3774B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身上的湿痒</a:t>
                </a:r>
                <a:r>
                  <a:rPr lang="zh-CN" altLang="en-US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都能解决</a:t>
                </a:r>
                <a:r>
                  <a:rPr lang="en-US" altLang="zh-CN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》</a:t>
                </a:r>
              </a:p>
              <a:p>
                <a:r>
                  <a:rPr lang="en-US" altLang="zh-CN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《</a:t>
                </a:r>
                <a:r>
                  <a:rPr lang="zh-CN" altLang="en-US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这款大米绝了！有机种植，口感香糯甘甜，</a:t>
                </a:r>
                <a:r>
                  <a:rPr lang="zh-CN" altLang="en-US" sz="1600" dirty="0">
                    <a:solidFill>
                      <a:srgbClr val="F3774B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孕妇孩子</a:t>
                </a:r>
                <a:r>
                  <a:rPr lang="zh-CN" altLang="en-US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都爱吃</a:t>
                </a:r>
                <a:r>
                  <a:rPr lang="en-US" altLang="zh-CN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》</a:t>
                </a:r>
              </a:p>
              <a:p>
                <a:endPara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342900" indent="-342900">
                  <a:buFont typeface="Wingdings" panose="05000000000000000000" pitchFamily="2" charset="2"/>
                  <a:buChar char="Ø"/>
                </a:pPr>
                <a:r>
                  <a:rPr lang="zh-CN" altLang="en-US" sz="1600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感受一下：</a:t>
                </a:r>
                <a:endParaRPr lang="en-US" altLang="zh-CN" sz="1600" b="1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r>
                  <a:rPr lang="en-US" altLang="zh-CN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《AI</a:t>
                </a:r>
                <a:r>
                  <a:rPr lang="zh-CN" altLang="en-US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跟拍，短视频拍摄神器</a:t>
                </a:r>
                <a:r>
                  <a:rPr lang="en-US" altLang="zh-CN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》</a:t>
                </a:r>
              </a:p>
              <a:p>
                <a:r>
                  <a:rPr lang="en-US" altLang="zh-CN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《AI</a:t>
                </a:r>
                <a:r>
                  <a:rPr lang="zh-CN" altLang="en-US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跟拍，平安代理人都爱用的短视频拍摄神器</a:t>
                </a:r>
                <a:r>
                  <a:rPr lang="en-US" altLang="zh-CN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》</a:t>
                </a:r>
              </a:p>
              <a:p>
                <a:endPara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9" name="矩形 8">
                <a:extLst>
                  <a:ext uri="{FF2B5EF4-FFF2-40B4-BE49-F238E27FC236}">
                    <a16:creationId xmlns:a16="http://schemas.microsoft.com/office/drawing/2014/main" id="{6A24A643-4354-0849-5C33-3B5F5BFE00E5}"/>
                  </a:ext>
                </a:extLst>
              </p:cNvPr>
              <p:cNvSpPr/>
              <p:nvPr/>
            </p:nvSpPr>
            <p:spPr>
              <a:xfrm>
                <a:off x="5556118" y="3995921"/>
                <a:ext cx="2286000" cy="18331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b" anchorCtr="0">
                <a:sp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r>
                  <a:rPr kumimoji="1" lang="zh-CN" altLang="en-US" sz="2000" b="1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锚定用户</a:t>
                </a:r>
                <a:endParaRPr kumimoji="1" lang="en-US" altLang="zh-CN" sz="2000" b="1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  <p:sp>
        <p:nvSpPr>
          <p:cNvPr id="31" name="流程图: 终止 30">
            <a:extLst>
              <a:ext uri="{FF2B5EF4-FFF2-40B4-BE49-F238E27FC236}">
                <a16:creationId xmlns:a16="http://schemas.microsoft.com/office/drawing/2014/main" id="{7881DE61-F6C8-315E-B77E-ADEC5CE3BEA7}"/>
              </a:ext>
            </a:extLst>
          </p:cNvPr>
          <p:cNvSpPr/>
          <p:nvPr/>
        </p:nvSpPr>
        <p:spPr bwMode="auto">
          <a:xfrm>
            <a:off x="955134" y="5417291"/>
            <a:ext cx="1203767" cy="416689"/>
          </a:xfrm>
          <a:prstGeom prst="flowChartTerminator">
            <a:avLst/>
          </a:prstGeom>
          <a:solidFill>
            <a:schemeClr val="accent1">
              <a:lumMod val="40000"/>
              <a:lumOff val="6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数字</a:t>
            </a:r>
          </a:p>
        </p:txBody>
      </p:sp>
      <p:sp>
        <p:nvSpPr>
          <p:cNvPr id="32" name="流程图: 终止 31">
            <a:extLst>
              <a:ext uri="{FF2B5EF4-FFF2-40B4-BE49-F238E27FC236}">
                <a16:creationId xmlns:a16="http://schemas.microsoft.com/office/drawing/2014/main" id="{ABC7032D-3657-A580-B044-D09B110304D1}"/>
              </a:ext>
            </a:extLst>
          </p:cNvPr>
          <p:cNvSpPr/>
          <p:nvPr/>
        </p:nvSpPr>
        <p:spPr bwMode="auto">
          <a:xfrm>
            <a:off x="2518124" y="5417290"/>
            <a:ext cx="1203767" cy="416689"/>
          </a:xfrm>
          <a:prstGeom prst="flowChartTerminator">
            <a:avLst/>
          </a:prstGeom>
          <a:solidFill>
            <a:schemeClr val="accent1">
              <a:lumMod val="40000"/>
              <a:lumOff val="6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夸张词</a:t>
            </a:r>
          </a:p>
        </p:txBody>
      </p:sp>
      <p:grpSp>
        <p:nvGrpSpPr>
          <p:cNvPr id="34" name="组合 33">
            <a:extLst>
              <a:ext uri="{FF2B5EF4-FFF2-40B4-BE49-F238E27FC236}">
                <a16:creationId xmlns:a16="http://schemas.microsoft.com/office/drawing/2014/main" id="{07DE902E-6951-6E40-E38C-9AD6AEE14AFB}"/>
              </a:ext>
            </a:extLst>
          </p:cNvPr>
          <p:cNvGrpSpPr/>
          <p:nvPr/>
        </p:nvGrpSpPr>
        <p:grpSpPr>
          <a:xfrm>
            <a:off x="4500225" y="5505314"/>
            <a:ext cx="3222373" cy="416689"/>
            <a:chOff x="4464080" y="5505314"/>
            <a:chExt cx="3222373" cy="416689"/>
          </a:xfrm>
        </p:grpSpPr>
        <p:sp>
          <p:nvSpPr>
            <p:cNvPr id="14" name="流程图: 终止 13">
              <a:extLst>
                <a:ext uri="{FF2B5EF4-FFF2-40B4-BE49-F238E27FC236}">
                  <a16:creationId xmlns:a16="http://schemas.microsoft.com/office/drawing/2014/main" id="{A59EABBA-9B51-1158-F1D0-903BC0EA93A0}"/>
                </a:ext>
              </a:extLst>
            </p:cNvPr>
            <p:cNvSpPr/>
            <p:nvPr/>
          </p:nvSpPr>
          <p:spPr bwMode="auto">
            <a:xfrm>
              <a:off x="4464080" y="5505314"/>
              <a:ext cx="713395" cy="416689"/>
            </a:xfrm>
            <a:prstGeom prst="flowChartTerminator">
              <a:avLst/>
            </a:prstGeom>
            <a:solidFill>
              <a:schemeClr val="accent1">
                <a:lumMod val="40000"/>
                <a:lumOff val="6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zh-CN" altLang="en-US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明星</a:t>
              </a:r>
            </a:p>
          </p:txBody>
        </p:sp>
        <p:sp>
          <p:nvSpPr>
            <p:cNvPr id="15" name="流程图: 终止 14">
              <a:extLst>
                <a:ext uri="{FF2B5EF4-FFF2-40B4-BE49-F238E27FC236}">
                  <a16:creationId xmlns:a16="http://schemas.microsoft.com/office/drawing/2014/main" id="{5908E2E1-3B95-1677-8AB0-11DDB2524413}"/>
                </a:ext>
              </a:extLst>
            </p:cNvPr>
            <p:cNvSpPr/>
            <p:nvPr/>
          </p:nvSpPr>
          <p:spPr bwMode="auto">
            <a:xfrm>
              <a:off x="5185919" y="5505314"/>
              <a:ext cx="696582" cy="416689"/>
            </a:xfrm>
            <a:prstGeom prst="flowChartTerminator">
              <a:avLst/>
            </a:prstGeom>
            <a:solidFill>
              <a:schemeClr val="accent1">
                <a:lumMod val="40000"/>
                <a:lumOff val="6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zh-CN" altLang="en-US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大</a:t>
              </a:r>
              <a:r>
                <a:rPr lang="en-US" altLang="zh-CN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IP</a:t>
              </a:r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" name="流程图: 终止 15">
              <a:extLst>
                <a:ext uri="{FF2B5EF4-FFF2-40B4-BE49-F238E27FC236}">
                  <a16:creationId xmlns:a16="http://schemas.microsoft.com/office/drawing/2014/main" id="{8442C8D9-7796-5ECB-EF3F-8F543257C82C}"/>
                </a:ext>
              </a:extLst>
            </p:cNvPr>
            <p:cNvSpPr/>
            <p:nvPr/>
          </p:nvSpPr>
          <p:spPr bwMode="auto">
            <a:xfrm>
              <a:off x="5921767" y="5505314"/>
              <a:ext cx="759455" cy="416689"/>
            </a:xfrm>
            <a:prstGeom prst="flowChartTerminator">
              <a:avLst/>
            </a:prstGeom>
            <a:solidFill>
              <a:schemeClr val="accent1">
                <a:lumMod val="40000"/>
                <a:lumOff val="6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zh-CN" altLang="en-US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权威</a:t>
              </a:r>
            </a:p>
          </p:txBody>
        </p:sp>
        <p:sp>
          <p:nvSpPr>
            <p:cNvPr id="33" name="流程图: 终止 32">
              <a:extLst>
                <a:ext uri="{FF2B5EF4-FFF2-40B4-BE49-F238E27FC236}">
                  <a16:creationId xmlns:a16="http://schemas.microsoft.com/office/drawing/2014/main" id="{2E367A98-B2CF-1E9F-91ED-2E67A6747F81}"/>
                </a:ext>
              </a:extLst>
            </p:cNvPr>
            <p:cNvSpPr/>
            <p:nvPr/>
          </p:nvSpPr>
          <p:spPr bwMode="auto">
            <a:xfrm>
              <a:off x="6713887" y="5505314"/>
              <a:ext cx="972566" cy="416689"/>
            </a:xfrm>
            <a:prstGeom prst="flowChartTerminator">
              <a:avLst/>
            </a:prstGeom>
            <a:solidFill>
              <a:schemeClr val="accent1">
                <a:lumMod val="40000"/>
                <a:lumOff val="6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zh-CN" altLang="en-US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热点等</a:t>
              </a:r>
            </a:p>
          </p:txBody>
        </p:sp>
      </p:grpSp>
      <p:sp>
        <p:nvSpPr>
          <p:cNvPr id="35" name="流程图: 终止 34">
            <a:extLst>
              <a:ext uri="{FF2B5EF4-FFF2-40B4-BE49-F238E27FC236}">
                <a16:creationId xmlns:a16="http://schemas.microsoft.com/office/drawing/2014/main" id="{DBA7CE2B-4396-C304-250E-A559B2324C4C}"/>
              </a:ext>
            </a:extLst>
          </p:cNvPr>
          <p:cNvSpPr/>
          <p:nvPr/>
        </p:nvSpPr>
        <p:spPr bwMode="auto">
          <a:xfrm>
            <a:off x="8482992" y="5505315"/>
            <a:ext cx="1287487" cy="416689"/>
          </a:xfrm>
          <a:prstGeom prst="flowChartTerminator">
            <a:avLst/>
          </a:prstGeom>
          <a:solidFill>
            <a:schemeClr val="accent1">
              <a:lumMod val="40000"/>
              <a:lumOff val="6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人群分类</a:t>
            </a:r>
          </a:p>
        </p:txBody>
      </p:sp>
      <p:sp>
        <p:nvSpPr>
          <p:cNvPr id="36" name="流程图: 终止 35">
            <a:extLst>
              <a:ext uri="{FF2B5EF4-FFF2-40B4-BE49-F238E27FC236}">
                <a16:creationId xmlns:a16="http://schemas.microsoft.com/office/drawing/2014/main" id="{85EA2945-35AA-2B4B-777B-F67412425E90}"/>
              </a:ext>
            </a:extLst>
          </p:cNvPr>
          <p:cNvSpPr/>
          <p:nvPr/>
        </p:nvSpPr>
        <p:spPr bwMode="auto">
          <a:xfrm>
            <a:off x="9949418" y="5505314"/>
            <a:ext cx="1300331" cy="416689"/>
          </a:xfrm>
          <a:prstGeom prst="flowChartTerminator">
            <a:avLst/>
          </a:prstGeom>
          <a:solidFill>
            <a:schemeClr val="accent1">
              <a:lumMod val="40000"/>
              <a:lumOff val="6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人群特征</a:t>
            </a:r>
          </a:p>
        </p:txBody>
      </p:sp>
    </p:spTree>
    <p:extLst>
      <p:ext uri="{BB962C8B-B14F-4D97-AF65-F5344CB8AC3E}">
        <p14:creationId xmlns:p14="http://schemas.microsoft.com/office/powerpoint/2010/main" val="177008089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直线连接符 3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>
            <a:extLst>
              <a:ext uri="{FF2B5EF4-FFF2-40B4-BE49-F238E27FC236}">
                <a16:creationId xmlns:a16="http://schemas.microsoft.com/office/drawing/2014/main" id="{C83C8CAF-78CE-744E-816D-3993AB891B4D}"/>
              </a:ext>
            </a:extLst>
          </p:cNvPr>
          <p:cNvCxnSpPr/>
          <p:nvPr/>
        </p:nvCxnSpPr>
        <p:spPr>
          <a:xfrm>
            <a:off x="725817" y="2640474"/>
            <a:ext cx="10591442" cy="0"/>
          </a:xfrm>
          <a:prstGeom prst="line">
            <a:avLst/>
          </a:prstGeom>
          <a:ln w="508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A_文本框 21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>
            <a:extLst>
              <a:ext uri="{FF2B5EF4-FFF2-40B4-BE49-F238E27FC236}">
                <a16:creationId xmlns:a16="http://schemas.microsoft.com/office/drawing/2014/main" id="{8F11CAFE-0638-A849-8DAF-81D2D98E664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824523" y="1777629"/>
            <a:ext cx="6239282" cy="46166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zh-CN"/>
            </a:defPPr>
            <a:lvl1pPr marL="12700" marR="0" lvl="0" indent="0" fontAlgn="auto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F05A23"/>
                </a:solidFill>
                <a:effectLst/>
                <a:uLnTx/>
                <a:uFillTx/>
                <a:latin typeface="Arial"/>
                <a:ea typeface="华文楷体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  <a:lvl6pPr>
              <a:defRPr>
                <a:latin typeface="+mn-lt"/>
                <a:ea typeface="+mn-ea"/>
                <a:cs typeface="+mn-cs"/>
              </a:defRPr>
            </a:lvl6pPr>
            <a:lvl7pPr>
              <a:defRPr>
                <a:latin typeface="+mn-lt"/>
                <a:ea typeface="+mn-ea"/>
                <a:cs typeface="+mn-cs"/>
              </a:defRPr>
            </a:lvl7pPr>
            <a:lvl8pPr>
              <a:defRPr>
                <a:latin typeface="+mn-lt"/>
                <a:ea typeface="+mn-ea"/>
                <a:cs typeface="+mn-cs"/>
              </a:defRPr>
            </a:lvl8pPr>
            <a:lvl9pPr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3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按照</a:t>
            </a:r>
            <a:r>
              <a:rPr lang="en-US" altLang="zh-CN" sz="3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zh-CN" altLang="en-US" sz="3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种常用的吸睛标题写法，改写下面文案</a:t>
            </a:r>
          </a:p>
        </p:txBody>
      </p:sp>
      <p:sp>
        <p:nvSpPr>
          <p:cNvPr id="3" name="e7d195523061f1c0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 hidden="1">
            <a:extLst>
              <a:ext uri="{FF2B5EF4-FFF2-40B4-BE49-F238E27FC236}">
                <a16:creationId xmlns:a16="http://schemas.microsoft.com/office/drawing/2014/main" id="{0345E291-05D0-49BA-AC28-BA247D6B2FD2}"/>
              </a:ext>
            </a:extLst>
          </p:cNvPr>
          <p:cNvSpPr txBox="1"/>
          <p:nvPr/>
        </p:nvSpPr>
        <p:spPr>
          <a:xfrm>
            <a:off x="-355600" y="1803400"/>
            <a:ext cx="26225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/>
              <a:t>e7d195523061f1c0d318120d6aeaf1b6ccceb6ba3da59c0775C5DE19DDDEBC09ED96DBD9900D9848D623ECAD1D4904B78047D0015C22C8BE97228BE8B5BFF08FE7A3AE04126DA07312A96C0F69F9BAB71A8D4487C13BBD21E3F9DE587F01A2EC9B24CE25FF0E9B2136662A47C8B58C275121A88EC20F5D58602B203067E5F6C927344A314878098B</a:t>
            </a:r>
            <a:endParaRPr lang="zh-CN" altLang="en-US" sz="100"/>
          </a:p>
        </p:txBody>
      </p:sp>
      <p:grpSp>
        <p:nvGrpSpPr>
          <p:cNvPr id="9" name="组合 8">
            <a:extLst>
              <a:ext uri="{FF2B5EF4-FFF2-40B4-BE49-F238E27FC236}">
                <a16:creationId xmlns:a16="http://schemas.microsoft.com/office/drawing/2014/main" id="{596FEB65-F537-2409-9CFF-8EC92AAE9245}"/>
              </a:ext>
            </a:extLst>
          </p:cNvPr>
          <p:cNvGrpSpPr/>
          <p:nvPr/>
        </p:nvGrpSpPr>
        <p:grpSpPr>
          <a:xfrm>
            <a:off x="812799" y="551745"/>
            <a:ext cx="2344293" cy="1885528"/>
            <a:chOff x="3207781" y="1105990"/>
            <a:chExt cx="5776438" cy="4646020"/>
          </a:xfrm>
        </p:grpSpPr>
        <p:sp>
          <p:nvSpPr>
            <p:cNvPr id="10" name="任意多边形 4">
              <a:extLst>
                <a:ext uri="{FF2B5EF4-FFF2-40B4-BE49-F238E27FC236}">
                  <a16:creationId xmlns:a16="http://schemas.microsoft.com/office/drawing/2014/main" id="{24273B71-40A5-A3F6-A543-E3946B74F2AB}"/>
                </a:ext>
              </a:extLst>
            </p:cNvPr>
            <p:cNvSpPr/>
            <p:nvPr/>
          </p:nvSpPr>
          <p:spPr>
            <a:xfrm>
              <a:off x="3598883" y="5220505"/>
              <a:ext cx="5385336" cy="531505"/>
            </a:xfrm>
            <a:custGeom>
              <a:avLst/>
              <a:gdLst>
                <a:gd name="connsiteX0" fmla="*/ -514 w 4756429"/>
                <a:gd name="connsiteY0" fmla="*/ 234476 h 469435"/>
                <a:gd name="connsiteX1" fmla="*/ 2377732 w 4756429"/>
                <a:gd name="connsiteY1" fmla="*/ -210 h 469435"/>
                <a:gd name="connsiteX2" fmla="*/ 4755915 w 4756429"/>
                <a:gd name="connsiteY2" fmla="*/ 234476 h 469435"/>
                <a:gd name="connsiteX3" fmla="*/ 2377732 w 4756429"/>
                <a:gd name="connsiteY3" fmla="*/ 469226 h 469435"/>
                <a:gd name="connsiteX4" fmla="*/ -514 w 4756429"/>
                <a:gd name="connsiteY4" fmla="*/ 234476 h 469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56429" h="469435">
                  <a:moveTo>
                    <a:pt x="-514" y="234476"/>
                  </a:moveTo>
                  <a:cubicBezTo>
                    <a:pt x="-514" y="104871"/>
                    <a:pt x="1064277" y="-210"/>
                    <a:pt x="2377732" y="-210"/>
                  </a:cubicBezTo>
                  <a:cubicBezTo>
                    <a:pt x="3691187" y="-210"/>
                    <a:pt x="4755915" y="104871"/>
                    <a:pt x="4755915" y="234476"/>
                  </a:cubicBezTo>
                  <a:cubicBezTo>
                    <a:pt x="4755915" y="364081"/>
                    <a:pt x="3691187" y="469226"/>
                    <a:pt x="2377732" y="469226"/>
                  </a:cubicBezTo>
                  <a:cubicBezTo>
                    <a:pt x="1064277" y="469226"/>
                    <a:pt x="-514" y="364144"/>
                    <a:pt x="-514" y="234476"/>
                  </a:cubicBezTo>
                  <a:close/>
                </a:path>
              </a:pathLst>
            </a:custGeom>
            <a:solidFill>
              <a:srgbClr val="E8E8E8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 5">
              <a:extLst>
                <a:ext uri="{FF2B5EF4-FFF2-40B4-BE49-F238E27FC236}">
                  <a16:creationId xmlns:a16="http://schemas.microsoft.com/office/drawing/2014/main" id="{F98FB409-950B-FD23-D013-AA282725A0BD}"/>
                </a:ext>
              </a:extLst>
            </p:cNvPr>
            <p:cNvSpPr/>
            <p:nvPr/>
          </p:nvSpPr>
          <p:spPr>
            <a:xfrm>
              <a:off x="4313321" y="3382454"/>
              <a:ext cx="883608" cy="1118025"/>
            </a:xfrm>
            <a:custGeom>
              <a:avLst/>
              <a:gdLst>
                <a:gd name="connsiteX0" fmla="*/ 304303 w 780419"/>
                <a:gd name="connsiteY0" fmla="*/ 118570 h 987461"/>
                <a:gd name="connsiteX1" fmla="*/ 254240 w 780419"/>
                <a:gd name="connsiteY1" fmla="*/ 127782 h 987461"/>
                <a:gd name="connsiteX2" fmla="*/ 200428 w 780419"/>
                <a:gd name="connsiteY2" fmla="*/ 182038 h 987461"/>
                <a:gd name="connsiteX3" fmla="*/ 189374 w 780419"/>
                <a:gd name="connsiteY3" fmla="*/ 260437 h 987461"/>
                <a:gd name="connsiteX4" fmla="*/ 195727 w 780419"/>
                <a:gd name="connsiteY4" fmla="*/ 517740 h 987461"/>
                <a:gd name="connsiteX5" fmla="*/ 71395 w 780419"/>
                <a:gd name="connsiteY5" fmla="*/ 592835 h 987461"/>
                <a:gd name="connsiteX6" fmla="*/ 24001 w 780419"/>
                <a:gd name="connsiteY6" fmla="*/ 840164 h 987461"/>
                <a:gd name="connsiteX7" fmla="*/ 249411 w 780419"/>
                <a:gd name="connsiteY7" fmla="*/ 982284 h 987461"/>
                <a:gd name="connsiteX8" fmla="*/ 522597 w 780419"/>
                <a:gd name="connsiteY8" fmla="*/ 959286 h 987461"/>
                <a:gd name="connsiteX9" fmla="*/ 699597 w 780419"/>
                <a:gd name="connsiteY9" fmla="*/ 889401 h 987461"/>
                <a:gd name="connsiteX10" fmla="*/ 708555 w 780419"/>
                <a:gd name="connsiteY10" fmla="*/ 575617 h 987461"/>
                <a:gd name="connsiteX11" fmla="*/ 764082 w 780419"/>
                <a:gd name="connsiteY11" fmla="*/ 389088 h 987461"/>
                <a:gd name="connsiteX12" fmla="*/ 606968 w 780419"/>
                <a:gd name="connsiteY12" fmla="*/ 27466 h 987461"/>
                <a:gd name="connsiteX13" fmla="*/ 304303 w 780419"/>
                <a:gd name="connsiteY13" fmla="*/ 118761 h 987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80419" h="987461">
                  <a:moveTo>
                    <a:pt x="304303" y="118570"/>
                  </a:moveTo>
                  <a:cubicBezTo>
                    <a:pt x="307860" y="110184"/>
                    <a:pt x="258432" y="125940"/>
                    <a:pt x="254240" y="127782"/>
                  </a:cubicBezTo>
                  <a:cubicBezTo>
                    <a:pt x="230002" y="138284"/>
                    <a:pt x="210733" y="157712"/>
                    <a:pt x="200428" y="182038"/>
                  </a:cubicBezTo>
                  <a:cubicBezTo>
                    <a:pt x="191299" y="207108"/>
                    <a:pt x="187531" y="233817"/>
                    <a:pt x="189374" y="260437"/>
                  </a:cubicBezTo>
                  <a:cubicBezTo>
                    <a:pt x="191216" y="342393"/>
                    <a:pt x="253985" y="444679"/>
                    <a:pt x="195727" y="517740"/>
                  </a:cubicBezTo>
                  <a:cubicBezTo>
                    <a:pt x="165486" y="555478"/>
                    <a:pt x="111484" y="565706"/>
                    <a:pt x="71395" y="592835"/>
                  </a:cubicBezTo>
                  <a:cubicBezTo>
                    <a:pt x="-4843" y="644295"/>
                    <a:pt x="-20154" y="759351"/>
                    <a:pt x="24001" y="840164"/>
                  </a:cubicBezTo>
                  <a:cubicBezTo>
                    <a:pt x="68155" y="920976"/>
                    <a:pt x="158306" y="968752"/>
                    <a:pt x="249411" y="982284"/>
                  </a:cubicBezTo>
                  <a:cubicBezTo>
                    <a:pt x="340516" y="995816"/>
                    <a:pt x="433081" y="979552"/>
                    <a:pt x="522597" y="959286"/>
                  </a:cubicBezTo>
                  <a:cubicBezTo>
                    <a:pt x="584986" y="945182"/>
                    <a:pt x="648835" y="928092"/>
                    <a:pt x="699597" y="889401"/>
                  </a:cubicBezTo>
                  <a:cubicBezTo>
                    <a:pt x="819354" y="797724"/>
                    <a:pt x="763510" y="682986"/>
                    <a:pt x="708555" y="575617"/>
                  </a:cubicBezTo>
                  <a:cubicBezTo>
                    <a:pt x="673358" y="506876"/>
                    <a:pt x="736509" y="474475"/>
                    <a:pt x="764082" y="389088"/>
                  </a:cubicBezTo>
                  <a:cubicBezTo>
                    <a:pt x="813700" y="235469"/>
                    <a:pt x="742608" y="86360"/>
                    <a:pt x="606968" y="27466"/>
                  </a:cubicBezTo>
                  <a:cubicBezTo>
                    <a:pt x="384225" y="-69039"/>
                    <a:pt x="304747" y="117744"/>
                    <a:pt x="304303" y="118761"/>
                  </a:cubicBezTo>
                  <a:close/>
                </a:path>
              </a:pathLst>
            </a:custGeom>
            <a:solidFill>
              <a:srgbClr val="971D0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 6">
              <a:extLst>
                <a:ext uri="{FF2B5EF4-FFF2-40B4-BE49-F238E27FC236}">
                  <a16:creationId xmlns:a16="http://schemas.microsoft.com/office/drawing/2014/main" id="{17505BF0-3591-A773-C8DD-F0AE8E774240}"/>
                </a:ext>
              </a:extLst>
            </p:cNvPr>
            <p:cNvSpPr/>
            <p:nvPr/>
          </p:nvSpPr>
          <p:spPr>
            <a:xfrm>
              <a:off x="4743753" y="3967018"/>
              <a:ext cx="251762" cy="311178"/>
            </a:xfrm>
            <a:custGeom>
              <a:avLst/>
              <a:gdLst>
                <a:gd name="connsiteX0" fmla="*/ 110730 w 222361"/>
                <a:gd name="connsiteY0" fmla="*/ 274628 h 274838"/>
                <a:gd name="connsiteX1" fmla="*/ 110730 w 222361"/>
                <a:gd name="connsiteY1" fmla="*/ 274628 h 274838"/>
                <a:gd name="connsiteX2" fmla="*/ -514 w 222361"/>
                <a:gd name="connsiteY2" fmla="*/ 126853 h 274838"/>
                <a:gd name="connsiteX3" fmla="*/ -514 w 222361"/>
                <a:gd name="connsiteY3" fmla="*/ -210 h 274838"/>
                <a:gd name="connsiteX4" fmla="*/ 221847 w 222361"/>
                <a:gd name="connsiteY4" fmla="*/ -210 h 274838"/>
                <a:gd name="connsiteX5" fmla="*/ 221847 w 222361"/>
                <a:gd name="connsiteY5" fmla="*/ 126853 h 274838"/>
                <a:gd name="connsiteX6" fmla="*/ 111937 w 222361"/>
                <a:gd name="connsiteY6" fmla="*/ 274628 h 274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2361" h="274838">
                  <a:moveTo>
                    <a:pt x="110730" y="274628"/>
                  </a:moveTo>
                  <a:lnTo>
                    <a:pt x="110730" y="274628"/>
                  </a:lnTo>
                  <a:cubicBezTo>
                    <a:pt x="49358" y="274628"/>
                    <a:pt x="-451" y="163639"/>
                    <a:pt x="-514" y="126853"/>
                  </a:cubicBezTo>
                  <a:lnTo>
                    <a:pt x="-514" y="-210"/>
                  </a:lnTo>
                  <a:lnTo>
                    <a:pt x="221847" y="-210"/>
                  </a:lnTo>
                  <a:lnTo>
                    <a:pt x="221847" y="126853"/>
                  </a:lnTo>
                  <a:cubicBezTo>
                    <a:pt x="221847" y="163448"/>
                    <a:pt x="172991" y="274438"/>
                    <a:pt x="111937" y="274628"/>
                  </a:cubicBez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 7">
              <a:extLst>
                <a:ext uri="{FF2B5EF4-FFF2-40B4-BE49-F238E27FC236}">
                  <a16:creationId xmlns:a16="http://schemas.microsoft.com/office/drawing/2014/main" id="{76280798-B9B2-D858-C70C-FBC77E904A71}"/>
                </a:ext>
              </a:extLst>
            </p:cNvPr>
            <p:cNvSpPr/>
            <p:nvPr/>
          </p:nvSpPr>
          <p:spPr>
            <a:xfrm>
              <a:off x="4572555" y="3764605"/>
              <a:ext cx="121406" cy="141542"/>
            </a:xfrm>
            <a:custGeom>
              <a:avLst/>
              <a:gdLst>
                <a:gd name="connsiteX0" fmla="*/ 77312 w 107228"/>
                <a:gd name="connsiteY0" fmla="*/ 27741 h 125013"/>
                <a:gd name="connsiteX1" fmla="*/ -514 w 107228"/>
                <a:gd name="connsiteY1" fmla="*/ 46801 h 125013"/>
                <a:gd name="connsiteX2" fmla="*/ 94783 w 107228"/>
                <a:gd name="connsiteY2" fmla="*/ 110332 h 125013"/>
                <a:gd name="connsiteX3" fmla="*/ 77312 w 107228"/>
                <a:gd name="connsiteY3" fmla="*/ 27741 h 125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228" h="125013">
                  <a:moveTo>
                    <a:pt x="77312" y="27741"/>
                  </a:moveTo>
                  <a:cubicBezTo>
                    <a:pt x="41226" y="-26515"/>
                    <a:pt x="-514" y="8364"/>
                    <a:pt x="-514" y="46801"/>
                  </a:cubicBezTo>
                  <a:cubicBezTo>
                    <a:pt x="-514" y="102073"/>
                    <a:pt x="60031" y="149722"/>
                    <a:pt x="94783" y="110332"/>
                  </a:cubicBezTo>
                  <a:cubicBezTo>
                    <a:pt x="129535" y="70943"/>
                    <a:pt x="77312" y="27741"/>
                    <a:pt x="77312" y="2774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 8">
              <a:extLst>
                <a:ext uri="{FF2B5EF4-FFF2-40B4-BE49-F238E27FC236}">
                  <a16:creationId xmlns:a16="http://schemas.microsoft.com/office/drawing/2014/main" id="{0D78D172-A7E5-69CA-9A8A-78DDB5CCBB90}"/>
                </a:ext>
              </a:extLst>
            </p:cNvPr>
            <p:cNvSpPr/>
            <p:nvPr/>
          </p:nvSpPr>
          <p:spPr>
            <a:xfrm>
              <a:off x="5034066" y="3764605"/>
              <a:ext cx="121425" cy="141542"/>
            </a:xfrm>
            <a:custGeom>
              <a:avLst/>
              <a:gdLst>
                <a:gd name="connsiteX0" fmla="*/ 28968 w 107245"/>
                <a:gd name="connsiteY0" fmla="*/ 27741 h 125013"/>
                <a:gd name="connsiteX1" fmla="*/ 106731 w 107245"/>
                <a:gd name="connsiteY1" fmla="*/ 46801 h 125013"/>
                <a:gd name="connsiteX2" fmla="*/ 11433 w 107245"/>
                <a:gd name="connsiteY2" fmla="*/ 110332 h 125013"/>
                <a:gd name="connsiteX3" fmla="*/ 28968 w 107245"/>
                <a:gd name="connsiteY3" fmla="*/ 27741 h 125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245" h="125013">
                  <a:moveTo>
                    <a:pt x="28968" y="27741"/>
                  </a:moveTo>
                  <a:cubicBezTo>
                    <a:pt x="64927" y="-26515"/>
                    <a:pt x="106731" y="8364"/>
                    <a:pt x="106731" y="46801"/>
                  </a:cubicBezTo>
                  <a:cubicBezTo>
                    <a:pt x="106731" y="102073"/>
                    <a:pt x="46249" y="149722"/>
                    <a:pt x="11433" y="110332"/>
                  </a:cubicBezTo>
                  <a:cubicBezTo>
                    <a:pt x="-23382" y="70943"/>
                    <a:pt x="28968" y="27741"/>
                    <a:pt x="28968" y="2774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 9">
              <a:extLst>
                <a:ext uri="{FF2B5EF4-FFF2-40B4-BE49-F238E27FC236}">
                  <a16:creationId xmlns:a16="http://schemas.microsoft.com/office/drawing/2014/main" id="{86F465E8-D25C-1B7E-1A19-BDA15266E11E}"/>
                </a:ext>
              </a:extLst>
            </p:cNvPr>
            <p:cNvSpPr/>
            <p:nvPr/>
          </p:nvSpPr>
          <p:spPr>
            <a:xfrm>
              <a:off x="4636485" y="3571274"/>
              <a:ext cx="453974" cy="467243"/>
            </a:xfrm>
            <a:custGeom>
              <a:avLst/>
              <a:gdLst>
                <a:gd name="connsiteX0" fmla="*/ 199817 w 400958"/>
                <a:gd name="connsiteY0" fmla="*/ 412468 h 412678"/>
                <a:gd name="connsiteX1" fmla="*/ 6744 w 400958"/>
                <a:gd name="connsiteY1" fmla="*/ 98113 h 412678"/>
                <a:gd name="connsiteX2" fmla="*/ 393207 w 400958"/>
                <a:gd name="connsiteY2" fmla="*/ 98113 h 412678"/>
                <a:gd name="connsiteX3" fmla="*/ 199817 w 400958"/>
                <a:gd name="connsiteY3" fmla="*/ 412468 h 41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0958" h="412678">
                  <a:moveTo>
                    <a:pt x="199817" y="412468"/>
                  </a:moveTo>
                  <a:cubicBezTo>
                    <a:pt x="57569" y="412468"/>
                    <a:pt x="-26547" y="257387"/>
                    <a:pt x="6744" y="98113"/>
                  </a:cubicBezTo>
                  <a:cubicBezTo>
                    <a:pt x="34063" y="-33016"/>
                    <a:pt x="365762" y="-32953"/>
                    <a:pt x="393207" y="98113"/>
                  </a:cubicBezTo>
                  <a:cubicBezTo>
                    <a:pt x="426434" y="257387"/>
                    <a:pt x="342382" y="412595"/>
                    <a:pt x="199817" y="412468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 10">
              <a:extLst>
                <a:ext uri="{FF2B5EF4-FFF2-40B4-BE49-F238E27FC236}">
                  <a16:creationId xmlns:a16="http://schemas.microsoft.com/office/drawing/2014/main" id="{2FE76299-F32F-7990-2400-C3C64857735C}"/>
                </a:ext>
              </a:extLst>
            </p:cNvPr>
            <p:cNvSpPr/>
            <p:nvPr/>
          </p:nvSpPr>
          <p:spPr>
            <a:xfrm>
              <a:off x="4757636" y="3487392"/>
              <a:ext cx="367502" cy="234313"/>
            </a:xfrm>
            <a:custGeom>
              <a:avLst/>
              <a:gdLst>
                <a:gd name="connsiteX0" fmla="*/ -514 w 324585"/>
                <a:gd name="connsiteY0" fmla="*/ 31541 h 206950"/>
                <a:gd name="connsiteX1" fmla="*/ 303231 w 324585"/>
                <a:gd name="connsiteY1" fmla="*/ 198693 h 206950"/>
                <a:gd name="connsiteX2" fmla="*/ 184045 w 324585"/>
                <a:gd name="connsiteY2" fmla="*/ 21757 h 206950"/>
                <a:gd name="connsiteX3" fmla="*/ -514 w 324585"/>
                <a:gd name="connsiteY3" fmla="*/ 31541 h 206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585" h="206950">
                  <a:moveTo>
                    <a:pt x="-514" y="31541"/>
                  </a:moveTo>
                  <a:cubicBezTo>
                    <a:pt x="-514" y="165911"/>
                    <a:pt x="253612" y="230650"/>
                    <a:pt x="303231" y="198693"/>
                  </a:cubicBezTo>
                  <a:cubicBezTo>
                    <a:pt x="352849" y="166737"/>
                    <a:pt x="314158" y="52951"/>
                    <a:pt x="184045" y="21757"/>
                  </a:cubicBezTo>
                  <a:cubicBezTo>
                    <a:pt x="53932" y="-9437"/>
                    <a:pt x="-197" y="-8484"/>
                    <a:pt x="-514" y="31541"/>
                  </a:cubicBezTo>
                  <a:close/>
                </a:path>
              </a:pathLst>
            </a:custGeom>
            <a:solidFill>
              <a:srgbClr val="971D0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 11">
              <a:extLst>
                <a:ext uri="{FF2B5EF4-FFF2-40B4-BE49-F238E27FC236}">
                  <a16:creationId xmlns:a16="http://schemas.microsoft.com/office/drawing/2014/main" id="{80766D00-99EF-E81F-A1C6-484B07DA63CC}"/>
                </a:ext>
              </a:extLst>
            </p:cNvPr>
            <p:cNvSpPr/>
            <p:nvPr/>
          </p:nvSpPr>
          <p:spPr>
            <a:xfrm>
              <a:off x="4592900" y="3508707"/>
              <a:ext cx="173053" cy="238281"/>
            </a:xfrm>
            <a:custGeom>
              <a:avLst/>
              <a:gdLst>
                <a:gd name="connsiteX0" fmla="*/ 145428 w 152844"/>
                <a:gd name="connsiteY0" fmla="*/ 11762 h 210454"/>
                <a:gd name="connsiteX1" fmla="*/ 38759 w 152844"/>
                <a:gd name="connsiteY1" fmla="*/ 209790 h 210454"/>
                <a:gd name="connsiteX2" fmla="*/ 27704 w 152844"/>
                <a:gd name="connsiteY2" fmla="*/ 78089 h 210454"/>
                <a:gd name="connsiteX3" fmla="*/ 145428 w 152844"/>
                <a:gd name="connsiteY3" fmla="*/ 11762 h 210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844" h="210454">
                  <a:moveTo>
                    <a:pt x="145428" y="11762"/>
                  </a:moveTo>
                  <a:cubicBezTo>
                    <a:pt x="177703" y="76501"/>
                    <a:pt x="89076" y="219320"/>
                    <a:pt x="38759" y="209790"/>
                  </a:cubicBezTo>
                  <a:cubicBezTo>
                    <a:pt x="-11559" y="200261"/>
                    <a:pt x="-11622" y="144416"/>
                    <a:pt x="27704" y="78089"/>
                  </a:cubicBezTo>
                  <a:cubicBezTo>
                    <a:pt x="67030" y="11762"/>
                    <a:pt x="130117" y="-18987"/>
                    <a:pt x="145428" y="11762"/>
                  </a:cubicBezTo>
                  <a:close/>
                </a:path>
              </a:pathLst>
            </a:custGeom>
            <a:solidFill>
              <a:srgbClr val="971D0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 12">
              <a:extLst>
                <a:ext uri="{FF2B5EF4-FFF2-40B4-BE49-F238E27FC236}">
                  <a16:creationId xmlns:a16="http://schemas.microsoft.com/office/drawing/2014/main" id="{1830528A-9BDE-3145-381D-6CCEA1947B4A}"/>
                </a:ext>
              </a:extLst>
            </p:cNvPr>
            <p:cNvSpPr/>
            <p:nvPr/>
          </p:nvSpPr>
          <p:spPr>
            <a:xfrm>
              <a:off x="3612370" y="4281731"/>
              <a:ext cx="915035" cy="627652"/>
            </a:xfrm>
            <a:custGeom>
              <a:avLst/>
              <a:gdLst>
                <a:gd name="connsiteX0" fmla="*/ 797158 w 808176"/>
                <a:gd name="connsiteY0" fmla="*/ 72207 h 554354"/>
                <a:gd name="connsiteX1" fmla="*/ 561011 w 808176"/>
                <a:gd name="connsiteY1" fmla="*/ 325698 h 554354"/>
                <a:gd name="connsiteX2" fmla="*/ 47611 w 808176"/>
                <a:gd name="connsiteY2" fmla="*/ 553523 h 554354"/>
                <a:gd name="connsiteX3" fmla="*/ 47611 w 808176"/>
                <a:gd name="connsiteY3" fmla="*/ 451110 h 554354"/>
                <a:gd name="connsiteX4" fmla="*/ 496844 w 808176"/>
                <a:gd name="connsiteY4" fmla="*/ 243743 h 554354"/>
                <a:gd name="connsiteX5" fmla="*/ 650844 w 808176"/>
                <a:gd name="connsiteY5" fmla="*/ 90123 h 554354"/>
                <a:gd name="connsiteX6" fmla="*/ 699637 w 808176"/>
                <a:gd name="connsiteY6" fmla="*/ 36375 h 554354"/>
                <a:gd name="connsiteX7" fmla="*/ 709866 w 808176"/>
                <a:gd name="connsiteY7" fmla="*/ 18459 h 554354"/>
                <a:gd name="connsiteX8" fmla="*/ 709866 w 808176"/>
                <a:gd name="connsiteY8" fmla="*/ 21000 h 554354"/>
                <a:gd name="connsiteX9" fmla="*/ 797158 w 808176"/>
                <a:gd name="connsiteY9" fmla="*/ 72207 h 554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8176" h="554354">
                  <a:moveTo>
                    <a:pt x="797158" y="72207"/>
                  </a:moveTo>
                  <a:cubicBezTo>
                    <a:pt x="727280" y="164525"/>
                    <a:pt x="648151" y="249460"/>
                    <a:pt x="561011" y="325698"/>
                  </a:cubicBezTo>
                  <a:cubicBezTo>
                    <a:pt x="422385" y="446027"/>
                    <a:pt x="242717" y="563752"/>
                    <a:pt x="47611" y="553523"/>
                  </a:cubicBezTo>
                  <a:cubicBezTo>
                    <a:pt x="-16556" y="548377"/>
                    <a:pt x="-16556" y="446027"/>
                    <a:pt x="47611" y="451110"/>
                  </a:cubicBezTo>
                  <a:cubicBezTo>
                    <a:pt x="219591" y="461339"/>
                    <a:pt x="376197" y="351302"/>
                    <a:pt x="496844" y="243743"/>
                  </a:cubicBezTo>
                  <a:cubicBezTo>
                    <a:pt x="553323" y="197682"/>
                    <a:pt x="602052" y="143871"/>
                    <a:pt x="650844" y="90123"/>
                  </a:cubicBezTo>
                  <a:cubicBezTo>
                    <a:pt x="668824" y="72207"/>
                    <a:pt x="684199" y="54291"/>
                    <a:pt x="699637" y="36375"/>
                  </a:cubicBezTo>
                  <a:cubicBezTo>
                    <a:pt x="703589" y="30727"/>
                    <a:pt x="707013" y="24730"/>
                    <a:pt x="709866" y="18459"/>
                  </a:cubicBezTo>
                  <a:cubicBezTo>
                    <a:pt x="717553" y="10772"/>
                    <a:pt x="702178" y="31165"/>
                    <a:pt x="709866" y="21000"/>
                  </a:cubicBezTo>
                  <a:cubicBezTo>
                    <a:pt x="748366" y="-30206"/>
                    <a:pt x="838199" y="21000"/>
                    <a:pt x="797158" y="72207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 13">
              <a:extLst>
                <a:ext uri="{FF2B5EF4-FFF2-40B4-BE49-F238E27FC236}">
                  <a16:creationId xmlns:a16="http://schemas.microsoft.com/office/drawing/2014/main" id="{ED5228C4-65A0-394D-2562-5D6E0496CD46}"/>
                </a:ext>
              </a:extLst>
            </p:cNvPr>
            <p:cNvSpPr/>
            <p:nvPr/>
          </p:nvSpPr>
          <p:spPr>
            <a:xfrm>
              <a:off x="5248839" y="3957542"/>
              <a:ext cx="415701" cy="712692"/>
            </a:xfrm>
            <a:custGeom>
              <a:avLst/>
              <a:gdLst>
                <a:gd name="connsiteX0" fmla="*/ 90290 w 367155"/>
                <a:gd name="connsiteY0" fmla="*/ 275691 h 629463"/>
                <a:gd name="connsiteX1" fmla="*/ 229361 w 367155"/>
                <a:gd name="connsiteY1" fmla="*/ 451738 h 629463"/>
                <a:gd name="connsiteX2" fmla="*/ 246959 w 367155"/>
                <a:gd name="connsiteY2" fmla="*/ 471877 h 629463"/>
                <a:gd name="connsiteX3" fmla="*/ 201979 w 367155"/>
                <a:gd name="connsiteY3" fmla="*/ 211016 h 629463"/>
                <a:gd name="connsiteX4" fmla="*/ 194292 w 367155"/>
                <a:gd name="connsiteY4" fmla="*/ 113241 h 629463"/>
                <a:gd name="connsiteX5" fmla="*/ 298420 w 367155"/>
                <a:gd name="connsiteY5" fmla="*/ 6952 h 629463"/>
                <a:gd name="connsiteX6" fmla="*/ 340732 w 367155"/>
                <a:gd name="connsiteY6" fmla="*/ 100280 h 629463"/>
                <a:gd name="connsiteX7" fmla="*/ 314748 w 367155"/>
                <a:gd name="connsiteY7" fmla="*/ 117624 h 629463"/>
                <a:gd name="connsiteX8" fmla="*/ 294544 w 367155"/>
                <a:gd name="connsiteY8" fmla="*/ 135286 h 629463"/>
                <a:gd name="connsiteX9" fmla="*/ 296006 w 367155"/>
                <a:gd name="connsiteY9" fmla="*/ 157077 h 629463"/>
                <a:gd name="connsiteX10" fmla="*/ 320402 w 367155"/>
                <a:gd name="connsiteY10" fmla="*/ 297927 h 629463"/>
                <a:gd name="connsiteX11" fmla="*/ 354518 w 367155"/>
                <a:gd name="connsiteY11" fmla="*/ 572194 h 629463"/>
                <a:gd name="connsiteX12" fmla="*/ 268560 w 367155"/>
                <a:gd name="connsiteY12" fmla="*/ 625243 h 629463"/>
                <a:gd name="connsiteX13" fmla="*/ 170785 w 367155"/>
                <a:gd name="connsiteY13" fmla="*/ 540237 h 629463"/>
                <a:gd name="connsiteX14" fmla="*/ 9668 w 367155"/>
                <a:gd name="connsiteY14" fmla="*/ 340176 h 629463"/>
                <a:gd name="connsiteX15" fmla="*/ 90290 w 367155"/>
                <a:gd name="connsiteY15" fmla="*/ 275437 h 629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67155" h="629463">
                  <a:moveTo>
                    <a:pt x="90290" y="275691"/>
                  </a:moveTo>
                  <a:cubicBezTo>
                    <a:pt x="134762" y="336999"/>
                    <a:pt x="181013" y="394877"/>
                    <a:pt x="229361" y="451738"/>
                  </a:cubicBezTo>
                  <a:cubicBezTo>
                    <a:pt x="235714" y="459997"/>
                    <a:pt x="241432" y="465969"/>
                    <a:pt x="246959" y="471877"/>
                  </a:cubicBezTo>
                  <a:cubicBezTo>
                    <a:pt x="235460" y="384267"/>
                    <a:pt x="213478" y="298626"/>
                    <a:pt x="201979" y="211016"/>
                  </a:cubicBezTo>
                  <a:cubicBezTo>
                    <a:pt x="196325" y="179822"/>
                    <a:pt x="189273" y="146277"/>
                    <a:pt x="194292" y="113241"/>
                  </a:cubicBezTo>
                  <a:cubicBezTo>
                    <a:pt x="199692" y="62923"/>
                    <a:pt x="258395" y="30649"/>
                    <a:pt x="298420" y="6952"/>
                  </a:cubicBezTo>
                  <a:cubicBezTo>
                    <a:pt x="353692" y="-26593"/>
                    <a:pt x="396068" y="66735"/>
                    <a:pt x="340732" y="100280"/>
                  </a:cubicBezTo>
                  <a:cubicBezTo>
                    <a:pt x="351342" y="92593"/>
                    <a:pt x="319449" y="115528"/>
                    <a:pt x="314748" y="117624"/>
                  </a:cubicBezTo>
                  <a:cubicBezTo>
                    <a:pt x="304138" y="125311"/>
                    <a:pt x="296705" y="139924"/>
                    <a:pt x="294544" y="135286"/>
                  </a:cubicBezTo>
                  <a:cubicBezTo>
                    <a:pt x="294544" y="141004"/>
                    <a:pt x="296451" y="145642"/>
                    <a:pt x="296006" y="157077"/>
                  </a:cubicBezTo>
                  <a:cubicBezTo>
                    <a:pt x="303375" y="204409"/>
                    <a:pt x="310682" y="251740"/>
                    <a:pt x="320402" y="297927"/>
                  </a:cubicBezTo>
                  <a:cubicBezTo>
                    <a:pt x="335523" y="381090"/>
                    <a:pt x="369321" y="486744"/>
                    <a:pt x="354518" y="572194"/>
                  </a:cubicBezTo>
                  <a:cubicBezTo>
                    <a:pt x="348165" y="614442"/>
                    <a:pt x="311698" y="639474"/>
                    <a:pt x="268560" y="625243"/>
                  </a:cubicBezTo>
                  <a:cubicBezTo>
                    <a:pt x="230124" y="608915"/>
                    <a:pt x="198358" y="569906"/>
                    <a:pt x="170785" y="540237"/>
                  </a:cubicBezTo>
                  <a:cubicBezTo>
                    <a:pt x="113695" y="476343"/>
                    <a:pt x="59922" y="409571"/>
                    <a:pt x="9668" y="340176"/>
                  </a:cubicBezTo>
                  <a:cubicBezTo>
                    <a:pt x="-28451" y="287127"/>
                    <a:pt x="49821" y="223468"/>
                    <a:pt x="90290" y="275437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 14">
              <a:extLst>
                <a:ext uri="{FF2B5EF4-FFF2-40B4-BE49-F238E27FC236}">
                  <a16:creationId xmlns:a16="http://schemas.microsoft.com/office/drawing/2014/main" id="{450342D2-CF2E-9450-45E6-73523FAA4346}"/>
                </a:ext>
              </a:extLst>
            </p:cNvPr>
            <p:cNvSpPr/>
            <p:nvPr/>
          </p:nvSpPr>
          <p:spPr>
            <a:xfrm>
              <a:off x="4494869" y="4089375"/>
              <a:ext cx="731188" cy="915335"/>
            </a:xfrm>
            <a:custGeom>
              <a:avLst/>
              <a:gdLst>
                <a:gd name="connsiteX0" fmla="*/ -514 w 645799"/>
                <a:gd name="connsiteY0" fmla="*/ 61416 h 808441"/>
                <a:gd name="connsiteX1" fmla="*/ 219877 w 645799"/>
                <a:gd name="connsiteY1" fmla="*/ -210 h 808441"/>
                <a:gd name="connsiteX2" fmla="*/ 333662 w 645799"/>
                <a:gd name="connsiteY2" fmla="*/ 71263 h 808441"/>
                <a:gd name="connsiteX3" fmla="*/ 441666 w 645799"/>
                <a:gd name="connsiteY3" fmla="*/ -210 h 808441"/>
                <a:gd name="connsiteX4" fmla="*/ 481564 w 645799"/>
                <a:gd name="connsiteY4" fmla="*/ 3475 h 808441"/>
                <a:gd name="connsiteX5" fmla="*/ 625527 w 645799"/>
                <a:gd name="connsiteY5" fmla="*/ 23360 h 808441"/>
                <a:gd name="connsiteX6" fmla="*/ 637598 w 645799"/>
                <a:gd name="connsiteY6" fmla="*/ 333459 h 808441"/>
                <a:gd name="connsiteX7" fmla="*/ 645285 w 645799"/>
                <a:gd name="connsiteY7" fmla="*/ 792920 h 808441"/>
                <a:gd name="connsiteX8" fmla="*/ 384488 w 645799"/>
                <a:gd name="connsiteY8" fmla="*/ 808231 h 808441"/>
                <a:gd name="connsiteX9" fmla="*/ 20006 w 645799"/>
                <a:gd name="connsiteY9" fmla="*/ 792920 h 808441"/>
                <a:gd name="connsiteX10" fmla="*/ 27694 w 645799"/>
                <a:gd name="connsiteY10" fmla="*/ 333459 h 808441"/>
                <a:gd name="connsiteX11" fmla="*/ -514 w 645799"/>
                <a:gd name="connsiteY11" fmla="*/ 61416 h 808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45799" h="808441">
                  <a:moveTo>
                    <a:pt x="-514" y="61416"/>
                  </a:moveTo>
                  <a:lnTo>
                    <a:pt x="219877" y="-210"/>
                  </a:lnTo>
                  <a:cubicBezTo>
                    <a:pt x="235252" y="69103"/>
                    <a:pt x="308250" y="71263"/>
                    <a:pt x="333662" y="71263"/>
                  </a:cubicBezTo>
                  <a:cubicBezTo>
                    <a:pt x="365428" y="71263"/>
                    <a:pt x="426292" y="69103"/>
                    <a:pt x="441666" y="-210"/>
                  </a:cubicBezTo>
                  <a:lnTo>
                    <a:pt x="481564" y="3475"/>
                  </a:lnTo>
                  <a:cubicBezTo>
                    <a:pt x="594142" y="14085"/>
                    <a:pt x="625527" y="23360"/>
                    <a:pt x="625527" y="23360"/>
                  </a:cubicBezTo>
                  <a:cubicBezTo>
                    <a:pt x="597382" y="336508"/>
                    <a:pt x="658436" y="258428"/>
                    <a:pt x="637598" y="333459"/>
                  </a:cubicBezTo>
                  <a:cubicBezTo>
                    <a:pt x="581436" y="535045"/>
                    <a:pt x="645285" y="792920"/>
                    <a:pt x="645285" y="792920"/>
                  </a:cubicBezTo>
                  <a:cubicBezTo>
                    <a:pt x="543317" y="808231"/>
                    <a:pt x="455770" y="808231"/>
                    <a:pt x="384488" y="808231"/>
                  </a:cubicBezTo>
                  <a:cubicBezTo>
                    <a:pt x="17401" y="808231"/>
                    <a:pt x="20006" y="792920"/>
                    <a:pt x="20006" y="792920"/>
                  </a:cubicBezTo>
                  <a:cubicBezTo>
                    <a:pt x="20006" y="792920"/>
                    <a:pt x="85889" y="477866"/>
                    <a:pt x="27694" y="333459"/>
                  </a:cubicBezTo>
                  <a:cubicBezTo>
                    <a:pt x="2281" y="269927"/>
                    <a:pt x="-514" y="61416"/>
                    <a:pt x="-514" y="61416"/>
                  </a:cubicBezTo>
                  <a:close/>
                </a:path>
              </a:pathLst>
            </a:custGeom>
            <a:solidFill>
              <a:srgbClr val="BE5ED3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 15">
              <a:extLst>
                <a:ext uri="{FF2B5EF4-FFF2-40B4-BE49-F238E27FC236}">
                  <a16:creationId xmlns:a16="http://schemas.microsoft.com/office/drawing/2014/main" id="{C17ABF88-D61C-FEDF-C35C-D80300B3B36B}"/>
                </a:ext>
              </a:extLst>
            </p:cNvPr>
            <p:cNvSpPr/>
            <p:nvPr/>
          </p:nvSpPr>
          <p:spPr>
            <a:xfrm>
              <a:off x="4736560" y="4414867"/>
              <a:ext cx="302114" cy="302114"/>
            </a:xfrm>
            <a:custGeom>
              <a:avLst/>
              <a:gdLst>
                <a:gd name="connsiteX0" fmla="*/ 266833 w 266833"/>
                <a:gd name="connsiteY0" fmla="*/ 133417 h 266833"/>
                <a:gd name="connsiteX1" fmla="*/ 133417 w 266833"/>
                <a:gd name="connsiteY1" fmla="*/ 266833 h 266833"/>
                <a:gd name="connsiteX2" fmla="*/ 0 w 266833"/>
                <a:gd name="connsiteY2" fmla="*/ 133417 h 266833"/>
                <a:gd name="connsiteX3" fmla="*/ 133417 w 266833"/>
                <a:gd name="connsiteY3" fmla="*/ 0 h 266833"/>
                <a:gd name="connsiteX4" fmla="*/ 266833 w 266833"/>
                <a:gd name="connsiteY4" fmla="*/ 133417 h 2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833" h="266833">
                  <a:moveTo>
                    <a:pt x="266833" y="133417"/>
                  </a:moveTo>
                  <a:cubicBezTo>
                    <a:pt x="266833" y="207101"/>
                    <a:pt x="207101" y="266833"/>
                    <a:pt x="133417" y="266833"/>
                  </a:cubicBezTo>
                  <a:cubicBezTo>
                    <a:pt x="59733" y="266833"/>
                    <a:pt x="0" y="207101"/>
                    <a:pt x="0" y="133417"/>
                  </a:cubicBezTo>
                  <a:cubicBezTo>
                    <a:pt x="0" y="59733"/>
                    <a:pt x="59733" y="0"/>
                    <a:pt x="133417" y="0"/>
                  </a:cubicBezTo>
                  <a:cubicBezTo>
                    <a:pt x="207101" y="0"/>
                    <a:pt x="266833" y="59733"/>
                    <a:pt x="266833" y="133417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 16">
              <a:extLst>
                <a:ext uri="{FF2B5EF4-FFF2-40B4-BE49-F238E27FC236}">
                  <a16:creationId xmlns:a16="http://schemas.microsoft.com/office/drawing/2014/main" id="{B57C214F-A1D2-81E8-50EF-B8CEEC414B99}"/>
                </a:ext>
              </a:extLst>
            </p:cNvPr>
            <p:cNvSpPr/>
            <p:nvPr/>
          </p:nvSpPr>
          <p:spPr>
            <a:xfrm>
              <a:off x="4808492" y="4501185"/>
              <a:ext cx="28772" cy="57545"/>
            </a:xfrm>
            <a:custGeom>
              <a:avLst/>
              <a:gdLst>
                <a:gd name="connsiteX0" fmla="*/ 25413 w 25412"/>
                <a:gd name="connsiteY0" fmla="*/ 25413 h 50825"/>
                <a:gd name="connsiteX1" fmla="*/ 12706 w 25412"/>
                <a:gd name="connsiteY1" fmla="*/ 50825 h 50825"/>
                <a:gd name="connsiteX2" fmla="*/ 0 w 25412"/>
                <a:gd name="connsiteY2" fmla="*/ 25413 h 50825"/>
                <a:gd name="connsiteX3" fmla="*/ 12706 w 25412"/>
                <a:gd name="connsiteY3" fmla="*/ 0 h 50825"/>
                <a:gd name="connsiteX4" fmla="*/ 25413 w 25412"/>
                <a:gd name="connsiteY4" fmla="*/ 25413 h 50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12" h="50825">
                  <a:moveTo>
                    <a:pt x="25413" y="25413"/>
                  </a:moveTo>
                  <a:cubicBezTo>
                    <a:pt x="25413" y="39448"/>
                    <a:pt x="19724" y="50825"/>
                    <a:pt x="12706" y="50825"/>
                  </a:cubicBezTo>
                  <a:cubicBezTo>
                    <a:pt x="5689" y="50825"/>
                    <a:pt x="0" y="39448"/>
                    <a:pt x="0" y="25413"/>
                  </a:cubicBezTo>
                  <a:cubicBezTo>
                    <a:pt x="0" y="11378"/>
                    <a:pt x="5689" y="0"/>
                    <a:pt x="12706" y="0"/>
                  </a:cubicBezTo>
                  <a:cubicBezTo>
                    <a:pt x="19724" y="0"/>
                    <a:pt x="25413" y="11378"/>
                    <a:pt x="25413" y="25413"/>
                  </a:cubicBez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 17">
              <a:extLst>
                <a:ext uri="{FF2B5EF4-FFF2-40B4-BE49-F238E27FC236}">
                  <a16:creationId xmlns:a16="http://schemas.microsoft.com/office/drawing/2014/main" id="{541D38C5-C185-EBD4-A2F1-3F698E7320F6}"/>
                </a:ext>
              </a:extLst>
            </p:cNvPr>
            <p:cNvSpPr/>
            <p:nvPr/>
          </p:nvSpPr>
          <p:spPr>
            <a:xfrm>
              <a:off x="4937970" y="4501185"/>
              <a:ext cx="28772" cy="57545"/>
            </a:xfrm>
            <a:custGeom>
              <a:avLst/>
              <a:gdLst>
                <a:gd name="connsiteX0" fmla="*/ 25413 w 25412"/>
                <a:gd name="connsiteY0" fmla="*/ 25413 h 50825"/>
                <a:gd name="connsiteX1" fmla="*/ 12706 w 25412"/>
                <a:gd name="connsiteY1" fmla="*/ 50825 h 50825"/>
                <a:gd name="connsiteX2" fmla="*/ 0 w 25412"/>
                <a:gd name="connsiteY2" fmla="*/ 25413 h 50825"/>
                <a:gd name="connsiteX3" fmla="*/ 12706 w 25412"/>
                <a:gd name="connsiteY3" fmla="*/ 0 h 50825"/>
                <a:gd name="connsiteX4" fmla="*/ 25413 w 25412"/>
                <a:gd name="connsiteY4" fmla="*/ 25413 h 50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12" h="50825">
                  <a:moveTo>
                    <a:pt x="25413" y="25413"/>
                  </a:moveTo>
                  <a:cubicBezTo>
                    <a:pt x="25413" y="39448"/>
                    <a:pt x="19724" y="50825"/>
                    <a:pt x="12706" y="50825"/>
                  </a:cubicBezTo>
                  <a:cubicBezTo>
                    <a:pt x="5689" y="50825"/>
                    <a:pt x="0" y="39448"/>
                    <a:pt x="0" y="25413"/>
                  </a:cubicBezTo>
                  <a:cubicBezTo>
                    <a:pt x="0" y="11378"/>
                    <a:pt x="5689" y="0"/>
                    <a:pt x="12706" y="0"/>
                  </a:cubicBezTo>
                  <a:cubicBezTo>
                    <a:pt x="19724" y="0"/>
                    <a:pt x="25413" y="11378"/>
                    <a:pt x="25413" y="25413"/>
                  </a:cubicBez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 18">
              <a:extLst>
                <a:ext uri="{FF2B5EF4-FFF2-40B4-BE49-F238E27FC236}">
                  <a16:creationId xmlns:a16="http://schemas.microsoft.com/office/drawing/2014/main" id="{37C3EC1F-FA8C-8EFC-79B6-25B2F4BC2D21}"/>
                </a:ext>
              </a:extLst>
            </p:cNvPr>
            <p:cNvSpPr/>
            <p:nvPr/>
          </p:nvSpPr>
          <p:spPr>
            <a:xfrm>
              <a:off x="4809355" y="4601890"/>
              <a:ext cx="156524" cy="64640"/>
            </a:xfrm>
            <a:custGeom>
              <a:avLst/>
              <a:gdLst>
                <a:gd name="connsiteX0" fmla="*/ -514 w 138245"/>
                <a:gd name="connsiteY0" fmla="*/ -210 h 57091"/>
                <a:gd name="connsiteX1" fmla="*/ 81924 w 138245"/>
                <a:gd name="connsiteY1" fmla="*/ 55596 h 57091"/>
                <a:gd name="connsiteX2" fmla="*/ 137731 w 138245"/>
                <a:gd name="connsiteY2" fmla="*/ -210 h 57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8245" h="57091">
                  <a:moveTo>
                    <a:pt x="-514" y="-210"/>
                  </a:moveTo>
                  <a:cubicBezTo>
                    <a:pt x="6836" y="37966"/>
                    <a:pt x="43748" y="62953"/>
                    <a:pt x="81924" y="55596"/>
                  </a:cubicBezTo>
                  <a:cubicBezTo>
                    <a:pt x="110183" y="50152"/>
                    <a:pt x="132286" y="28055"/>
                    <a:pt x="137731" y="-210"/>
                  </a:cubicBezTo>
                  <a:close/>
                </a:path>
              </a:pathLst>
            </a:custGeom>
            <a:solidFill>
              <a:srgbClr val="E27AA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 19">
              <a:extLst>
                <a:ext uri="{FF2B5EF4-FFF2-40B4-BE49-F238E27FC236}">
                  <a16:creationId xmlns:a16="http://schemas.microsoft.com/office/drawing/2014/main" id="{239E12F9-C2B7-6B63-2A50-82B4F1BFDC31}"/>
                </a:ext>
              </a:extLst>
            </p:cNvPr>
            <p:cNvSpPr/>
            <p:nvPr/>
          </p:nvSpPr>
          <p:spPr>
            <a:xfrm>
              <a:off x="4509837" y="4987374"/>
              <a:ext cx="724245" cy="307437"/>
            </a:xfrm>
            <a:custGeom>
              <a:avLst/>
              <a:gdLst>
                <a:gd name="connsiteX0" fmla="*/ 6214 w 639667"/>
                <a:gd name="connsiteY0" fmla="*/ -210 h 271534"/>
                <a:gd name="connsiteX1" fmla="*/ 632637 w 639667"/>
                <a:gd name="connsiteY1" fmla="*/ -210 h 271534"/>
                <a:gd name="connsiteX2" fmla="*/ 537657 w 639667"/>
                <a:gd name="connsiteY2" fmla="*/ 271325 h 271534"/>
                <a:gd name="connsiteX3" fmla="*/ 101194 w 639667"/>
                <a:gd name="connsiteY3" fmla="*/ 271325 h 271534"/>
                <a:gd name="connsiteX4" fmla="*/ 5897 w 639667"/>
                <a:gd name="connsiteY4" fmla="*/ -210 h 271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9667" h="271534">
                  <a:moveTo>
                    <a:pt x="6214" y="-210"/>
                  </a:moveTo>
                  <a:cubicBezTo>
                    <a:pt x="295029" y="15101"/>
                    <a:pt x="632637" y="-210"/>
                    <a:pt x="632637" y="-210"/>
                  </a:cubicBezTo>
                  <a:cubicBezTo>
                    <a:pt x="632637" y="-210"/>
                    <a:pt x="676283" y="271325"/>
                    <a:pt x="537657" y="271325"/>
                  </a:cubicBezTo>
                  <a:lnTo>
                    <a:pt x="101194" y="271325"/>
                  </a:lnTo>
                  <a:cubicBezTo>
                    <a:pt x="-37432" y="271325"/>
                    <a:pt x="5897" y="-210"/>
                    <a:pt x="5897" y="-210"/>
                  </a:cubicBez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 20">
              <a:extLst>
                <a:ext uri="{FF2B5EF4-FFF2-40B4-BE49-F238E27FC236}">
                  <a16:creationId xmlns:a16="http://schemas.microsoft.com/office/drawing/2014/main" id="{8B523F38-F622-8C07-ADC7-88D3EAC07AAA}"/>
                </a:ext>
              </a:extLst>
            </p:cNvPr>
            <p:cNvSpPr/>
            <p:nvPr/>
          </p:nvSpPr>
          <p:spPr>
            <a:xfrm>
              <a:off x="5524719" y="5246473"/>
              <a:ext cx="230304" cy="183920"/>
            </a:xfrm>
            <a:custGeom>
              <a:avLst/>
              <a:gdLst>
                <a:gd name="connsiteX0" fmla="*/ 27630 w 203409"/>
                <a:gd name="connsiteY0" fmla="*/ -210 h 162442"/>
                <a:gd name="connsiteX1" fmla="*/ 202787 w 203409"/>
                <a:gd name="connsiteY1" fmla="*/ 97057 h 162442"/>
                <a:gd name="connsiteX2" fmla="*/ -514 w 203409"/>
                <a:gd name="connsiteY2" fmla="*/ 161034 h 162442"/>
                <a:gd name="connsiteX3" fmla="*/ 27630 w 203409"/>
                <a:gd name="connsiteY3" fmla="*/ -210 h 162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3409" h="162442">
                  <a:moveTo>
                    <a:pt x="27630" y="-210"/>
                  </a:moveTo>
                  <a:cubicBezTo>
                    <a:pt x="27630" y="-210"/>
                    <a:pt x="207933" y="20247"/>
                    <a:pt x="202787" y="97057"/>
                  </a:cubicBezTo>
                  <a:cubicBezTo>
                    <a:pt x="200246" y="176408"/>
                    <a:pt x="-514" y="161034"/>
                    <a:pt x="-514" y="161034"/>
                  </a:cubicBezTo>
                  <a:lnTo>
                    <a:pt x="27630" y="-210"/>
                  </a:ln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 21">
              <a:extLst>
                <a:ext uri="{FF2B5EF4-FFF2-40B4-BE49-F238E27FC236}">
                  <a16:creationId xmlns:a16="http://schemas.microsoft.com/office/drawing/2014/main" id="{AAE0F455-A3BD-C2BF-E5FC-C311CEB61B9C}"/>
                </a:ext>
              </a:extLst>
            </p:cNvPr>
            <p:cNvSpPr/>
            <p:nvPr/>
          </p:nvSpPr>
          <p:spPr>
            <a:xfrm>
              <a:off x="4100646" y="5006258"/>
              <a:ext cx="1488236" cy="437236"/>
            </a:xfrm>
            <a:custGeom>
              <a:avLst/>
              <a:gdLst>
                <a:gd name="connsiteX0" fmla="*/ 1313924 w 1314438"/>
                <a:gd name="connsiteY0" fmla="*/ 208966 h 386175"/>
                <a:gd name="connsiteX1" fmla="*/ 2820 w 1314438"/>
                <a:gd name="connsiteY1" fmla="*/ 90797 h 386175"/>
                <a:gd name="connsiteX2" fmla="*/ 1293403 w 1314438"/>
                <a:gd name="connsiteY2" fmla="*/ 385966 h 386175"/>
                <a:gd name="connsiteX3" fmla="*/ 1313924 w 1314438"/>
                <a:gd name="connsiteY3" fmla="*/ 208712 h 386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4438" h="386175">
                  <a:moveTo>
                    <a:pt x="1313924" y="208966"/>
                  </a:moveTo>
                  <a:cubicBezTo>
                    <a:pt x="1313924" y="208966"/>
                    <a:pt x="82361" y="-168603"/>
                    <a:pt x="2820" y="90797"/>
                  </a:cubicBezTo>
                  <a:cubicBezTo>
                    <a:pt x="-76722" y="347847"/>
                    <a:pt x="1293403" y="385966"/>
                    <a:pt x="1293403" y="385966"/>
                  </a:cubicBezTo>
                  <a:lnTo>
                    <a:pt x="1313924" y="208712"/>
                  </a:lnTo>
                  <a:close/>
                </a:path>
              </a:pathLst>
            </a:custGeom>
            <a:solidFill>
              <a:srgbClr val="1E216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 22">
              <a:extLst>
                <a:ext uri="{FF2B5EF4-FFF2-40B4-BE49-F238E27FC236}">
                  <a16:creationId xmlns:a16="http://schemas.microsoft.com/office/drawing/2014/main" id="{0F2BEC0C-2410-B3C7-C170-1173BC1954F1}"/>
                </a:ext>
              </a:extLst>
            </p:cNvPr>
            <p:cNvSpPr/>
            <p:nvPr/>
          </p:nvSpPr>
          <p:spPr>
            <a:xfrm>
              <a:off x="4002665" y="5286755"/>
              <a:ext cx="235837" cy="184637"/>
            </a:xfrm>
            <a:custGeom>
              <a:avLst/>
              <a:gdLst>
                <a:gd name="connsiteX0" fmla="*/ 169282 w 208296"/>
                <a:gd name="connsiteY0" fmla="*/ -210 h 163075"/>
                <a:gd name="connsiteX1" fmla="*/ -94 w 208296"/>
                <a:gd name="connsiteY1" fmla="*/ 109382 h 163075"/>
                <a:gd name="connsiteX2" fmla="*/ 207782 w 208296"/>
                <a:gd name="connsiteY2" fmla="*/ 157857 h 163075"/>
                <a:gd name="connsiteX3" fmla="*/ 169282 w 208296"/>
                <a:gd name="connsiteY3" fmla="*/ -210 h 163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8296" h="163075">
                  <a:moveTo>
                    <a:pt x="169282" y="-210"/>
                  </a:moveTo>
                  <a:cubicBezTo>
                    <a:pt x="169282" y="-210"/>
                    <a:pt x="-10322" y="32890"/>
                    <a:pt x="-94" y="109382"/>
                  </a:cubicBezTo>
                  <a:cubicBezTo>
                    <a:pt x="10135" y="185874"/>
                    <a:pt x="207782" y="157857"/>
                    <a:pt x="207782" y="157857"/>
                  </a:cubicBezTo>
                  <a:lnTo>
                    <a:pt x="169282" y="-210"/>
                  </a:ln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 23">
              <a:extLst>
                <a:ext uri="{FF2B5EF4-FFF2-40B4-BE49-F238E27FC236}">
                  <a16:creationId xmlns:a16="http://schemas.microsoft.com/office/drawing/2014/main" id="{A268F388-3637-CA57-AD41-F9616801F65B}"/>
                </a:ext>
              </a:extLst>
            </p:cNvPr>
            <p:cNvSpPr/>
            <p:nvPr/>
          </p:nvSpPr>
          <p:spPr>
            <a:xfrm>
              <a:off x="4163334" y="4959760"/>
              <a:ext cx="1475212" cy="524448"/>
            </a:xfrm>
            <a:custGeom>
              <a:avLst/>
              <a:gdLst>
                <a:gd name="connsiteX0" fmla="*/ -514 w 1302935"/>
                <a:gd name="connsiteY0" fmla="*/ 288407 h 463202"/>
                <a:gd name="connsiteX1" fmla="*/ 1297439 w 1302935"/>
                <a:gd name="connsiteY1" fmla="*/ 75449 h 463202"/>
                <a:gd name="connsiteX2" fmla="*/ 30298 w 1302935"/>
                <a:gd name="connsiteY2" fmla="*/ 462992 h 463202"/>
                <a:gd name="connsiteX3" fmla="*/ -514 w 1302935"/>
                <a:gd name="connsiteY3" fmla="*/ 288535 h 463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2935" h="463202">
                  <a:moveTo>
                    <a:pt x="-514" y="288407"/>
                  </a:moveTo>
                  <a:cubicBezTo>
                    <a:pt x="-514" y="288407"/>
                    <a:pt x="1197376" y="-178551"/>
                    <a:pt x="1297439" y="75449"/>
                  </a:cubicBezTo>
                  <a:cubicBezTo>
                    <a:pt x="1394896" y="326908"/>
                    <a:pt x="30298" y="462992"/>
                    <a:pt x="30298" y="462992"/>
                  </a:cubicBezTo>
                  <a:lnTo>
                    <a:pt x="-514" y="288535"/>
                  </a:lnTo>
                  <a:close/>
                </a:path>
              </a:pathLst>
            </a:custGeom>
            <a:solidFill>
              <a:srgbClr val="2A3072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 24">
              <a:extLst>
                <a:ext uri="{FF2B5EF4-FFF2-40B4-BE49-F238E27FC236}">
                  <a16:creationId xmlns:a16="http://schemas.microsoft.com/office/drawing/2014/main" id="{FE012B05-D20B-3BD0-718D-1C33AC236567}"/>
                </a:ext>
              </a:extLst>
            </p:cNvPr>
            <p:cNvSpPr/>
            <p:nvPr/>
          </p:nvSpPr>
          <p:spPr>
            <a:xfrm>
              <a:off x="4197069" y="4159220"/>
              <a:ext cx="334881" cy="457055"/>
            </a:xfrm>
            <a:custGeom>
              <a:avLst/>
              <a:gdLst>
                <a:gd name="connsiteX0" fmla="*/ 262507 w 295773"/>
                <a:gd name="connsiteY0" fmla="*/ -210 h 403680"/>
                <a:gd name="connsiteX1" fmla="*/ -514 w 295773"/>
                <a:gd name="connsiteY1" fmla="*/ 206522 h 403680"/>
                <a:gd name="connsiteX2" fmla="*/ 151962 w 295773"/>
                <a:gd name="connsiteY2" fmla="*/ 403470 h 403680"/>
                <a:gd name="connsiteX3" fmla="*/ 290969 w 295773"/>
                <a:gd name="connsiteY3" fmla="*/ 272468 h 403680"/>
                <a:gd name="connsiteX4" fmla="*/ 262507 w 295773"/>
                <a:gd name="connsiteY4" fmla="*/ -210 h 403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5773" h="403680">
                  <a:moveTo>
                    <a:pt x="262507" y="-210"/>
                  </a:moveTo>
                  <a:cubicBezTo>
                    <a:pt x="262507" y="-210"/>
                    <a:pt x="113843" y="47693"/>
                    <a:pt x="-514" y="206522"/>
                  </a:cubicBezTo>
                  <a:lnTo>
                    <a:pt x="151962" y="403470"/>
                  </a:lnTo>
                  <a:cubicBezTo>
                    <a:pt x="151962" y="403470"/>
                    <a:pt x="278326" y="317766"/>
                    <a:pt x="290969" y="272468"/>
                  </a:cubicBezTo>
                  <a:cubicBezTo>
                    <a:pt x="309393" y="206395"/>
                    <a:pt x="262507" y="-210"/>
                    <a:pt x="262507" y="-210"/>
                  </a:cubicBezTo>
                  <a:close/>
                </a:path>
              </a:pathLst>
            </a:custGeom>
            <a:solidFill>
              <a:srgbClr val="BE5ED3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 25">
              <a:extLst>
                <a:ext uri="{FF2B5EF4-FFF2-40B4-BE49-F238E27FC236}">
                  <a16:creationId xmlns:a16="http://schemas.microsoft.com/office/drawing/2014/main" id="{A3B5C0C4-5C97-144E-19F3-23E22BCDA458}"/>
                </a:ext>
              </a:extLst>
            </p:cNvPr>
            <p:cNvSpPr/>
            <p:nvPr/>
          </p:nvSpPr>
          <p:spPr>
            <a:xfrm>
              <a:off x="5168201" y="4116061"/>
              <a:ext cx="316452" cy="449862"/>
            </a:xfrm>
            <a:custGeom>
              <a:avLst/>
              <a:gdLst>
                <a:gd name="connsiteX0" fmla="*/ 30827 w 279496"/>
                <a:gd name="connsiteY0" fmla="*/ -210 h 397327"/>
                <a:gd name="connsiteX1" fmla="*/ 278982 w 279496"/>
                <a:gd name="connsiteY1" fmla="*/ 203092 h 397327"/>
                <a:gd name="connsiteX2" fmla="*/ 134892 w 279496"/>
                <a:gd name="connsiteY2" fmla="*/ 397117 h 397327"/>
                <a:gd name="connsiteX3" fmla="*/ 3508 w 279496"/>
                <a:gd name="connsiteY3" fmla="*/ 268148 h 397327"/>
                <a:gd name="connsiteX4" fmla="*/ 30827 w 279496"/>
                <a:gd name="connsiteY4" fmla="*/ -210 h 397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9496" h="397327">
                  <a:moveTo>
                    <a:pt x="30827" y="-210"/>
                  </a:moveTo>
                  <a:cubicBezTo>
                    <a:pt x="30827" y="-210"/>
                    <a:pt x="161575" y="21899"/>
                    <a:pt x="278982" y="203092"/>
                  </a:cubicBezTo>
                  <a:lnTo>
                    <a:pt x="134892" y="397117"/>
                  </a:lnTo>
                  <a:cubicBezTo>
                    <a:pt x="134892" y="397117"/>
                    <a:pt x="15452" y="312747"/>
                    <a:pt x="3508" y="268148"/>
                  </a:cubicBezTo>
                  <a:cubicBezTo>
                    <a:pt x="-13899" y="203155"/>
                    <a:pt x="30827" y="-210"/>
                    <a:pt x="30827" y="-210"/>
                  </a:cubicBezTo>
                  <a:close/>
                </a:path>
              </a:pathLst>
            </a:custGeom>
            <a:solidFill>
              <a:srgbClr val="BE5ED3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 26">
              <a:extLst>
                <a:ext uri="{FF2B5EF4-FFF2-40B4-BE49-F238E27FC236}">
                  <a16:creationId xmlns:a16="http://schemas.microsoft.com/office/drawing/2014/main" id="{AD897F33-47CB-375A-F707-E2041DF6A56A}"/>
                </a:ext>
              </a:extLst>
            </p:cNvPr>
            <p:cNvSpPr/>
            <p:nvPr/>
          </p:nvSpPr>
          <p:spPr>
            <a:xfrm>
              <a:off x="3207781" y="3560975"/>
              <a:ext cx="1486066" cy="1759003"/>
            </a:xfrm>
            <a:custGeom>
              <a:avLst/>
              <a:gdLst>
                <a:gd name="connsiteX0" fmla="*/ 933471 w 1312521"/>
                <a:gd name="connsiteY0" fmla="*/ 872704 h 1553585"/>
                <a:gd name="connsiteX1" fmla="*/ 1030738 w 1312521"/>
                <a:gd name="connsiteY1" fmla="*/ 1006121 h 1553585"/>
                <a:gd name="connsiteX2" fmla="*/ 1002848 w 1312521"/>
                <a:gd name="connsiteY2" fmla="*/ 1177656 h 1553585"/>
                <a:gd name="connsiteX3" fmla="*/ 831211 w 1312521"/>
                <a:gd name="connsiteY3" fmla="*/ 1152962 h 1553585"/>
                <a:gd name="connsiteX4" fmla="*/ 830677 w 1312521"/>
                <a:gd name="connsiteY4" fmla="*/ 1152244 h 1553585"/>
                <a:gd name="connsiteX5" fmla="*/ 674897 w 1312521"/>
                <a:gd name="connsiteY5" fmla="*/ 940874 h 1553585"/>
                <a:gd name="connsiteX6" fmla="*/ 674008 w 1312521"/>
                <a:gd name="connsiteY6" fmla="*/ 935220 h 1553585"/>
                <a:gd name="connsiteX7" fmla="*/ 669942 w 1312521"/>
                <a:gd name="connsiteY7" fmla="*/ 931217 h 1553585"/>
                <a:gd name="connsiteX8" fmla="*/ 695354 w 1312521"/>
                <a:gd name="connsiteY8" fmla="*/ 758792 h 1553585"/>
                <a:gd name="connsiteX9" fmla="*/ 761046 w 1312521"/>
                <a:gd name="connsiteY9" fmla="*/ 359495 h 1553585"/>
                <a:gd name="connsiteX10" fmla="*/ 364075 w 1312521"/>
                <a:gd name="connsiteY10" fmla="*/ 301001 h 1553585"/>
                <a:gd name="connsiteX11" fmla="*/ 362321 w 1312521"/>
                <a:gd name="connsiteY11" fmla="*/ 302316 h 1553585"/>
                <a:gd name="connsiteX12" fmla="*/ 248727 w 1312521"/>
                <a:gd name="connsiteY12" fmla="*/ 557015 h 1553585"/>
                <a:gd name="connsiteX13" fmla="*/ 137946 w 1312521"/>
                <a:gd name="connsiteY13" fmla="*/ 696670 h 1553585"/>
                <a:gd name="connsiteX14" fmla="*/ 136910 w 1312521"/>
                <a:gd name="connsiteY14" fmla="*/ 696785 h 1553585"/>
                <a:gd name="connsiteX15" fmla="*/ 2668 w 1312521"/>
                <a:gd name="connsiteY15" fmla="*/ 586557 h 1553585"/>
                <a:gd name="connsiteX16" fmla="*/ 216389 w 1312521"/>
                <a:gd name="connsiteY16" fmla="*/ 102509 h 1553585"/>
                <a:gd name="connsiteX17" fmla="*/ 960282 w 1312521"/>
                <a:gd name="connsiteY17" fmla="*/ 215786 h 1553585"/>
                <a:gd name="connsiteX18" fmla="*/ 933471 w 1312521"/>
                <a:gd name="connsiteY18" fmla="*/ 872704 h 1553585"/>
                <a:gd name="connsiteX19" fmla="*/ 1259071 w 1312521"/>
                <a:gd name="connsiteY19" fmla="*/ 1318824 h 1553585"/>
                <a:gd name="connsiteX20" fmla="*/ 1287153 w 1312521"/>
                <a:gd name="connsiteY20" fmla="*/ 1357388 h 1553585"/>
                <a:gd name="connsiteX21" fmla="*/ 1259199 w 1312521"/>
                <a:gd name="connsiteY21" fmla="*/ 1528923 h 1553585"/>
                <a:gd name="connsiteX22" fmla="*/ 1087644 w 1312521"/>
                <a:gd name="connsiteY22" fmla="*/ 1504260 h 1553585"/>
                <a:gd name="connsiteX23" fmla="*/ 1087091 w 1312521"/>
                <a:gd name="connsiteY23" fmla="*/ 1503511 h 1553585"/>
                <a:gd name="connsiteX24" fmla="*/ 1061678 w 1312521"/>
                <a:gd name="connsiteY24" fmla="*/ 1465391 h 1553585"/>
                <a:gd name="connsiteX25" fmla="*/ 1087091 w 1312521"/>
                <a:gd name="connsiteY25" fmla="*/ 1292967 h 1553585"/>
                <a:gd name="connsiteX26" fmla="*/ 1259199 w 1312521"/>
                <a:gd name="connsiteY26" fmla="*/ 1318379 h 1553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312521" h="1553585">
                  <a:moveTo>
                    <a:pt x="933471" y="872704"/>
                  </a:moveTo>
                  <a:lnTo>
                    <a:pt x="1030738" y="1006121"/>
                  </a:lnTo>
                  <a:cubicBezTo>
                    <a:pt x="1071971" y="1062410"/>
                    <a:pt x="1061551" y="1137187"/>
                    <a:pt x="1002848" y="1177656"/>
                  </a:cubicBezTo>
                  <a:cubicBezTo>
                    <a:pt x="948630" y="1218234"/>
                    <a:pt x="871788" y="1207179"/>
                    <a:pt x="831211" y="1152962"/>
                  </a:cubicBezTo>
                  <a:cubicBezTo>
                    <a:pt x="831033" y="1152720"/>
                    <a:pt x="830855" y="1152485"/>
                    <a:pt x="830677" y="1152244"/>
                  </a:cubicBezTo>
                  <a:lnTo>
                    <a:pt x="674897" y="940874"/>
                  </a:lnTo>
                  <a:cubicBezTo>
                    <a:pt x="673246" y="937633"/>
                    <a:pt x="676486" y="935982"/>
                    <a:pt x="674008" y="935220"/>
                  </a:cubicBezTo>
                  <a:cubicBezTo>
                    <a:pt x="671530" y="934457"/>
                    <a:pt x="671594" y="934457"/>
                    <a:pt x="669942" y="931217"/>
                  </a:cubicBezTo>
                  <a:cubicBezTo>
                    <a:pt x="630362" y="878168"/>
                    <a:pt x="642369" y="798499"/>
                    <a:pt x="695354" y="758792"/>
                  </a:cubicBezTo>
                  <a:cubicBezTo>
                    <a:pt x="824769" y="665400"/>
                    <a:pt x="855010" y="486495"/>
                    <a:pt x="761046" y="359495"/>
                  </a:cubicBezTo>
                  <a:cubicBezTo>
                    <a:pt x="667578" y="233721"/>
                    <a:pt x="489849" y="207534"/>
                    <a:pt x="364075" y="301001"/>
                  </a:cubicBezTo>
                  <a:cubicBezTo>
                    <a:pt x="363490" y="301439"/>
                    <a:pt x="362906" y="301878"/>
                    <a:pt x="362321" y="302316"/>
                  </a:cubicBezTo>
                  <a:cubicBezTo>
                    <a:pt x="281636" y="360797"/>
                    <a:pt x="238326" y="457912"/>
                    <a:pt x="248727" y="557015"/>
                  </a:cubicBezTo>
                  <a:cubicBezTo>
                    <a:pt x="256700" y="626169"/>
                    <a:pt x="207101" y="688697"/>
                    <a:pt x="137946" y="696670"/>
                  </a:cubicBezTo>
                  <a:cubicBezTo>
                    <a:pt x="137603" y="696708"/>
                    <a:pt x="137254" y="696747"/>
                    <a:pt x="136910" y="696785"/>
                  </a:cubicBezTo>
                  <a:cubicBezTo>
                    <a:pt x="68106" y="701741"/>
                    <a:pt x="9847" y="656252"/>
                    <a:pt x="2668" y="586557"/>
                  </a:cubicBezTo>
                  <a:cubicBezTo>
                    <a:pt x="-18056" y="398554"/>
                    <a:pt x="63493" y="213855"/>
                    <a:pt x="216389" y="102509"/>
                  </a:cubicBezTo>
                  <a:cubicBezTo>
                    <a:pt x="453375" y="-70456"/>
                    <a:pt x="785519" y="-19878"/>
                    <a:pt x="960282" y="215786"/>
                  </a:cubicBezTo>
                  <a:cubicBezTo>
                    <a:pt x="1106405" y="415975"/>
                    <a:pt x="1089251" y="688017"/>
                    <a:pt x="933471" y="872704"/>
                  </a:cubicBezTo>
                  <a:close/>
                  <a:moveTo>
                    <a:pt x="1259071" y="1318824"/>
                  </a:moveTo>
                  <a:lnTo>
                    <a:pt x="1287153" y="1357388"/>
                  </a:lnTo>
                  <a:cubicBezTo>
                    <a:pt x="1328321" y="1413677"/>
                    <a:pt x="1317902" y="1488454"/>
                    <a:pt x="1259199" y="1528923"/>
                  </a:cubicBezTo>
                  <a:cubicBezTo>
                    <a:pt x="1205012" y="1569488"/>
                    <a:pt x="1128209" y="1558440"/>
                    <a:pt x="1087644" y="1504260"/>
                  </a:cubicBezTo>
                  <a:cubicBezTo>
                    <a:pt x="1087460" y="1504013"/>
                    <a:pt x="1087275" y="1503758"/>
                    <a:pt x="1087091" y="1503511"/>
                  </a:cubicBezTo>
                  <a:lnTo>
                    <a:pt x="1061678" y="1465391"/>
                  </a:lnTo>
                  <a:cubicBezTo>
                    <a:pt x="1019684" y="1411517"/>
                    <a:pt x="1034106" y="1332610"/>
                    <a:pt x="1087091" y="1292967"/>
                  </a:cubicBezTo>
                  <a:cubicBezTo>
                    <a:pt x="1141671" y="1252592"/>
                    <a:pt x="1218621" y="1263958"/>
                    <a:pt x="1259199" y="1318379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 27">
              <a:extLst>
                <a:ext uri="{FF2B5EF4-FFF2-40B4-BE49-F238E27FC236}">
                  <a16:creationId xmlns:a16="http://schemas.microsoft.com/office/drawing/2014/main" id="{F49707F0-5B5B-8581-AD75-BDB89B2AAEBB}"/>
                </a:ext>
              </a:extLst>
            </p:cNvPr>
            <p:cNvSpPr/>
            <p:nvPr/>
          </p:nvSpPr>
          <p:spPr>
            <a:xfrm>
              <a:off x="6164723" y="1962102"/>
              <a:ext cx="703194" cy="564027"/>
            </a:xfrm>
            <a:custGeom>
              <a:avLst/>
              <a:gdLst>
                <a:gd name="connsiteX0" fmla="*/ 577794 w 621074"/>
                <a:gd name="connsiteY0" fmla="*/ 416455 h 498159"/>
                <a:gd name="connsiteX1" fmla="*/ 538976 w 621074"/>
                <a:gd name="connsiteY1" fmla="*/ 192061 h 498159"/>
                <a:gd name="connsiteX2" fmla="*/ 398317 w 621074"/>
                <a:gd name="connsiteY2" fmla="*/ 31135 h 498159"/>
                <a:gd name="connsiteX3" fmla="*/ 10265 w 621074"/>
                <a:gd name="connsiteY3" fmla="*/ 121159 h 498159"/>
                <a:gd name="connsiteX4" fmla="*/ 38156 w 621074"/>
                <a:gd name="connsiteY4" fmla="*/ 265504 h 498159"/>
                <a:gd name="connsiteX5" fmla="*/ 65983 w 621074"/>
                <a:gd name="connsiteY5" fmla="*/ 440152 h 498159"/>
                <a:gd name="connsiteX6" fmla="*/ 577794 w 621074"/>
                <a:gd name="connsiteY6" fmla="*/ 416455 h 498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1074" h="498159">
                  <a:moveTo>
                    <a:pt x="577794" y="416455"/>
                  </a:moveTo>
                  <a:cubicBezTo>
                    <a:pt x="667819" y="254576"/>
                    <a:pt x="596536" y="161629"/>
                    <a:pt x="538976" y="192061"/>
                  </a:cubicBezTo>
                  <a:cubicBezTo>
                    <a:pt x="538976" y="192061"/>
                    <a:pt x="530399" y="91617"/>
                    <a:pt x="398317" y="31135"/>
                  </a:cubicBezTo>
                  <a:cubicBezTo>
                    <a:pt x="245841" y="-38750"/>
                    <a:pt x="48893" y="15633"/>
                    <a:pt x="10265" y="121159"/>
                  </a:cubicBezTo>
                  <a:cubicBezTo>
                    <a:pt x="-25186" y="218554"/>
                    <a:pt x="38156" y="265504"/>
                    <a:pt x="38156" y="265504"/>
                  </a:cubicBezTo>
                  <a:cubicBezTo>
                    <a:pt x="38156" y="265504"/>
                    <a:pt x="-1043" y="335388"/>
                    <a:pt x="65983" y="440152"/>
                  </a:cubicBezTo>
                  <a:cubicBezTo>
                    <a:pt x="133009" y="544916"/>
                    <a:pt x="537515" y="488945"/>
                    <a:pt x="577794" y="416455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 28">
              <a:extLst>
                <a:ext uri="{FF2B5EF4-FFF2-40B4-BE49-F238E27FC236}">
                  <a16:creationId xmlns:a16="http://schemas.microsoft.com/office/drawing/2014/main" id="{473CD6F3-C0FD-56DE-E6AE-4071BFF60157}"/>
                </a:ext>
              </a:extLst>
            </p:cNvPr>
            <p:cNvSpPr/>
            <p:nvPr/>
          </p:nvSpPr>
          <p:spPr>
            <a:xfrm>
              <a:off x="6390997" y="2695691"/>
              <a:ext cx="273341" cy="276362"/>
            </a:xfrm>
            <a:custGeom>
              <a:avLst/>
              <a:gdLst>
                <a:gd name="connsiteX0" fmla="*/ 120196 w 241420"/>
                <a:gd name="connsiteY0" fmla="*/ 243879 h 244088"/>
                <a:gd name="connsiteX1" fmla="*/ 120196 w 241420"/>
                <a:gd name="connsiteY1" fmla="*/ 243879 h 244088"/>
                <a:gd name="connsiteX2" fmla="*/ -514 w 241420"/>
                <a:gd name="connsiteY2" fmla="*/ 160017 h 244088"/>
                <a:gd name="connsiteX3" fmla="*/ -514 w 241420"/>
                <a:gd name="connsiteY3" fmla="*/ -210 h 244088"/>
                <a:gd name="connsiteX4" fmla="*/ 240906 w 241420"/>
                <a:gd name="connsiteY4" fmla="*/ -210 h 244088"/>
                <a:gd name="connsiteX5" fmla="*/ 240906 w 241420"/>
                <a:gd name="connsiteY5" fmla="*/ 160335 h 244088"/>
                <a:gd name="connsiteX6" fmla="*/ 120958 w 241420"/>
                <a:gd name="connsiteY6" fmla="*/ 243752 h 244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1420" h="244088">
                  <a:moveTo>
                    <a:pt x="120196" y="243879"/>
                  </a:moveTo>
                  <a:lnTo>
                    <a:pt x="120196" y="243879"/>
                  </a:lnTo>
                  <a:cubicBezTo>
                    <a:pt x="53551" y="243879"/>
                    <a:pt x="-514" y="206332"/>
                    <a:pt x="-514" y="160017"/>
                  </a:cubicBezTo>
                  <a:lnTo>
                    <a:pt x="-514" y="-210"/>
                  </a:lnTo>
                  <a:lnTo>
                    <a:pt x="240906" y="-210"/>
                  </a:lnTo>
                  <a:lnTo>
                    <a:pt x="240906" y="160335"/>
                  </a:lnTo>
                  <a:cubicBezTo>
                    <a:pt x="240906" y="206395"/>
                    <a:pt x="187222" y="243752"/>
                    <a:pt x="120958" y="243752"/>
                  </a:cubicBez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 29">
              <a:extLst>
                <a:ext uri="{FF2B5EF4-FFF2-40B4-BE49-F238E27FC236}">
                  <a16:creationId xmlns:a16="http://schemas.microsoft.com/office/drawing/2014/main" id="{FA2B43FC-DA31-C657-D6BD-70191530F54A}"/>
                </a:ext>
              </a:extLst>
            </p:cNvPr>
            <p:cNvSpPr/>
            <p:nvPr/>
          </p:nvSpPr>
          <p:spPr>
            <a:xfrm>
              <a:off x="6190954" y="2434905"/>
              <a:ext cx="140645" cy="163868"/>
            </a:xfrm>
            <a:custGeom>
              <a:avLst/>
              <a:gdLst>
                <a:gd name="connsiteX0" fmla="*/ 89827 w 124220"/>
                <a:gd name="connsiteY0" fmla="*/ 32284 h 144731"/>
                <a:gd name="connsiteX1" fmla="*/ -514 w 124220"/>
                <a:gd name="connsiteY1" fmla="*/ 54139 h 144731"/>
                <a:gd name="connsiteX2" fmla="*/ 109904 w 124220"/>
                <a:gd name="connsiteY2" fmla="*/ 127518 h 144731"/>
                <a:gd name="connsiteX3" fmla="*/ 89827 w 124220"/>
                <a:gd name="connsiteY3" fmla="*/ 32221 h 14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220" h="144731">
                  <a:moveTo>
                    <a:pt x="89827" y="32284"/>
                  </a:moveTo>
                  <a:cubicBezTo>
                    <a:pt x="47960" y="-30739"/>
                    <a:pt x="-514" y="9730"/>
                    <a:pt x="-514" y="54139"/>
                  </a:cubicBezTo>
                  <a:cubicBezTo>
                    <a:pt x="-514" y="118306"/>
                    <a:pt x="69752" y="173579"/>
                    <a:pt x="109904" y="127518"/>
                  </a:cubicBezTo>
                  <a:cubicBezTo>
                    <a:pt x="150056" y="81458"/>
                    <a:pt x="89827" y="32221"/>
                    <a:pt x="89827" y="3222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 30">
              <a:extLst>
                <a:ext uri="{FF2B5EF4-FFF2-40B4-BE49-F238E27FC236}">
                  <a16:creationId xmlns:a16="http://schemas.microsoft.com/office/drawing/2014/main" id="{E69471F3-91F7-DB98-A9D7-57736A4FD212}"/>
                </a:ext>
              </a:extLst>
            </p:cNvPr>
            <p:cNvSpPr/>
            <p:nvPr/>
          </p:nvSpPr>
          <p:spPr>
            <a:xfrm>
              <a:off x="6727091" y="2434905"/>
              <a:ext cx="140816" cy="163868"/>
            </a:xfrm>
            <a:custGeom>
              <a:avLst/>
              <a:gdLst>
                <a:gd name="connsiteX0" fmla="*/ 33579 w 124371"/>
                <a:gd name="connsiteY0" fmla="*/ 32284 h 144731"/>
                <a:gd name="connsiteX1" fmla="*/ 123857 w 124371"/>
                <a:gd name="connsiteY1" fmla="*/ 54139 h 144731"/>
                <a:gd name="connsiteX2" fmla="*/ 13439 w 124371"/>
                <a:gd name="connsiteY2" fmla="*/ 127518 h 144731"/>
                <a:gd name="connsiteX3" fmla="*/ 33579 w 124371"/>
                <a:gd name="connsiteY3" fmla="*/ 32221 h 14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371" h="144731">
                  <a:moveTo>
                    <a:pt x="33579" y="32284"/>
                  </a:moveTo>
                  <a:cubicBezTo>
                    <a:pt x="75319" y="-30739"/>
                    <a:pt x="123857" y="9730"/>
                    <a:pt x="123857" y="54139"/>
                  </a:cubicBezTo>
                  <a:cubicBezTo>
                    <a:pt x="123857" y="118306"/>
                    <a:pt x="53972" y="173579"/>
                    <a:pt x="13439" y="127518"/>
                  </a:cubicBezTo>
                  <a:cubicBezTo>
                    <a:pt x="-27095" y="81458"/>
                    <a:pt x="33579" y="32221"/>
                    <a:pt x="33579" y="3222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 31">
              <a:extLst>
                <a:ext uri="{FF2B5EF4-FFF2-40B4-BE49-F238E27FC236}">
                  <a16:creationId xmlns:a16="http://schemas.microsoft.com/office/drawing/2014/main" id="{00ECE732-A391-C2B1-CCD8-12D197896BFE}"/>
                </a:ext>
              </a:extLst>
            </p:cNvPr>
            <p:cNvSpPr/>
            <p:nvPr/>
          </p:nvSpPr>
          <p:spPr>
            <a:xfrm>
              <a:off x="6265196" y="2209296"/>
              <a:ext cx="527030" cy="543940"/>
            </a:xfrm>
            <a:custGeom>
              <a:avLst/>
              <a:gdLst>
                <a:gd name="connsiteX0" fmla="*/ 232068 w 465483"/>
                <a:gd name="connsiteY0" fmla="*/ 480209 h 480418"/>
                <a:gd name="connsiteX1" fmla="*/ 7928 w 465483"/>
                <a:gd name="connsiteY1" fmla="*/ 114266 h 480418"/>
                <a:gd name="connsiteX2" fmla="*/ 456589 w 465483"/>
                <a:gd name="connsiteY2" fmla="*/ 114266 h 480418"/>
                <a:gd name="connsiteX3" fmla="*/ 232068 w 465483"/>
                <a:gd name="connsiteY3" fmla="*/ 480209 h 480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5483" h="480418">
                  <a:moveTo>
                    <a:pt x="232068" y="480209"/>
                  </a:moveTo>
                  <a:cubicBezTo>
                    <a:pt x="66886" y="480209"/>
                    <a:pt x="-30763" y="299588"/>
                    <a:pt x="7928" y="114266"/>
                  </a:cubicBezTo>
                  <a:cubicBezTo>
                    <a:pt x="39694" y="-38527"/>
                    <a:pt x="424696" y="-38210"/>
                    <a:pt x="456589" y="114266"/>
                  </a:cubicBezTo>
                  <a:cubicBezTo>
                    <a:pt x="495153" y="299588"/>
                    <a:pt x="397251" y="480209"/>
                    <a:pt x="232068" y="480209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 32">
              <a:extLst>
                <a:ext uri="{FF2B5EF4-FFF2-40B4-BE49-F238E27FC236}">
                  <a16:creationId xmlns:a16="http://schemas.microsoft.com/office/drawing/2014/main" id="{E1C3E29D-276F-7F40-4A7A-D3EADEFA7589}"/>
                </a:ext>
              </a:extLst>
            </p:cNvPr>
            <p:cNvSpPr/>
            <p:nvPr/>
          </p:nvSpPr>
          <p:spPr>
            <a:xfrm>
              <a:off x="6255890" y="2082565"/>
              <a:ext cx="448236" cy="230262"/>
            </a:xfrm>
            <a:custGeom>
              <a:avLst/>
              <a:gdLst>
                <a:gd name="connsiteX0" fmla="*/ 386663 w 395890"/>
                <a:gd name="connsiteY0" fmla="*/ 112221 h 203372"/>
                <a:gd name="connsiteX1" fmla="*/ 250388 w 395890"/>
                <a:gd name="connsiteY1" fmla="*/ 153708 h 203372"/>
                <a:gd name="connsiteX2" fmla="*/ 94799 w 395890"/>
                <a:gd name="connsiteY2" fmla="*/ 202246 h 203372"/>
                <a:gd name="connsiteX3" fmla="*/ 66146 w 395890"/>
                <a:gd name="connsiteY3" fmla="*/ 31028 h 203372"/>
                <a:gd name="connsiteX4" fmla="*/ 386663 w 395890"/>
                <a:gd name="connsiteY4" fmla="*/ 112221 h 203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5890" h="203372">
                  <a:moveTo>
                    <a:pt x="386663" y="112221"/>
                  </a:moveTo>
                  <a:cubicBezTo>
                    <a:pt x="344034" y="208472"/>
                    <a:pt x="250388" y="153708"/>
                    <a:pt x="250388" y="153708"/>
                  </a:cubicBezTo>
                  <a:cubicBezTo>
                    <a:pt x="207091" y="190022"/>
                    <a:pt x="151062" y="207500"/>
                    <a:pt x="94799" y="202246"/>
                  </a:cubicBezTo>
                  <a:cubicBezTo>
                    <a:pt x="581" y="192970"/>
                    <a:pt x="-48592" y="79439"/>
                    <a:pt x="66146" y="31028"/>
                  </a:cubicBezTo>
                  <a:cubicBezTo>
                    <a:pt x="180884" y="-17383"/>
                    <a:pt x="446701" y="-22784"/>
                    <a:pt x="386663" y="112221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 33">
              <a:extLst>
                <a:ext uri="{FF2B5EF4-FFF2-40B4-BE49-F238E27FC236}">
                  <a16:creationId xmlns:a16="http://schemas.microsoft.com/office/drawing/2014/main" id="{0443894B-D0F0-65E4-3006-E960BAE60411}"/>
                </a:ext>
              </a:extLst>
            </p:cNvPr>
            <p:cNvSpPr/>
            <p:nvPr/>
          </p:nvSpPr>
          <p:spPr>
            <a:xfrm>
              <a:off x="5999615" y="5296537"/>
              <a:ext cx="484830" cy="136671"/>
            </a:xfrm>
            <a:custGeom>
              <a:avLst/>
              <a:gdLst>
                <a:gd name="connsiteX0" fmla="*/ 415046 w 428211"/>
                <a:gd name="connsiteY0" fmla="*/ -210 h 120710"/>
                <a:gd name="connsiteX1" fmla="*/ 150755 w 428211"/>
                <a:gd name="connsiteY1" fmla="*/ -210 h 120710"/>
                <a:gd name="connsiteX2" fmla="*/ -514 w 428211"/>
                <a:gd name="connsiteY2" fmla="*/ 107794 h 120710"/>
                <a:gd name="connsiteX3" fmla="*/ -514 w 428211"/>
                <a:gd name="connsiteY3" fmla="*/ 120500 h 120710"/>
                <a:gd name="connsiteX4" fmla="*/ 425148 w 428211"/>
                <a:gd name="connsiteY4" fmla="*/ 120500 h 120710"/>
                <a:gd name="connsiteX5" fmla="*/ 414856 w 428211"/>
                <a:gd name="connsiteY5" fmla="*/ -210 h 120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8211" h="120710">
                  <a:moveTo>
                    <a:pt x="415046" y="-210"/>
                  </a:moveTo>
                  <a:lnTo>
                    <a:pt x="150755" y="-210"/>
                  </a:lnTo>
                  <a:cubicBezTo>
                    <a:pt x="150755" y="-210"/>
                    <a:pt x="14924" y="76981"/>
                    <a:pt x="-514" y="107794"/>
                  </a:cubicBezTo>
                  <a:lnTo>
                    <a:pt x="-514" y="120500"/>
                  </a:lnTo>
                  <a:lnTo>
                    <a:pt x="425148" y="120500"/>
                  </a:lnTo>
                  <a:cubicBezTo>
                    <a:pt x="425148" y="120500"/>
                    <a:pt x="435377" y="30412"/>
                    <a:pt x="414856" y="-210"/>
                  </a:cubicBezTo>
                  <a:close/>
                </a:path>
              </a:pathLst>
            </a:custGeom>
            <a:solidFill>
              <a:srgbClr val="00065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 34">
              <a:extLst>
                <a:ext uri="{FF2B5EF4-FFF2-40B4-BE49-F238E27FC236}">
                  <a16:creationId xmlns:a16="http://schemas.microsoft.com/office/drawing/2014/main" id="{A87F1124-B33E-C3B4-B2E6-BCF8E3C3CB1F}"/>
                </a:ext>
              </a:extLst>
            </p:cNvPr>
            <p:cNvSpPr/>
            <p:nvPr/>
          </p:nvSpPr>
          <p:spPr>
            <a:xfrm>
              <a:off x="5999255" y="5433496"/>
              <a:ext cx="483023" cy="22802"/>
            </a:xfrm>
            <a:custGeom>
              <a:avLst/>
              <a:gdLst>
                <a:gd name="connsiteX0" fmla="*/ 426615 w 426615"/>
                <a:gd name="connsiteY0" fmla="*/ 0 h 20139"/>
                <a:gd name="connsiteX1" fmla="*/ 0 w 426615"/>
                <a:gd name="connsiteY1" fmla="*/ 0 h 20139"/>
                <a:gd name="connsiteX2" fmla="*/ 0 w 426615"/>
                <a:gd name="connsiteY2" fmla="*/ 20140 h 20139"/>
                <a:gd name="connsiteX3" fmla="*/ 426615 w 426615"/>
                <a:gd name="connsiteY3" fmla="*/ 20140 h 20139"/>
                <a:gd name="connsiteX4" fmla="*/ 426615 w 426615"/>
                <a:gd name="connsiteY4" fmla="*/ 0 h 20139"/>
                <a:gd name="connsiteX5" fmla="*/ 426615 w 426615"/>
                <a:gd name="connsiteY5" fmla="*/ 0 h 2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6615" h="20139">
                  <a:moveTo>
                    <a:pt x="426615" y="0"/>
                  </a:moveTo>
                  <a:lnTo>
                    <a:pt x="0" y="0"/>
                  </a:lnTo>
                  <a:lnTo>
                    <a:pt x="0" y="20140"/>
                  </a:lnTo>
                  <a:lnTo>
                    <a:pt x="426615" y="20140"/>
                  </a:lnTo>
                  <a:lnTo>
                    <a:pt x="426615" y="0"/>
                  </a:lnTo>
                  <a:lnTo>
                    <a:pt x="426615" y="0"/>
                  </a:ln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 35">
              <a:extLst>
                <a:ext uri="{FF2B5EF4-FFF2-40B4-BE49-F238E27FC236}">
                  <a16:creationId xmlns:a16="http://schemas.microsoft.com/office/drawing/2014/main" id="{51067588-8E97-509D-F0B5-D1D412A1EEA2}"/>
                </a:ext>
              </a:extLst>
            </p:cNvPr>
            <p:cNvSpPr/>
            <p:nvPr/>
          </p:nvSpPr>
          <p:spPr>
            <a:xfrm>
              <a:off x="6140242" y="3782441"/>
              <a:ext cx="395626" cy="1526181"/>
            </a:xfrm>
            <a:custGeom>
              <a:avLst/>
              <a:gdLst>
                <a:gd name="connsiteX0" fmla="*/ 348910 w 349424"/>
                <a:gd name="connsiteY0" fmla="*/ -210 h 1347952"/>
                <a:gd name="connsiteX1" fmla="*/ 17656 w 349424"/>
                <a:gd name="connsiteY1" fmla="*/ -210 h 1347952"/>
                <a:gd name="connsiteX2" fmla="*/ -514 w 349424"/>
                <a:gd name="connsiteY2" fmla="*/ 1347742 h 1347952"/>
                <a:gd name="connsiteX3" fmla="*/ 305200 w 349424"/>
                <a:gd name="connsiteY3" fmla="*/ 1347742 h 1347952"/>
                <a:gd name="connsiteX4" fmla="*/ 346369 w 349424"/>
                <a:gd name="connsiteY4" fmla="*/ 202583 h 1347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424" h="1347952">
                  <a:moveTo>
                    <a:pt x="348910" y="-210"/>
                  </a:moveTo>
                  <a:lnTo>
                    <a:pt x="17656" y="-210"/>
                  </a:lnTo>
                  <a:lnTo>
                    <a:pt x="-514" y="1347742"/>
                  </a:lnTo>
                  <a:lnTo>
                    <a:pt x="305200" y="1347742"/>
                  </a:lnTo>
                  <a:cubicBezTo>
                    <a:pt x="305200" y="1347742"/>
                    <a:pt x="303548" y="602833"/>
                    <a:pt x="346369" y="202583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 36">
              <a:extLst>
                <a:ext uri="{FF2B5EF4-FFF2-40B4-BE49-F238E27FC236}">
                  <a16:creationId xmlns:a16="http://schemas.microsoft.com/office/drawing/2014/main" id="{7CE7D50B-B195-D9EC-9BED-C69520497FDB}"/>
                </a:ext>
              </a:extLst>
            </p:cNvPr>
            <p:cNvSpPr/>
            <p:nvPr/>
          </p:nvSpPr>
          <p:spPr>
            <a:xfrm>
              <a:off x="6583298" y="5296537"/>
              <a:ext cx="484866" cy="136671"/>
            </a:xfrm>
            <a:custGeom>
              <a:avLst/>
              <a:gdLst>
                <a:gd name="connsiteX0" fmla="*/ 12168 w 428243"/>
                <a:gd name="connsiteY0" fmla="*/ -210 h 120710"/>
                <a:gd name="connsiteX1" fmla="*/ 276460 w 428243"/>
                <a:gd name="connsiteY1" fmla="*/ -210 h 120710"/>
                <a:gd name="connsiteX2" fmla="*/ 427729 w 428243"/>
                <a:gd name="connsiteY2" fmla="*/ 107794 h 120710"/>
                <a:gd name="connsiteX3" fmla="*/ 427729 w 428243"/>
                <a:gd name="connsiteY3" fmla="*/ 120500 h 120710"/>
                <a:gd name="connsiteX4" fmla="*/ 2067 w 428243"/>
                <a:gd name="connsiteY4" fmla="*/ 120500 h 120710"/>
                <a:gd name="connsiteX5" fmla="*/ 12295 w 428243"/>
                <a:gd name="connsiteY5" fmla="*/ -210 h 120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8243" h="120710">
                  <a:moveTo>
                    <a:pt x="12168" y="-210"/>
                  </a:moveTo>
                  <a:lnTo>
                    <a:pt x="276460" y="-210"/>
                  </a:lnTo>
                  <a:cubicBezTo>
                    <a:pt x="276460" y="-210"/>
                    <a:pt x="412354" y="76981"/>
                    <a:pt x="427729" y="107794"/>
                  </a:cubicBezTo>
                  <a:lnTo>
                    <a:pt x="427729" y="120500"/>
                  </a:lnTo>
                  <a:lnTo>
                    <a:pt x="2067" y="120500"/>
                  </a:lnTo>
                  <a:cubicBezTo>
                    <a:pt x="2067" y="120500"/>
                    <a:pt x="-8226" y="30412"/>
                    <a:pt x="12295" y="-210"/>
                  </a:cubicBezTo>
                  <a:close/>
                </a:path>
              </a:pathLst>
            </a:custGeom>
            <a:solidFill>
              <a:srgbClr val="00065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 37">
              <a:extLst>
                <a:ext uri="{FF2B5EF4-FFF2-40B4-BE49-F238E27FC236}">
                  <a16:creationId xmlns:a16="http://schemas.microsoft.com/office/drawing/2014/main" id="{09209F44-476E-DBCE-39AD-2066EB288C0F}"/>
                </a:ext>
              </a:extLst>
            </p:cNvPr>
            <p:cNvSpPr/>
            <p:nvPr/>
          </p:nvSpPr>
          <p:spPr>
            <a:xfrm>
              <a:off x="6585142" y="5433496"/>
              <a:ext cx="483023" cy="22802"/>
            </a:xfrm>
            <a:custGeom>
              <a:avLst/>
              <a:gdLst>
                <a:gd name="connsiteX0" fmla="*/ 0 w 426615"/>
                <a:gd name="connsiteY0" fmla="*/ 0 h 20139"/>
                <a:gd name="connsiteX1" fmla="*/ 426615 w 426615"/>
                <a:gd name="connsiteY1" fmla="*/ 0 h 20139"/>
                <a:gd name="connsiteX2" fmla="*/ 426615 w 426615"/>
                <a:gd name="connsiteY2" fmla="*/ 20140 h 20139"/>
                <a:gd name="connsiteX3" fmla="*/ 0 w 426615"/>
                <a:gd name="connsiteY3" fmla="*/ 20140 h 20139"/>
                <a:gd name="connsiteX4" fmla="*/ 0 w 426615"/>
                <a:gd name="connsiteY4" fmla="*/ 0 h 20139"/>
                <a:gd name="connsiteX5" fmla="*/ 0 w 426615"/>
                <a:gd name="connsiteY5" fmla="*/ 0 h 2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6615" h="20139">
                  <a:moveTo>
                    <a:pt x="0" y="0"/>
                  </a:moveTo>
                  <a:lnTo>
                    <a:pt x="426615" y="0"/>
                  </a:lnTo>
                  <a:lnTo>
                    <a:pt x="426615" y="20140"/>
                  </a:lnTo>
                  <a:lnTo>
                    <a:pt x="0" y="2014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 38">
              <a:extLst>
                <a:ext uri="{FF2B5EF4-FFF2-40B4-BE49-F238E27FC236}">
                  <a16:creationId xmlns:a16="http://schemas.microsoft.com/office/drawing/2014/main" id="{FAEC1A79-A865-5011-966B-151E5CA2C9FF}"/>
                </a:ext>
              </a:extLst>
            </p:cNvPr>
            <p:cNvSpPr/>
            <p:nvPr/>
          </p:nvSpPr>
          <p:spPr>
            <a:xfrm>
              <a:off x="6531551" y="3782441"/>
              <a:ext cx="395698" cy="1526181"/>
            </a:xfrm>
            <a:custGeom>
              <a:avLst/>
              <a:gdLst>
                <a:gd name="connsiteX0" fmla="*/ -514 w 349488"/>
                <a:gd name="connsiteY0" fmla="*/ -210 h 1347952"/>
                <a:gd name="connsiteX1" fmla="*/ 330803 w 349488"/>
                <a:gd name="connsiteY1" fmla="*/ -210 h 1347952"/>
                <a:gd name="connsiteX2" fmla="*/ 348974 w 349488"/>
                <a:gd name="connsiteY2" fmla="*/ 1347742 h 1347952"/>
                <a:gd name="connsiteX3" fmla="*/ 43259 w 349488"/>
                <a:gd name="connsiteY3" fmla="*/ 1347742 h 1347952"/>
                <a:gd name="connsiteX4" fmla="*/ 2408 w 349488"/>
                <a:gd name="connsiteY4" fmla="*/ 202583 h 1347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488" h="1347952">
                  <a:moveTo>
                    <a:pt x="-514" y="-210"/>
                  </a:moveTo>
                  <a:lnTo>
                    <a:pt x="330803" y="-210"/>
                  </a:lnTo>
                  <a:lnTo>
                    <a:pt x="348974" y="1347742"/>
                  </a:lnTo>
                  <a:lnTo>
                    <a:pt x="43259" y="1347742"/>
                  </a:lnTo>
                  <a:cubicBezTo>
                    <a:pt x="43259" y="1347742"/>
                    <a:pt x="44911" y="602833"/>
                    <a:pt x="2408" y="202583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 39">
              <a:extLst>
                <a:ext uri="{FF2B5EF4-FFF2-40B4-BE49-F238E27FC236}">
                  <a16:creationId xmlns:a16="http://schemas.microsoft.com/office/drawing/2014/main" id="{90ACB333-5BB9-E54D-D381-A103476358B6}"/>
                </a:ext>
              </a:extLst>
            </p:cNvPr>
            <p:cNvSpPr/>
            <p:nvPr/>
          </p:nvSpPr>
          <p:spPr>
            <a:xfrm>
              <a:off x="6096076" y="2836102"/>
              <a:ext cx="877570" cy="1154292"/>
            </a:xfrm>
            <a:custGeom>
              <a:avLst/>
              <a:gdLst>
                <a:gd name="connsiteX0" fmla="*/ 259966 w 775086"/>
                <a:gd name="connsiteY0" fmla="*/ -210 h 1019493"/>
                <a:gd name="connsiteX1" fmla="*/ 380676 w 775086"/>
                <a:gd name="connsiteY1" fmla="*/ 81873 h 1019493"/>
                <a:gd name="connsiteX2" fmla="*/ 383217 w 775086"/>
                <a:gd name="connsiteY2" fmla="*/ 81873 h 1019493"/>
                <a:gd name="connsiteX3" fmla="*/ 501132 w 775086"/>
                <a:gd name="connsiteY3" fmla="*/ -210 h 1019493"/>
                <a:gd name="connsiteX4" fmla="*/ 703735 w 775086"/>
                <a:gd name="connsiteY4" fmla="*/ 40832 h 1019493"/>
                <a:gd name="connsiteX5" fmla="*/ 774573 w 775086"/>
                <a:gd name="connsiteY5" fmla="*/ 943109 h 1019493"/>
                <a:gd name="connsiteX6" fmla="*/ -514 w 775086"/>
                <a:gd name="connsiteY6" fmla="*/ 924050 h 1019493"/>
                <a:gd name="connsiteX7" fmla="*/ 66893 w 775086"/>
                <a:gd name="connsiteY7" fmla="*/ 30603 h 1019493"/>
                <a:gd name="connsiteX8" fmla="*/ 260029 w 775086"/>
                <a:gd name="connsiteY8" fmla="*/ -210 h 1019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75086" h="1019493">
                  <a:moveTo>
                    <a:pt x="259966" y="-210"/>
                  </a:moveTo>
                  <a:cubicBezTo>
                    <a:pt x="277882" y="79268"/>
                    <a:pt x="372734" y="81873"/>
                    <a:pt x="380676" y="81873"/>
                  </a:cubicBezTo>
                  <a:lnTo>
                    <a:pt x="383217" y="81873"/>
                  </a:lnTo>
                  <a:cubicBezTo>
                    <a:pt x="390904" y="81873"/>
                    <a:pt x="480611" y="79268"/>
                    <a:pt x="501132" y="-210"/>
                  </a:cubicBezTo>
                  <a:lnTo>
                    <a:pt x="703735" y="40832"/>
                  </a:lnTo>
                  <a:lnTo>
                    <a:pt x="774573" y="943109"/>
                  </a:lnTo>
                  <a:cubicBezTo>
                    <a:pt x="615743" y="1025700"/>
                    <a:pt x="132394" y="1069347"/>
                    <a:pt x="-514" y="924050"/>
                  </a:cubicBezTo>
                  <a:lnTo>
                    <a:pt x="66893" y="30603"/>
                  </a:lnTo>
                  <a:lnTo>
                    <a:pt x="260029" y="-210"/>
                  </a:lnTo>
                  <a:close/>
                </a:path>
              </a:pathLst>
            </a:custGeom>
            <a:solidFill>
              <a:srgbClr val="00065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 40">
              <a:extLst>
                <a:ext uri="{FF2B5EF4-FFF2-40B4-BE49-F238E27FC236}">
                  <a16:creationId xmlns:a16="http://schemas.microsoft.com/office/drawing/2014/main" id="{7D9B2530-E219-18FB-AB87-D90991387DAA}"/>
                </a:ext>
              </a:extLst>
            </p:cNvPr>
            <p:cNvSpPr/>
            <p:nvPr/>
          </p:nvSpPr>
          <p:spPr>
            <a:xfrm>
              <a:off x="5368249" y="3005839"/>
              <a:ext cx="792980" cy="422613"/>
            </a:xfrm>
            <a:custGeom>
              <a:avLst/>
              <a:gdLst>
                <a:gd name="connsiteX0" fmla="*/ 698477 w 700375"/>
                <a:gd name="connsiteY0" fmla="*/ 67344 h 373260"/>
                <a:gd name="connsiteX1" fmla="*/ 582976 w 700375"/>
                <a:gd name="connsiteY1" fmla="*/ 238880 h 373260"/>
                <a:gd name="connsiteX2" fmla="*/ 51470 w 700375"/>
                <a:gd name="connsiteY2" fmla="*/ 369755 h 373260"/>
                <a:gd name="connsiteX3" fmla="*/ 51470 w 700375"/>
                <a:gd name="connsiteY3" fmla="*/ 261751 h 373260"/>
                <a:gd name="connsiteX4" fmla="*/ 505786 w 700375"/>
                <a:gd name="connsiteY4" fmla="*/ 161816 h 373260"/>
                <a:gd name="connsiteX5" fmla="*/ 580181 w 700375"/>
                <a:gd name="connsiteY5" fmla="*/ 74714 h 373260"/>
                <a:gd name="connsiteX6" fmla="*/ 587932 w 700375"/>
                <a:gd name="connsiteY6" fmla="*/ 56798 h 373260"/>
                <a:gd name="connsiteX7" fmla="*/ 587932 w 700375"/>
                <a:gd name="connsiteY7" fmla="*/ 59339 h 373260"/>
                <a:gd name="connsiteX8" fmla="*/ 590474 w 700375"/>
                <a:gd name="connsiteY8" fmla="*/ 51652 h 373260"/>
                <a:gd name="connsiteX9" fmla="*/ 593015 w 700375"/>
                <a:gd name="connsiteY9" fmla="*/ 38945 h 373260"/>
                <a:gd name="connsiteX10" fmla="*/ 698287 w 700375"/>
                <a:gd name="connsiteY10" fmla="*/ 67154 h 37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00375" h="373260">
                  <a:moveTo>
                    <a:pt x="698477" y="67344"/>
                  </a:moveTo>
                  <a:cubicBezTo>
                    <a:pt x="683039" y="133989"/>
                    <a:pt x="634310" y="195488"/>
                    <a:pt x="582976" y="238880"/>
                  </a:cubicBezTo>
                  <a:cubicBezTo>
                    <a:pt x="439014" y="362068"/>
                    <a:pt x="233933" y="382525"/>
                    <a:pt x="51470" y="369755"/>
                  </a:cubicBezTo>
                  <a:cubicBezTo>
                    <a:pt x="-17843" y="364609"/>
                    <a:pt x="-17843" y="256986"/>
                    <a:pt x="51470" y="261751"/>
                  </a:cubicBezTo>
                  <a:cubicBezTo>
                    <a:pt x="202930" y="274457"/>
                    <a:pt x="385139" y="264356"/>
                    <a:pt x="505786" y="161816"/>
                  </a:cubicBezTo>
                  <a:cubicBezTo>
                    <a:pt x="541681" y="131066"/>
                    <a:pt x="559660" y="110609"/>
                    <a:pt x="580181" y="74714"/>
                  </a:cubicBezTo>
                  <a:cubicBezTo>
                    <a:pt x="582284" y="68545"/>
                    <a:pt x="584876" y="62554"/>
                    <a:pt x="587932" y="56798"/>
                  </a:cubicBezTo>
                  <a:cubicBezTo>
                    <a:pt x="593015" y="46506"/>
                    <a:pt x="582786" y="69504"/>
                    <a:pt x="587932" y="59339"/>
                  </a:cubicBezTo>
                  <a:cubicBezTo>
                    <a:pt x="587932" y="56798"/>
                    <a:pt x="590474" y="54193"/>
                    <a:pt x="590474" y="51652"/>
                  </a:cubicBezTo>
                  <a:cubicBezTo>
                    <a:pt x="591077" y="47370"/>
                    <a:pt x="591928" y="43132"/>
                    <a:pt x="593015" y="38945"/>
                  </a:cubicBezTo>
                  <a:cubicBezTo>
                    <a:pt x="610994" y="-30241"/>
                    <a:pt x="713725" y="509"/>
                    <a:pt x="698287" y="67154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 41">
              <a:extLst>
                <a:ext uri="{FF2B5EF4-FFF2-40B4-BE49-F238E27FC236}">
                  <a16:creationId xmlns:a16="http://schemas.microsoft.com/office/drawing/2014/main" id="{1687F458-986C-0986-B77C-4B56FB841DE7}"/>
                </a:ext>
              </a:extLst>
            </p:cNvPr>
            <p:cNvSpPr/>
            <p:nvPr/>
          </p:nvSpPr>
          <p:spPr>
            <a:xfrm>
              <a:off x="5555003" y="2870989"/>
              <a:ext cx="617392" cy="613005"/>
            </a:xfrm>
            <a:custGeom>
              <a:avLst/>
              <a:gdLst>
                <a:gd name="connsiteX0" fmla="*/ 14860 w 545292"/>
                <a:gd name="connsiteY0" fmla="*/ 541208 h 541418"/>
                <a:gd name="connsiteX1" fmla="*/ 534550 w 545292"/>
                <a:gd name="connsiteY1" fmla="*/ 283332 h 541418"/>
                <a:gd name="connsiteX2" fmla="*/ 544778 w 545292"/>
                <a:gd name="connsiteY2" fmla="*/ -210 h 541418"/>
                <a:gd name="connsiteX3" fmla="*/ 544778 w 545292"/>
                <a:gd name="connsiteY3" fmla="*/ -210 h 541418"/>
                <a:gd name="connsiteX4" fmla="*/ 356661 w 545292"/>
                <a:gd name="connsiteY4" fmla="*/ 143562 h 541418"/>
                <a:gd name="connsiteX5" fmla="*/ -514 w 545292"/>
                <a:gd name="connsiteY5" fmla="*/ 353662 h 541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5292" h="541418">
                  <a:moveTo>
                    <a:pt x="14860" y="541208"/>
                  </a:moveTo>
                  <a:cubicBezTo>
                    <a:pt x="14860" y="541208"/>
                    <a:pt x="369367" y="543812"/>
                    <a:pt x="534550" y="283332"/>
                  </a:cubicBezTo>
                  <a:lnTo>
                    <a:pt x="544778" y="-210"/>
                  </a:lnTo>
                  <a:lnTo>
                    <a:pt x="544778" y="-210"/>
                  </a:lnTo>
                  <a:cubicBezTo>
                    <a:pt x="544778" y="-210"/>
                    <a:pt x="471018" y="3793"/>
                    <a:pt x="356661" y="143562"/>
                  </a:cubicBezTo>
                  <a:cubicBezTo>
                    <a:pt x="285251" y="230855"/>
                    <a:pt x="140653" y="363890"/>
                    <a:pt x="-514" y="353662"/>
                  </a:cubicBez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 42">
              <a:extLst>
                <a:ext uri="{FF2B5EF4-FFF2-40B4-BE49-F238E27FC236}">
                  <a16:creationId xmlns:a16="http://schemas.microsoft.com/office/drawing/2014/main" id="{AD7BE7CC-5547-2F56-FCD8-90CCEE8E1F9D}"/>
                </a:ext>
              </a:extLst>
            </p:cNvPr>
            <p:cNvSpPr/>
            <p:nvPr/>
          </p:nvSpPr>
          <p:spPr>
            <a:xfrm>
              <a:off x="4621893" y="1105990"/>
              <a:ext cx="1140920" cy="1998720"/>
            </a:xfrm>
            <a:custGeom>
              <a:avLst/>
              <a:gdLst>
                <a:gd name="connsiteX0" fmla="*/ 596690 w 1007682"/>
                <a:gd name="connsiteY0" fmla="*/ 1042540 h 1765307"/>
                <a:gd name="connsiteX1" fmla="*/ 596690 w 1007682"/>
                <a:gd name="connsiteY1" fmla="*/ 1209120 h 1765307"/>
                <a:gd name="connsiteX2" fmla="*/ 479747 w 1007682"/>
                <a:gd name="connsiteY2" fmla="*/ 1332124 h 1765307"/>
                <a:gd name="connsiteX3" fmla="*/ 473502 w 1007682"/>
                <a:gd name="connsiteY3" fmla="*/ 1332118 h 1765307"/>
                <a:gd name="connsiteX4" fmla="*/ 350314 w 1007682"/>
                <a:gd name="connsiteY4" fmla="*/ 1209120 h 1765307"/>
                <a:gd name="connsiteX5" fmla="*/ 350314 w 1007682"/>
                <a:gd name="connsiteY5" fmla="*/ 945209 h 1765307"/>
                <a:gd name="connsiteX6" fmla="*/ 352855 w 1007682"/>
                <a:gd name="connsiteY6" fmla="*/ 940063 h 1765307"/>
                <a:gd name="connsiteX7" fmla="*/ 350314 w 1007682"/>
                <a:gd name="connsiteY7" fmla="*/ 934981 h 1765307"/>
                <a:gd name="connsiteX8" fmla="*/ 473502 w 1007682"/>
                <a:gd name="connsiteY8" fmla="*/ 811983 h 1765307"/>
                <a:gd name="connsiteX9" fmla="*/ 760983 w 1007682"/>
                <a:gd name="connsiteY9" fmla="*/ 530157 h 1765307"/>
                <a:gd name="connsiteX10" fmla="*/ 473502 w 1007682"/>
                <a:gd name="connsiteY10" fmla="*/ 245725 h 1765307"/>
                <a:gd name="connsiteX11" fmla="*/ 229667 w 1007682"/>
                <a:gd name="connsiteY11" fmla="*/ 384097 h 1765307"/>
                <a:gd name="connsiteX12" fmla="*/ 62134 w 1007682"/>
                <a:gd name="connsiteY12" fmla="*/ 430888 h 1765307"/>
                <a:gd name="connsiteX13" fmla="*/ 15343 w 1007682"/>
                <a:gd name="connsiteY13" fmla="*/ 263355 h 1765307"/>
                <a:gd name="connsiteX14" fmla="*/ 16645 w 1007682"/>
                <a:gd name="connsiteY14" fmla="*/ 261100 h 1765307"/>
                <a:gd name="connsiteX15" fmla="*/ 473502 w 1007682"/>
                <a:gd name="connsiteY15" fmla="*/ -206 h 1765307"/>
                <a:gd name="connsiteX16" fmla="*/ 1007168 w 1007682"/>
                <a:gd name="connsiteY16" fmla="*/ 530157 h 1765307"/>
                <a:gd name="connsiteX17" fmla="*/ 596499 w 1007682"/>
                <a:gd name="connsiteY17" fmla="*/ 1042540 h 1765307"/>
                <a:gd name="connsiteX18" fmla="*/ 596690 w 1007682"/>
                <a:gd name="connsiteY18" fmla="*/ 1595965 h 1765307"/>
                <a:gd name="connsiteX19" fmla="*/ 596690 w 1007682"/>
                <a:gd name="connsiteY19" fmla="*/ 1642089 h 1765307"/>
                <a:gd name="connsiteX20" fmla="*/ 473502 w 1007682"/>
                <a:gd name="connsiteY20" fmla="*/ 1765086 h 1765307"/>
                <a:gd name="connsiteX21" fmla="*/ 350314 w 1007682"/>
                <a:gd name="connsiteY21" fmla="*/ 1645221 h 1765307"/>
                <a:gd name="connsiteX22" fmla="*/ 350314 w 1007682"/>
                <a:gd name="connsiteY22" fmla="*/ 1642089 h 1765307"/>
                <a:gd name="connsiteX23" fmla="*/ 350314 w 1007682"/>
                <a:gd name="connsiteY23" fmla="*/ 1595965 h 1765307"/>
                <a:gd name="connsiteX24" fmla="*/ 473502 w 1007682"/>
                <a:gd name="connsiteY24" fmla="*/ 1473031 h 1765307"/>
                <a:gd name="connsiteX25" fmla="*/ 596690 w 1007682"/>
                <a:gd name="connsiteY25" fmla="*/ 1592769 h 1765307"/>
                <a:gd name="connsiteX26" fmla="*/ 596690 w 1007682"/>
                <a:gd name="connsiteY26" fmla="*/ 1595965 h 1765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07682" h="1765307">
                  <a:moveTo>
                    <a:pt x="596690" y="1042540"/>
                  </a:moveTo>
                  <a:lnTo>
                    <a:pt x="596690" y="1209120"/>
                  </a:lnTo>
                  <a:cubicBezTo>
                    <a:pt x="598361" y="1275377"/>
                    <a:pt x="546004" y="1330447"/>
                    <a:pt x="479747" y="1332124"/>
                  </a:cubicBezTo>
                  <a:cubicBezTo>
                    <a:pt x="477663" y="1332175"/>
                    <a:pt x="475579" y="1332175"/>
                    <a:pt x="473502" y="1332118"/>
                  </a:cubicBezTo>
                  <a:cubicBezTo>
                    <a:pt x="405529" y="1332156"/>
                    <a:pt x="350384" y="1277093"/>
                    <a:pt x="350314" y="1209120"/>
                  </a:cubicBezTo>
                  <a:lnTo>
                    <a:pt x="350314" y="945209"/>
                  </a:lnTo>
                  <a:cubicBezTo>
                    <a:pt x="350314" y="942668"/>
                    <a:pt x="352855" y="942668"/>
                    <a:pt x="352855" y="940063"/>
                  </a:cubicBezTo>
                  <a:cubicBezTo>
                    <a:pt x="350314" y="937522"/>
                    <a:pt x="350314" y="937522"/>
                    <a:pt x="350314" y="934981"/>
                  </a:cubicBezTo>
                  <a:cubicBezTo>
                    <a:pt x="350314" y="870941"/>
                    <a:pt x="406793" y="811983"/>
                    <a:pt x="473502" y="811983"/>
                  </a:cubicBezTo>
                  <a:cubicBezTo>
                    <a:pt x="632649" y="811983"/>
                    <a:pt x="760983" y="686445"/>
                    <a:pt x="760983" y="530157"/>
                  </a:cubicBezTo>
                  <a:cubicBezTo>
                    <a:pt x="760983" y="368723"/>
                    <a:pt x="632649" y="245725"/>
                    <a:pt x="473502" y="245725"/>
                  </a:cubicBezTo>
                  <a:cubicBezTo>
                    <a:pt x="373636" y="246094"/>
                    <a:pt x="281198" y="298552"/>
                    <a:pt x="229667" y="384097"/>
                  </a:cubicBezTo>
                  <a:cubicBezTo>
                    <a:pt x="196326" y="443283"/>
                    <a:pt x="121320" y="464230"/>
                    <a:pt x="62134" y="430888"/>
                  </a:cubicBezTo>
                  <a:cubicBezTo>
                    <a:pt x="2948" y="397547"/>
                    <a:pt x="-17999" y="322541"/>
                    <a:pt x="15343" y="263355"/>
                  </a:cubicBezTo>
                  <a:cubicBezTo>
                    <a:pt x="15769" y="262599"/>
                    <a:pt x="16201" y="261850"/>
                    <a:pt x="16645" y="261100"/>
                  </a:cubicBezTo>
                  <a:cubicBezTo>
                    <a:pt x="111346" y="98668"/>
                    <a:pt x="285480" y="-930"/>
                    <a:pt x="473502" y="-206"/>
                  </a:cubicBezTo>
                  <a:cubicBezTo>
                    <a:pt x="766129" y="-206"/>
                    <a:pt x="1007168" y="235497"/>
                    <a:pt x="1007168" y="530157"/>
                  </a:cubicBezTo>
                  <a:cubicBezTo>
                    <a:pt x="1007168" y="778693"/>
                    <a:pt x="832647" y="988792"/>
                    <a:pt x="596499" y="1042540"/>
                  </a:cubicBezTo>
                  <a:close/>
                  <a:moveTo>
                    <a:pt x="596690" y="1595965"/>
                  </a:moveTo>
                  <a:lnTo>
                    <a:pt x="596690" y="1642089"/>
                  </a:lnTo>
                  <a:cubicBezTo>
                    <a:pt x="596690" y="1713816"/>
                    <a:pt x="545356" y="1765086"/>
                    <a:pt x="473502" y="1765086"/>
                  </a:cubicBezTo>
                  <a:cubicBezTo>
                    <a:pt x="406387" y="1766001"/>
                    <a:pt x="351235" y="1712336"/>
                    <a:pt x="350314" y="1645221"/>
                  </a:cubicBezTo>
                  <a:cubicBezTo>
                    <a:pt x="350301" y="1644179"/>
                    <a:pt x="350301" y="1643131"/>
                    <a:pt x="350314" y="1642089"/>
                  </a:cubicBezTo>
                  <a:lnTo>
                    <a:pt x="350314" y="1595965"/>
                  </a:lnTo>
                  <a:cubicBezTo>
                    <a:pt x="351305" y="1528386"/>
                    <a:pt x="405923" y="1473882"/>
                    <a:pt x="473502" y="1473031"/>
                  </a:cubicBezTo>
                  <a:cubicBezTo>
                    <a:pt x="540585" y="1472078"/>
                    <a:pt x="595737" y="1525686"/>
                    <a:pt x="596690" y="1592769"/>
                  </a:cubicBezTo>
                  <a:cubicBezTo>
                    <a:pt x="596703" y="1593830"/>
                    <a:pt x="596703" y="1594897"/>
                    <a:pt x="596690" y="1595965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 43">
              <a:extLst>
                <a:ext uri="{FF2B5EF4-FFF2-40B4-BE49-F238E27FC236}">
                  <a16:creationId xmlns:a16="http://schemas.microsoft.com/office/drawing/2014/main" id="{53C9D09D-5415-2BDF-5021-10C6C97BFC7D}"/>
                </a:ext>
              </a:extLst>
            </p:cNvPr>
            <p:cNvSpPr/>
            <p:nvPr/>
          </p:nvSpPr>
          <p:spPr>
            <a:xfrm>
              <a:off x="6447837" y="2687348"/>
              <a:ext cx="549892" cy="723736"/>
            </a:xfrm>
            <a:custGeom>
              <a:avLst/>
              <a:gdLst>
                <a:gd name="connsiteX0" fmla="*/ 104936 w 485675"/>
                <a:gd name="connsiteY0" fmla="*/ 49599 h 639217"/>
                <a:gd name="connsiteX1" fmla="*/ 228188 w 485675"/>
                <a:gd name="connsiteY1" fmla="*/ 397943 h 639217"/>
                <a:gd name="connsiteX2" fmla="*/ 282126 w 485675"/>
                <a:gd name="connsiteY2" fmla="*/ 492733 h 639217"/>
                <a:gd name="connsiteX3" fmla="*/ 305252 w 485675"/>
                <a:gd name="connsiteY3" fmla="*/ 523482 h 639217"/>
                <a:gd name="connsiteX4" fmla="*/ 315544 w 485675"/>
                <a:gd name="connsiteY4" fmla="*/ 533711 h 639217"/>
                <a:gd name="connsiteX5" fmla="*/ 294959 w 485675"/>
                <a:gd name="connsiteY5" fmla="*/ 533711 h 639217"/>
                <a:gd name="connsiteX6" fmla="*/ 310398 w 485675"/>
                <a:gd name="connsiteY6" fmla="*/ 513253 h 639217"/>
                <a:gd name="connsiteX7" fmla="*/ 341210 w 485675"/>
                <a:gd name="connsiteY7" fmla="*/ 456837 h 639217"/>
                <a:gd name="connsiteX8" fmla="*/ 379711 w 485675"/>
                <a:gd name="connsiteY8" fmla="*/ 308300 h 639217"/>
                <a:gd name="connsiteX9" fmla="*/ 484982 w 485675"/>
                <a:gd name="connsiteY9" fmla="*/ 308300 h 639217"/>
                <a:gd name="connsiteX10" fmla="*/ 364272 w 485675"/>
                <a:gd name="connsiteY10" fmla="*/ 613252 h 639217"/>
                <a:gd name="connsiteX11" fmla="*/ 179395 w 485675"/>
                <a:gd name="connsiteY11" fmla="*/ 528692 h 639217"/>
                <a:gd name="connsiteX12" fmla="*/ 53602 w 485675"/>
                <a:gd name="connsiteY12" fmla="*/ 267449 h 639217"/>
                <a:gd name="connsiteX13" fmla="*/ -336 w 485675"/>
                <a:gd name="connsiteY13" fmla="*/ 49726 h 639217"/>
                <a:gd name="connsiteX14" fmla="*/ 104936 w 485675"/>
                <a:gd name="connsiteY14" fmla="*/ 49726 h 639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85675" h="639217">
                  <a:moveTo>
                    <a:pt x="104936" y="49599"/>
                  </a:moveTo>
                  <a:cubicBezTo>
                    <a:pt x="115228" y="172533"/>
                    <a:pt x="174312" y="290384"/>
                    <a:pt x="228188" y="397943"/>
                  </a:cubicBezTo>
                  <a:cubicBezTo>
                    <a:pt x="246167" y="431234"/>
                    <a:pt x="261605" y="461983"/>
                    <a:pt x="282126" y="492733"/>
                  </a:cubicBezTo>
                  <a:lnTo>
                    <a:pt x="305252" y="523482"/>
                  </a:lnTo>
                  <a:cubicBezTo>
                    <a:pt x="307793" y="528565"/>
                    <a:pt x="320626" y="536188"/>
                    <a:pt x="315544" y="533711"/>
                  </a:cubicBezTo>
                  <a:cubicBezTo>
                    <a:pt x="297564" y="541398"/>
                    <a:pt x="290131" y="541398"/>
                    <a:pt x="294959" y="533711"/>
                  </a:cubicBezTo>
                  <a:cubicBezTo>
                    <a:pt x="302647" y="528565"/>
                    <a:pt x="305252" y="521004"/>
                    <a:pt x="310398" y="513253"/>
                  </a:cubicBezTo>
                  <a:cubicBezTo>
                    <a:pt x="322596" y="495566"/>
                    <a:pt x="332951" y="476659"/>
                    <a:pt x="341210" y="456837"/>
                  </a:cubicBezTo>
                  <a:cubicBezTo>
                    <a:pt x="364145" y="410497"/>
                    <a:pt x="377233" y="359932"/>
                    <a:pt x="379711" y="308300"/>
                  </a:cubicBezTo>
                  <a:cubicBezTo>
                    <a:pt x="382252" y="241719"/>
                    <a:pt x="490129" y="241719"/>
                    <a:pt x="484982" y="308300"/>
                  </a:cubicBezTo>
                  <a:cubicBezTo>
                    <a:pt x="479837" y="410777"/>
                    <a:pt x="441336" y="541398"/>
                    <a:pt x="364272" y="613252"/>
                  </a:cubicBezTo>
                  <a:cubicBezTo>
                    <a:pt x="287208" y="685107"/>
                    <a:pt x="218149" y="590190"/>
                    <a:pt x="179395" y="528692"/>
                  </a:cubicBezTo>
                  <a:cubicBezTo>
                    <a:pt x="128061" y="446736"/>
                    <a:pt x="92102" y="357156"/>
                    <a:pt x="53602" y="267449"/>
                  </a:cubicBezTo>
                  <a:cubicBezTo>
                    <a:pt x="25185" y="197869"/>
                    <a:pt x="7014" y="124528"/>
                    <a:pt x="-336" y="49726"/>
                  </a:cubicBezTo>
                  <a:cubicBezTo>
                    <a:pt x="-5419" y="-16855"/>
                    <a:pt x="99853" y="-16855"/>
                    <a:pt x="104936" y="49726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 44">
              <a:extLst>
                <a:ext uri="{FF2B5EF4-FFF2-40B4-BE49-F238E27FC236}">
                  <a16:creationId xmlns:a16="http://schemas.microsoft.com/office/drawing/2014/main" id="{C1A4882D-71EA-CCC9-1B79-9239D47959D1}"/>
                </a:ext>
              </a:extLst>
            </p:cNvPr>
            <p:cNvSpPr/>
            <p:nvPr/>
          </p:nvSpPr>
          <p:spPr>
            <a:xfrm>
              <a:off x="6450484" y="2821356"/>
              <a:ext cx="595677" cy="626971"/>
            </a:xfrm>
            <a:custGeom>
              <a:avLst/>
              <a:gdLst>
                <a:gd name="connsiteX0" fmla="*/ 391667 w 526113"/>
                <a:gd name="connsiteY0" fmla="*/ 53983 h 553753"/>
                <a:gd name="connsiteX1" fmla="*/ 525083 w 526113"/>
                <a:gd name="connsiteY1" fmla="*/ 215734 h 553753"/>
                <a:gd name="connsiteX2" fmla="*/ 273815 w 526113"/>
                <a:gd name="connsiteY2" fmla="*/ 552135 h 553753"/>
                <a:gd name="connsiteX3" fmla="*/ -514 w 526113"/>
                <a:gd name="connsiteY3" fmla="*/ 53983 h 553753"/>
                <a:gd name="connsiteX4" fmla="*/ 137540 w 526113"/>
                <a:gd name="connsiteY4" fmla="*/ -210 h 553753"/>
                <a:gd name="connsiteX5" fmla="*/ 299037 w 526113"/>
                <a:gd name="connsiteY5" fmla="*/ 364398 h 553753"/>
                <a:gd name="connsiteX6" fmla="*/ 391667 w 526113"/>
                <a:gd name="connsiteY6" fmla="*/ 53983 h 553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6113" h="553753">
                  <a:moveTo>
                    <a:pt x="391667" y="53983"/>
                  </a:moveTo>
                  <a:cubicBezTo>
                    <a:pt x="391667" y="53983"/>
                    <a:pt x="535248" y="69357"/>
                    <a:pt x="525083" y="215734"/>
                  </a:cubicBezTo>
                  <a:cubicBezTo>
                    <a:pt x="514791" y="364653"/>
                    <a:pt x="391667" y="572656"/>
                    <a:pt x="273815" y="552135"/>
                  </a:cubicBezTo>
                  <a:cubicBezTo>
                    <a:pt x="155837" y="529009"/>
                    <a:pt x="27630" y="187463"/>
                    <a:pt x="-514" y="53983"/>
                  </a:cubicBezTo>
                  <a:lnTo>
                    <a:pt x="137540" y="-210"/>
                  </a:lnTo>
                  <a:cubicBezTo>
                    <a:pt x="137540" y="-210"/>
                    <a:pt x="275975" y="356711"/>
                    <a:pt x="299037" y="364398"/>
                  </a:cubicBezTo>
                  <a:lnTo>
                    <a:pt x="391667" y="53983"/>
                  </a:ln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 45">
              <a:extLst>
                <a:ext uri="{FF2B5EF4-FFF2-40B4-BE49-F238E27FC236}">
                  <a16:creationId xmlns:a16="http://schemas.microsoft.com/office/drawing/2014/main" id="{433C3E19-D155-B15A-75E9-2581CC6DE246}"/>
                </a:ext>
              </a:extLst>
            </p:cNvPr>
            <p:cNvSpPr/>
            <p:nvPr/>
          </p:nvSpPr>
          <p:spPr>
            <a:xfrm>
              <a:off x="8263601" y="2004798"/>
              <a:ext cx="273214" cy="237195"/>
            </a:xfrm>
            <a:custGeom>
              <a:avLst/>
              <a:gdLst>
                <a:gd name="connsiteX0" fmla="*/ -513 w 241308"/>
                <a:gd name="connsiteY0" fmla="*/ 130082 h 209495"/>
                <a:gd name="connsiteX1" fmla="*/ 215813 w 241308"/>
                <a:gd name="connsiteY1" fmla="*/ 56513 h 209495"/>
                <a:gd name="connsiteX2" fmla="*/ 122294 w 241308"/>
                <a:gd name="connsiteY2" fmla="*/ 208608 h 209495"/>
                <a:gd name="connsiteX3" fmla="*/ 21470 w 241308"/>
                <a:gd name="connsiteY3" fmla="*/ 130972 h 2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308" h="209495">
                  <a:moveTo>
                    <a:pt x="-513" y="130082"/>
                  </a:moveTo>
                  <a:cubicBezTo>
                    <a:pt x="-1084" y="1177"/>
                    <a:pt x="150439" y="-48188"/>
                    <a:pt x="215813" y="56513"/>
                  </a:cubicBezTo>
                  <a:cubicBezTo>
                    <a:pt x="281187" y="161213"/>
                    <a:pt x="207046" y="216104"/>
                    <a:pt x="122294" y="208608"/>
                  </a:cubicBezTo>
                  <a:cubicBezTo>
                    <a:pt x="37543" y="201111"/>
                    <a:pt x="21470" y="130972"/>
                    <a:pt x="21470" y="130972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 46">
              <a:extLst>
                <a:ext uri="{FF2B5EF4-FFF2-40B4-BE49-F238E27FC236}">
                  <a16:creationId xmlns:a16="http://schemas.microsoft.com/office/drawing/2014/main" id="{6D160750-B9E6-49AC-3965-A0E3C81E6AF8}"/>
                </a:ext>
              </a:extLst>
            </p:cNvPr>
            <p:cNvSpPr/>
            <p:nvPr/>
          </p:nvSpPr>
          <p:spPr>
            <a:xfrm>
              <a:off x="8197929" y="2105151"/>
              <a:ext cx="197911" cy="239513"/>
            </a:xfrm>
            <a:custGeom>
              <a:avLst/>
              <a:gdLst>
                <a:gd name="connsiteX0" fmla="*/ -514 w 174799"/>
                <a:gd name="connsiteY0" fmla="*/ 24739 h 211542"/>
                <a:gd name="connsiteX1" fmla="*/ 166701 w 174799"/>
                <a:gd name="connsiteY1" fmla="*/ 92020 h 211542"/>
                <a:gd name="connsiteX2" fmla="*/ 160348 w 174799"/>
                <a:gd name="connsiteY2" fmla="*/ 211332 h 21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4799" h="211542">
                  <a:moveTo>
                    <a:pt x="-514" y="24739"/>
                  </a:moveTo>
                  <a:cubicBezTo>
                    <a:pt x="35890" y="-41461"/>
                    <a:pt x="146498" y="39161"/>
                    <a:pt x="166701" y="92020"/>
                  </a:cubicBezTo>
                  <a:cubicBezTo>
                    <a:pt x="186904" y="144878"/>
                    <a:pt x="160348" y="211332"/>
                    <a:pt x="160348" y="211332"/>
                  </a:cubicBez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 47">
              <a:extLst>
                <a:ext uri="{FF2B5EF4-FFF2-40B4-BE49-F238E27FC236}">
                  <a16:creationId xmlns:a16="http://schemas.microsoft.com/office/drawing/2014/main" id="{7378873A-F5BB-B483-A6EC-866A678CB21F}"/>
                </a:ext>
              </a:extLst>
            </p:cNvPr>
            <p:cNvSpPr/>
            <p:nvPr/>
          </p:nvSpPr>
          <p:spPr>
            <a:xfrm>
              <a:off x="7774250" y="2086348"/>
              <a:ext cx="652587" cy="579300"/>
            </a:xfrm>
            <a:custGeom>
              <a:avLst/>
              <a:gdLst>
                <a:gd name="connsiteX0" fmla="*/ -514 w 576377"/>
                <a:gd name="connsiteY0" fmla="*/ 291788 h 511649"/>
                <a:gd name="connsiteX1" fmla="*/ 355898 w 576377"/>
                <a:gd name="connsiteY1" fmla="*/ 7992 h 511649"/>
                <a:gd name="connsiteX2" fmla="*/ 556976 w 576377"/>
                <a:gd name="connsiteY2" fmla="*/ 175842 h 511649"/>
                <a:gd name="connsiteX3" fmla="*/ 473114 w 576377"/>
                <a:gd name="connsiteY3" fmla="*/ 482701 h 511649"/>
                <a:gd name="connsiteX4" fmla="*/ -514 w 576377"/>
                <a:gd name="connsiteY4" fmla="*/ 291661 h 511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6377" h="511649">
                  <a:moveTo>
                    <a:pt x="-514" y="291788"/>
                  </a:moveTo>
                  <a:cubicBezTo>
                    <a:pt x="10667" y="33341"/>
                    <a:pt x="203739" y="-24473"/>
                    <a:pt x="355898" y="7992"/>
                  </a:cubicBezTo>
                  <a:cubicBezTo>
                    <a:pt x="508056" y="40456"/>
                    <a:pt x="556976" y="175842"/>
                    <a:pt x="556976" y="175842"/>
                  </a:cubicBezTo>
                  <a:cubicBezTo>
                    <a:pt x="556976" y="175842"/>
                    <a:pt x="635247" y="359195"/>
                    <a:pt x="473114" y="482701"/>
                  </a:cubicBezTo>
                  <a:cubicBezTo>
                    <a:pt x="310981" y="606206"/>
                    <a:pt x="-514" y="291661"/>
                    <a:pt x="-514" y="291661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 48">
              <a:extLst>
                <a:ext uri="{FF2B5EF4-FFF2-40B4-BE49-F238E27FC236}">
                  <a16:creationId xmlns:a16="http://schemas.microsoft.com/office/drawing/2014/main" id="{6C7B91AD-EAC6-598F-1504-35290858F817}"/>
                </a:ext>
              </a:extLst>
            </p:cNvPr>
            <p:cNvSpPr/>
            <p:nvPr/>
          </p:nvSpPr>
          <p:spPr>
            <a:xfrm>
              <a:off x="7926027" y="2682959"/>
              <a:ext cx="248884" cy="276290"/>
            </a:xfrm>
            <a:custGeom>
              <a:avLst/>
              <a:gdLst>
                <a:gd name="connsiteX0" fmla="*/ 109395 w 219819"/>
                <a:gd name="connsiteY0" fmla="*/ 243815 h 244025"/>
                <a:gd name="connsiteX1" fmla="*/ 109395 w 219819"/>
                <a:gd name="connsiteY1" fmla="*/ 243815 h 244025"/>
                <a:gd name="connsiteX2" fmla="*/ -514 w 219819"/>
                <a:gd name="connsiteY2" fmla="*/ 160906 h 244025"/>
                <a:gd name="connsiteX3" fmla="*/ -514 w 219819"/>
                <a:gd name="connsiteY3" fmla="*/ -210 h 244025"/>
                <a:gd name="connsiteX4" fmla="*/ 219305 w 219819"/>
                <a:gd name="connsiteY4" fmla="*/ -210 h 244025"/>
                <a:gd name="connsiteX5" fmla="*/ 219305 w 219819"/>
                <a:gd name="connsiteY5" fmla="*/ 160017 h 244025"/>
                <a:gd name="connsiteX6" fmla="*/ 110602 w 219819"/>
                <a:gd name="connsiteY6" fmla="*/ 243815 h 244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819" h="244025">
                  <a:moveTo>
                    <a:pt x="109395" y="243815"/>
                  </a:moveTo>
                  <a:lnTo>
                    <a:pt x="109395" y="243815"/>
                  </a:lnTo>
                  <a:cubicBezTo>
                    <a:pt x="48976" y="243815"/>
                    <a:pt x="-197" y="206967"/>
                    <a:pt x="-514" y="160906"/>
                  </a:cubicBezTo>
                  <a:lnTo>
                    <a:pt x="-514" y="-210"/>
                  </a:lnTo>
                  <a:lnTo>
                    <a:pt x="219305" y="-210"/>
                  </a:lnTo>
                  <a:lnTo>
                    <a:pt x="219305" y="160017"/>
                  </a:lnTo>
                  <a:cubicBezTo>
                    <a:pt x="219305" y="206014"/>
                    <a:pt x="170958" y="243498"/>
                    <a:pt x="110602" y="243815"/>
                  </a:cubicBez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 49">
              <a:extLst>
                <a:ext uri="{FF2B5EF4-FFF2-40B4-BE49-F238E27FC236}">
                  <a16:creationId xmlns:a16="http://schemas.microsoft.com/office/drawing/2014/main" id="{B4453B84-97C3-5622-4A88-0823081CC43B}"/>
                </a:ext>
              </a:extLst>
            </p:cNvPr>
            <p:cNvSpPr/>
            <p:nvPr/>
          </p:nvSpPr>
          <p:spPr>
            <a:xfrm>
              <a:off x="7730087" y="2415564"/>
              <a:ext cx="132524" cy="169000"/>
            </a:xfrm>
            <a:custGeom>
              <a:avLst/>
              <a:gdLst>
                <a:gd name="connsiteX0" fmla="*/ 93764 w 117048"/>
                <a:gd name="connsiteY0" fmla="*/ 41043 h 149264"/>
                <a:gd name="connsiteX1" fmla="*/ 1072 w 117048"/>
                <a:gd name="connsiteY1" fmla="*/ 45490 h 149264"/>
                <a:gd name="connsiteX2" fmla="*/ 95670 w 117048"/>
                <a:gd name="connsiteY2" fmla="*/ 138183 h 149264"/>
                <a:gd name="connsiteX3" fmla="*/ 93764 w 117048"/>
                <a:gd name="connsiteY3" fmla="*/ 41043 h 149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7048" h="149264">
                  <a:moveTo>
                    <a:pt x="93764" y="41043"/>
                  </a:moveTo>
                  <a:cubicBezTo>
                    <a:pt x="64540" y="-28842"/>
                    <a:pt x="9394" y="2098"/>
                    <a:pt x="1072" y="45490"/>
                  </a:cubicBezTo>
                  <a:cubicBezTo>
                    <a:pt x="-10936" y="108450"/>
                    <a:pt x="47640" y="175857"/>
                    <a:pt x="95670" y="138183"/>
                  </a:cubicBezTo>
                  <a:cubicBezTo>
                    <a:pt x="143700" y="100509"/>
                    <a:pt x="93764" y="41043"/>
                    <a:pt x="93764" y="41043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 50">
              <a:extLst>
                <a:ext uri="{FF2B5EF4-FFF2-40B4-BE49-F238E27FC236}">
                  <a16:creationId xmlns:a16="http://schemas.microsoft.com/office/drawing/2014/main" id="{890CA721-FC0B-F5C5-FAFA-FD904141C8CC}"/>
                </a:ext>
              </a:extLst>
            </p:cNvPr>
            <p:cNvSpPr/>
            <p:nvPr/>
          </p:nvSpPr>
          <p:spPr>
            <a:xfrm>
              <a:off x="8248927" y="2523567"/>
              <a:ext cx="148402" cy="155616"/>
            </a:xfrm>
            <a:custGeom>
              <a:avLst/>
              <a:gdLst>
                <a:gd name="connsiteX0" fmla="*/ 44850 w 131071"/>
                <a:gd name="connsiteY0" fmla="*/ 23606 h 137443"/>
                <a:gd name="connsiteX1" fmla="*/ 129474 w 131071"/>
                <a:gd name="connsiteY1" fmla="*/ 61725 h 137443"/>
                <a:gd name="connsiteX2" fmla="*/ 7430 w 131071"/>
                <a:gd name="connsiteY2" fmla="*/ 113122 h 137443"/>
                <a:gd name="connsiteX3" fmla="*/ 44850 w 131071"/>
                <a:gd name="connsiteY3" fmla="*/ 23479 h 137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071" h="137443">
                  <a:moveTo>
                    <a:pt x="44850" y="23606"/>
                  </a:moveTo>
                  <a:cubicBezTo>
                    <a:pt x="97708" y="-30396"/>
                    <a:pt x="137734" y="18397"/>
                    <a:pt x="129474" y="61725"/>
                  </a:cubicBezTo>
                  <a:cubicBezTo>
                    <a:pt x="117466" y="124685"/>
                    <a:pt x="38115" y="165790"/>
                    <a:pt x="7430" y="113122"/>
                  </a:cubicBezTo>
                  <a:cubicBezTo>
                    <a:pt x="-23256" y="60455"/>
                    <a:pt x="44850" y="23479"/>
                    <a:pt x="44850" y="23479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 51">
              <a:extLst>
                <a:ext uri="{FF2B5EF4-FFF2-40B4-BE49-F238E27FC236}">
                  <a16:creationId xmlns:a16="http://schemas.microsoft.com/office/drawing/2014/main" id="{EBB6F4F3-CD02-CA17-FD11-98E50295E8BE}"/>
                </a:ext>
              </a:extLst>
            </p:cNvPr>
            <p:cNvSpPr/>
            <p:nvPr/>
          </p:nvSpPr>
          <p:spPr>
            <a:xfrm>
              <a:off x="7809723" y="2240589"/>
              <a:ext cx="532212" cy="546181"/>
            </a:xfrm>
            <a:custGeom>
              <a:avLst/>
              <a:gdLst>
                <a:gd name="connsiteX0" fmla="*/ 180923 w 470060"/>
                <a:gd name="connsiteY0" fmla="*/ 478301 h 482397"/>
                <a:gd name="connsiteX1" fmla="*/ 29463 w 470060"/>
                <a:gd name="connsiteY1" fmla="*/ 77479 h 482397"/>
                <a:gd name="connsiteX2" fmla="*/ 469484 w 470060"/>
                <a:gd name="connsiteY2" fmla="*/ 161341 h 482397"/>
                <a:gd name="connsiteX3" fmla="*/ 180923 w 470060"/>
                <a:gd name="connsiteY3" fmla="*/ 478301 h 482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0060" h="482397">
                  <a:moveTo>
                    <a:pt x="180923" y="478301"/>
                  </a:moveTo>
                  <a:cubicBezTo>
                    <a:pt x="19045" y="447488"/>
                    <a:pt x="-42962" y="252065"/>
                    <a:pt x="29463" y="77479"/>
                  </a:cubicBezTo>
                  <a:cubicBezTo>
                    <a:pt x="89247" y="-66293"/>
                    <a:pt x="466880" y="5688"/>
                    <a:pt x="469484" y="161341"/>
                  </a:cubicBezTo>
                  <a:cubicBezTo>
                    <a:pt x="472788" y="350348"/>
                    <a:pt x="342929" y="509304"/>
                    <a:pt x="180923" y="47830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 52">
              <a:extLst>
                <a:ext uri="{FF2B5EF4-FFF2-40B4-BE49-F238E27FC236}">
                  <a16:creationId xmlns:a16="http://schemas.microsoft.com/office/drawing/2014/main" id="{7ADB1631-E144-9590-6DCE-E43D3D0AD52A}"/>
                </a:ext>
              </a:extLst>
            </p:cNvPr>
            <p:cNvSpPr/>
            <p:nvPr/>
          </p:nvSpPr>
          <p:spPr>
            <a:xfrm>
              <a:off x="7789201" y="2165401"/>
              <a:ext cx="375782" cy="560573"/>
            </a:xfrm>
            <a:custGeom>
              <a:avLst/>
              <a:gdLst>
                <a:gd name="connsiteX0" fmla="*/ 331384 w 331898"/>
                <a:gd name="connsiteY0" fmla="*/ 36709 h 495109"/>
                <a:gd name="connsiteX1" fmla="*/ 61184 w 331898"/>
                <a:gd name="connsiteY1" fmla="*/ 494899 h 495109"/>
                <a:gd name="connsiteX2" fmla="*/ 61184 w 331898"/>
                <a:gd name="connsiteY2" fmla="*/ 494899 h 495109"/>
                <a:gd name="connsiteX3" fmla="*/ 42633 w 331898"/>
                <a:gd name="connsiteY3" fmla="*/ 73430 h 495109"/>
                <a:gd name="connsiteX4" fmla="*/ 331384 w 331898"/>
                <a:gd name="connsiteY4" fmla="*/ 36709 h 495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898" h="495109">
                  <a:moveTo>
                    <a:pt x="331384" y="36709"/>
                  </a:moveTo>
                  <a:cubicBezTo>
                    <a:pt x="45491" y="74002"/>
                    <a:pt x="40409" y="335308"/>
                    <a:pt x="61184" y="494899"/>
                  </a:cubicBezTo>
                  <a:lnTo>
                    <a:pt x="61184" y="494899"/>
                  </a:lnTo>
                  <a:cubicBezTo>
                    <a:pt x="61184" y="494899"/>
                    <a:pt x="-64292" y="213962"/>
                    <a:pt x="42633" y="73430"/>
                  </a:cubicBezTo>
                  <a:cubicBezTo>
                    <a:pt x="149556" y="-67102"/>
                    <a:pt x="331384" y="36709"/>
                    <a:pt x="331384" y="36709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 53">
              <a:extLst>
                <a:ext uri="{FF2B5EF4-FFF2-40B4-BE49-F238E27FC236}">
                  <a16:creationId xmlns:a16="http://schemas.microsoft.com/office/drawing/2014/main" id="{3D4671FB-D394-FB74-BB7A-A67CCE15901B}"/>
                </a:ext>
              </a:extLst>
            </p:cNvPr>
            <p:cNvSpPr/>
            <p:nvPr/>
          </p:nvSpPr>
          <p:spPr>
            <a:xfrm>
              <a:off x="7703109" y="2838260"/>
              <a:ext cx="683282" cy="765140"/>
            </a:xfrm>
            <a:custGeom>
              <a:avLst/>
              <a:gdLst>
                <a:gd name="connsiteX0" fmla="*/ 602973 w 603487"/>
                <a:gd name="connsiteY0" fmla="*/ 61225 h 675786"/>
                <a:gd name="connsiteX1" fmla="*/ 415491 w 603487"/>
                <a:gd name="connsiteY1" fmla="*/ -210 h 675786"/>
                <a:gd name="connsiteX2" fmla="*/ 302532 w 603487"/>
                <a:gd name="connsiteY2" fmla="*/ 86828 h 675786"/>
                <a:gd name="connsiteX3" fmla="*/ 299927 w 603487"/>
                <a:gd name="connsiteY3" fmla="*/ 86828 h 675786"/>
                <a:gd name="connsiteX4" fmla="*/ 197260 w 603487"/>
                <a:gd name="connsiteY4" fmla="*/ -210 h 675786"/>
                <a:gd name="connsiteX5" fmla="*/ -514 w 603487"/>
                <a:gd name="connsiteY5" fmla="*/ 61225 h 675786"/>
                <a:gd name="connsiteX6" fmla="*/ 24898 w 603487"/>
                <a:gd name="connsiteY6" fmla="*/ 268529 h 675786"/>
                <a:gd name="connsiteX7" fmla="*/ 50311 w 603487"/>
                <a:gd name="connsiteY7" fmla="*/ 406774 h 675786"/>
                <a:gd name="connsiteX8" fmla="*/ 88811 w 603487"/>
                <a:gd name="connsiteY8" fmla="*/ 675577 h 675786"/>
                <a:gd name="connsiteX9" fmla="*/ 512504 w 603487"/>
                <a:gd name="connsiteY9" fmla="*/ 675577 h 675786"/>
                <a:gd name="connsiteX10" fmla="*/ 553609 w 603487"/>
                <a:gd name="connsiteY10" fmla="*/ 406774 h 675786"/>
                <a:gd name="connsiteX11" fmla="*/ 576735 w 603487"/>
                <a:gd name="connsiteY11" fmla="*/ 268529 h 675786"/>
                <a:gd name="connsiteX12" fmla="*/ 602147 w 603487"/>
                <a:gd name="connsiteY12" fmla="*/ 61225 h 675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03487" h="675786">
                  <a:moveTo>
                    <a:pt x="602973" y="61225"/>
                  </a:moveTo>
                  <a:lnTo>
                    <a:pt x="415491" y="-210"/>
                  </a:lnTo>
                  <a:cubicBezTo>
                    <a:pt x="400116" y="66308"/>
                    <a:pt x="315365" y="86828"/>
                    <a:pt x="302532" y="86828"/>
                  </a:cubicBezTo>
                  <a:lnTo>
                    <a:pt x="299927" y="86828"/>
                  </a:lnTo>
                  <a:cubicBezTo>
                    <a:pt x="287220" y="86828"/>
                    <a:pt x="212634" y="66308"/>
                    <a:pt x="197260" y="-210"/>
                  </a:cubicBezTo>
                  <a:lnTo>
                    <a:pt x="-514" y="61225"/>
                  </a:lnTo>
                  <a:lnTo>
                    <a:pt x="24898" y="268529"/>
                  </a:lnTo>
                  <a:cubicBezTo>
                    <a:pt x="24898" y="268529"/>
                    <a:pt x="9460" y="347880"/>
                    <a:pt x="50311" y="406774"/>
                  </a:cubicBezTo>
                  <a:cubicBezTo>
                    <a:pt x="88811" y="463063"/>
                    <a:pt x="88811" y="675577"/>
                    <a:pt x="88811" y="675577"/>
                  </a:cubicBezTo>
                  <a:lnTo>
                    <a:pt x="512504" y="675577"/>
                  </a:lnTo>
                  <a:cubicBezTo>
                    <a:pt x="512504" y="675577"/>
                    <a:pt x="512504" y="463063"/>
                    <a:pt x="553609" y="406774"/>
                  </a:cubicBezTo>
                  <a:cubicBezTo>
                    <a:pt x="592109" y="347880"/>
                    <a:pt x="576735" y="268529"/>
                    <a:pt x="576735" y="268529"/>
                  </a:cubicBezTo>
                  <a:lnTo>
                    <a:pt x="602147" y="61225"/>
                  </a:ln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 54">
              <a:extLst>
                <a:ext uri="{FF2B5EF4-FFF2-40B4-BE49-F238E27FC236}">
                  <a16:creationId xmlns:a16="http://schemas.microsoft.com/office/drawing/2014/main" id="{69E0C0DF-A459-6EC7-6092-D60EE1AA602B}"/>
                </a:ext>
              </a:extLst>
            </p:cNvPr>
            <p:cNvSpPr/>
            <p:nvPr/>
          </p:nvSpPr>
          <p:spPr>
            <a:xfrm>
              <a:off x="7668222" y="2246131"/>
              <a:ext cx="203061" cy="147805"/>
            </a:xfrm>
            <a:custGeom>
              <a:avLst/>
              <a:gdLst>
                <a:gd name="connsiteX0" fmla="*/ -514 w 179347"/>
                <a:gd name="connsiteY0" fmla="*/ 71186 h 130544"/>
                <a:gd name="connsiteX1" fmla="*/ 171784 w 179347"/>
                <a:gd name="connsiteY1" fmla="*/ 4287 h 130544"/>
                <a:gd name="connsiteX2" fmla="*/ 43195 w 179347"/>
                <a:gd name="connsiteY2" fmla="*/ 130334 h 130544"/>
                <a:gd name="connsiteX3" fmla="*/ -514 w 179347"/>
                <a:gd name="connsiteY3" fmla="*/ 71186 h 130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9347" h="130544">
                  <a:moveTo>
                    <a:pt x="-514" y="71186"/>
                  </a:moveTo>
                  <a:cubicBezTo>
                    <a:pt x="-514" y="71186"/>
                    <a:pt x="146053" y="-21379"/>
                    <a:pt x="171784" y="4287"/>
                  </a:cubicBezTo>
                  <a:cubicBezTo>
                    <a:pt x="197196" y="27477"/>
                    <a:pt x="153804" y="73728"/>
                    <a:pt x="43195" y="130334"/>
                  </a:cubicBezTo>
                  <a:lnTo>
                    <a:pt x="-514" y="71186"/>
                  </a:ln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 55">
              <a:extLst>
                <a:ext uri="{FF2B5EF4-FFF2-40B4-BE49-F238E27FC236}">
                  <a16:creationId xmlns:a16="http://schemas.microsoft.com/office/drawing/2014/main" id="{2577EBCD-B2B1-E6CB-7D2F-14B8E4C93095}"/>
                </a:ext>
              </a:extLst>
            </p:cNvPr>
            <p:cNvSpPr/>
            <p:nvPr/>
          </p:nvSpPr>
          <p:spPr>
            <a:xfrm>
              <a:off x="7253337" y="2273163"/>
              <a:ext cx="519616" cy="812040"/>
            </a:xfrm>
            <a:custGeom>
              <a:avLst/>
              <a:gdLst>
                <a:gd name="connsiteX0" fmla="*/ 396859 w 458935"/>
                <a:gd name="connsiteY0" fmla="*/ 560775 h 717209"/>
                <a:gd name="connsiteX1" fmla="*/ 147942 w 458935"/>
                <a:gd name="connsiteY1" fmla="*/ 358426 h 717209"/>
                <a:gd name="connsiteX2" fmla="*/ 458421 w 458935"/>
                <a:gd name="connsiteY2" fmla="*/ 107349 h 717209"/>
                <a:gd name="connsiteX3" fmla="*/ 409628 w 458935"/>
                <a:gd name="connsiteY3" fmla="*/ -210 h 717209"/>
                <a:gd name="connsiteX4" fmla="*/ 4297 w 458935"/>
                <a:gd name="connsiteY4" fmla="*/ 348134 h 717209"/>
                <a:gd name="connsiteX5" fmla="*/ 417253 w 458935"/>
                <a:gd name="connsiteY5" fmla="*/ 716999 h 717209"/>
                <a:gd name="connsiteX6" fmla="*/ 396732 w 458935"/>
                <a:gd name="connsiteY6" fmla="*/ 560775 h 717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8935" h="717209">
                  <a:moveTo>
                    <a:pt x="396859" y="560775"/>
                  </a:moveTo>
                  <a:cubicBezTo>
                    <a:pt x="396859" y="560775"/>
                    <a:pt x="158234" y="399404"/>
                    <a:pt x="147942" y="358426"/>
                  </a:cubicBezTo>
                  <a:cubicBezTo>
                    <a:pt x="137713" y="320307"/>
                    <a:pt x="458421" y="107349"/>
                    <a:pt x="458421" y="107349"/>
                  </a:cubicBezTo>
                  <a:lnTo>
                    <a:pt x="409628" y="-210"/>
                  </a:lnTo>
                  <a:cubicBezTo>
                    <a:pt x="409628" y="-210"/>
                    <a:pt x="47879" y="230346"/>
                    <a:pt x="4297" y="348134"/>
                  </a:cubicBezTo>
                  <a:cubicBezTo>
                    <a:pt x="-41891" y="465986"/>
                    <a:pt x="255691" y="696542"/>
                    <a:pt x="417253" y="716999"/>
                  </a:cubicBezTo>
                  <a:lnTo>
                    <a:pt x="396732" y="560775"/>
                  </a:ln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 56">
              <a:extLst>
                <a:ext uri="{FF2B5EF4-FFF2-40B4-BE49-F238E27FC236}">
                  <a16:creationId xmlns:a16="http://schemas.microsoft.com/office/drawing/2014/main" id="{794524D1-6D36-456B-D237-E3539FFEA926}"/>
                </a:ext>
              </a:extLst>
            </p:cNvPr>
            <p:cNvSpPr/>
            <p:nvPr/>
          </p:nvSpPr>
          <p:spPr>
            <a:xfrm>
              <a:off x="7861504" y="4281217"/>
              <a:ext cx="152998" cy="1017478"/>
            </a:xfrm>
            <a:custGeom>
              <a:avLst/>
              <a:gdLst>
                <a:gd name="connsiteX0" fmla="*/ 126555 w 135131"/>
                <a:gd name="connsiteY0" fmla="*/ 898656 h 898656"/>
                <a:gd name="connsiteX1" fmla="*/ 0 w 135131"/>
                <a:gd name="connsiteY1" fmla="*/ 898656 h 898656"/>
                <a:gd name="connsiteX2" fmla="*/ 0 w 135131"/>
                <a:gd name="connsiteY2" fmla="*/ 0 h 898656"/>
                <a:gd name="connsiteX3" fmla="*/ 135132 w 135131"/>
                <a:gd name="connsiteY3" fmla="*/ 0 h 898656"/>
                <a:gd name="connsiteX4" fmla="*/ 126555 w 135131"/>
                <a:gd name="connsiteY4" fmla="*/ 898656 h 898656"/>
                <a:gd name="connsiteX5" fmla="*/ 126555 w 135131"/>
                <a:gd name="connsiteY5" fmla="*/ 898656 h 898656"/>
                <a:gd name="connsiteX6" fmla="*/ 126555 w 135131"/>
                <a:gd name="connsiteY6" fmla="*/ 898656 h 898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131" h="898656">
                  <a:moveTo>
                    <a:pt x="126555" y="898656"/>
                  </a:moveTo>
                  <a:lnTo>
                    <a:pt x="0" y="898656"/>
                  </a:lnTo>
                  <a:lnTo>
                    <a:pt x="0" y="0"/>
                  </a:lnTo>
                  <a:lnTo>
                    <a:pt x="135132" y="0"/>
                  </a:lnTo>
                  <a:lnTo>
                    <a:pt x="126555" y="898656"/>
                  </a:lnTo>
                  <a:lnTo>
                    <a:pt x="126555" y="898656"/>
                  </a:lnTo>
                  <a:lnTo>
                    <a:pt x="126555" y="898656"/>
                  </a:ln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 57">
              <a:extLst>
                <a:ext uri="{FF2B5EF4-FFF2-40B4-BE49-F238E27FC236}">
                  <a16:creationId xmlns:a16="http://schemas.microsoft.com/office/drawing/2014/main" id="{2D71068C-6366-C1F8-8853-72E1AAA4AB2F}"/>
                </a:ext>
              </a:extLst>
            </p:cNvPr>
            <p:cNvSpPr/>
            <p:nvPr/>
          </p:nvSpPr>
          <p:spPr>
            <a:xfrm>
              <a:off x="7703109" y="5287978"/>
              <a:ext cx="316405" cy="123506"/>
            </a:xfrm>
            <a:custGeom>
              <a:avLst/>
              <a:gdLst>
                <a:gd name="connsiteX0" fmla="*/ 264603 w 279455"/>
                <a:gd name="connsiteY0" fmla="*/ -210 h 109083"/>
                <a:gd name="connsiteX1" fmla="*/ 138493 w 279455"/>
                <a:gd name="connsiteY1" fmla="*/ -210 h 109083"/>
                <a:gd name="connsiteX2" fmla="*/ -514 w 279455"/>
                <a:gd name="connsiteY2" fmla="*/ 96168 h 109083"/>
                <a:gd name="connsiteX3" fmla="*/ -514 w 279455"/>
                <a:gd name="connsiteY3" fmla="*/ 108874 h 109083"/>
                <a:gd name="connsiteX4" fmla="*/ 277500 w 279455"/>
                <a:gd name="connsiteY4" fmla="*/ 108874 h 109083"/>
                <a:gd name="connsiteX5" fmla="*/ 264794 w 279455"/>
                <a:gd name="connsiteY5" fmla="*/ -210 h 109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9455" h="109083">
                  <a:moveTo>
                    <a:pt x="264603" y="-210"/>
                  </a:moveTo>
                  <a:lnTo>
                    <a:pt x="138493" y="-210"/>
                  </a:lnTo>
                  <a:cubicBezTo>
                    <a:pt x="138493" y="-210"/>
                    <a:pt x="12382" y="68277"/>
                    <a:pt x="-514" y="96168"/>
                  </a:cubicBezTo>
                  <a:lnTo>
                    <a:pt x="-514" y="108874"/>
                  </a:lnTo>
                  <a:lnTo>
                    <a:pt x="277500" y="108874"/>
                  </a:lnTo>
                  <a:cubicBezTo>
                    <a:pt x="277500" y="108874"/>
                    <a:pt x="285251" y="27681"/>
                    <a:pt x="264794" y="-210"/>
                  </a:cubicBez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 58">
              <a:extLst>
                <a:ext uri="{FF2B5EF4-FFF2-40B4-BE49-F238E27FC236}">
                  <a16:creationId xmlns:a16="http://schemas.microsoft.com/office/drawing/2014/main" id="{FD435F2D-7C3C-C816-1364-5835F5352D4D}"/>
                </a:ext>
              </a:extLst>
            </p:cNvPr>
            <p:cNvSpPr/>
            <p:nvPr/>
          </p:nvSpPr>
          <p:spPr>
            <a:xfrm>
              <a:off x="7703109" y="5411484"/>
              <a:ext cx="314126" cy="18773"/>
            </a:xfrm>
            <a:custGeom>
              <a:avLst/>
              <a:gdLst>
                <a:gd name="connsiteX0" fmla="*/ 0 w 277442"/>
                <a:gd name="connsiteY0" fmla="*/ 0 h 16581"/>
                <a:gd name="connsiteX1" fmla="*/ 277443 w 277442"/>
                <a:gd name="connsiteY1" fmla="*/ 0 h 16581"/>
                <a:gd name="connsiteX2" fmla="*/ 277443 w 277442"/>
                <a:gd name="connsiteY2" fmla="*/ 16582 h 16581"/>
                <a:gd name="connsiteX3" fmla="*/ 0 w 277442"/>
                <a:gd name="connsiteY3" fmla="*/ 16582 h 16581"/>
                <a:gd name="connsiteX4" fmla="*/ 0 w 277442"/>
                <a:gd name="connsiteY4" fmla="*/ 0 h 16581"/>
                <a:gd name="connsiteX5" fmla="*/ 0 w 277442"/>
                <a:gd name="connsiteY5" fmla="*/ 0 h 16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7442" h="16581">
                  <a:moveTo>
                    <a:pt x="0" y="0"/>
                  </a:moveTo>
                  <a:lnTo>
                    <a:pt x="277443" y="0"/>
                  </a:lnTo>
                  <a:lnTo>
                    <a:pt x="277443" y="16582"/>
                  </a:lnTo>
                  <a:lnTo>
                    <a:pt x="0" y="1658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 59">
              <a:extLst>
                <a:ext uri="{FF2B5EF4-FFF2-40B4-BE49-F238E27FC236}">
                  <a16:creationId xmlns:a16="http://schemas.microsoft.com/office/drawing/2014/main" id="{F6CCB6E2-5CD6-B028-ABF6-2DCDCEAE440B}"/>
                </a:ext>
              </a:extLst>
            </p:cNvPr>
            <p:cNvSpPr/>
            <p:nvPr/>
          </p:nvSpPr>
          <p:spPr>
            <a:xfrm>
              <a:off x="8074926" y="4281217"/>
              <a:ext cx="154366" cy="1017478"/>
            </a:xfrm>
            <a:custGeom>
              <a:avLst/>
              <a:gdLst>
                <a:gd name="connsiteX0" fmla="*/ 8704 w 136339"/>
                <a:gd name="connsiteY0" fmla="*/ 898656 h 898656"/>
                <a:gd name="connsiteX1" fmla="*/ 136339 w 136339"/>
                <a:gd name="connsiteY1" fmla="*/ 898656 h 898656"/>
                <a:gd name="connsiteX2" fmla="*/ 136339 w 136339"/>
                <a:gd name="connsiteY2" fmla="*/ 0 h 898656"/>
                <a:gd name="connsiteX3" fmla="*/ 0 w 136339"/>
                <a:gd name="connsiteY3" fmla="*/ 0 h 898656"/>
                <a:gd name="connsiteX4" fmla="*/ 8704 w 136339"/>
                <a:gd name="connsiteY4" fmla="*/ 898656 h 898656"/>
                <a:gd name="connsiteX5" fmla="*/ 8704 w 136339"/>
                <a:gd name="connsiteY5" fmla="*/ 898656 h 898656"/>
                <a:gd name="connsiteX6" fmla="*/ 8704 w 136339"/>
                <a:gd name="connsiteY6" fmla="*/ 898656 h 898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6339" h="898656">
                  <a:moveTo>
                    <a:pt x="8704" y="898656"/>
                  </a:moveTo>
                  <a:lnTo>
                    <a:pt x="136339" y="898656"/>
                  </a:lnTo>
                  <a:lnTo>
                    <a:pt x="136339" y="0"/>
                  </a:lnTo>
                  <a:lnTo>
                    <a:pt x="0" y="0"/>
                  </a:lnTo>
                  <a:lnTo>
                    <a:pt x="8704" y="898656"/>
                  </a:lnTo>
                  <a:lnTo>
                    <a:pt x="8704" y="898656"/>
                  </a:lnTo>
                  <a:lnTo>
                    <a:pt x="8704" y="898656"/>
                  </a:ln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 60">
              <a:extLst>
                <a:ext uri="{FF2B5EF4-FFF2-40B4-BE49-F238E27FC236}">
                  <a16:creationId xmlns:a16="http://schemas.microsoft.com/office/drawing/2014/main" id="{11EB5617-8957-1F33-0C61-CA85C517FDD3}"/>
                </a:ext>
              </a:extLst>
            </p:cNvPr>
            <p:cNvSpPr/>
            <p:nvPr/>
          </p:nvSpPr>
          <p:spPr>
            <a:xfrm>
              <a:off x="8073764" y="5287978"/>
              <a:ext cx="312627" cy="123506"/>
            </a:xfrm>
            <a:custGeom>
              <a:avLst/>
              <a:gdLst>
                <a:gd name="connsiteX0" fmla="*/ 11376 w 276118"/>
                <a:gd name="connsiteY0" fmla="*/ -210 h 109083"/>
                <a:gd name="connsiteX1" fmla="*/ 139646 w 276118"/>
                <a:gd name="connsiteY1" fmla="*/ -210 h 109083"/>
                <a:gd name="connsiteX2" fmla="*/ 275604 w 276118"/>
                <a:gd name="connsiteY2" fmla="*/ 96168 h 109083"/>
                <a:gd name="connsiteX3" fmla="*/ 275604 w 276118"/>
                <a:gd name="connsiteY3" fmla="*/ 108874 h 109083"/>
                <a:gd name="connsiteX4" fmla="*/ 1147 w 276118"/>
                <a:gd name="connsiteY4" fmla="*/ 108874 h 109083"/>
                <a:gd name="connsiteX5" fmla="*/ 11376 w 276118"/>
                <a:gd name="connsiteY5" fmla="*/ -210 h 109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6118" h="109083">
                  <a:moveTo>
                    <a:pt x="11376" y="-210"/>
                  </a:moveTo>
                  <a:lnTo>
                    <a:pt x="139646" y="-210"/>
                  </a:lnTo>
                  <a:cubicBezTo>
                    <a:pt x="139646" y="-210"/>
                    <a:pt x="262771" y="68277"/>
                    <a:pt x="275604" y="96168"/>
                  </a:cubicBezTo>
                  <a:lnTo>
                    <a:pt x="275604" y="108874"/>
                  </a:lnTo>
                  <a:lnTo>
                    <a:pt x="1147" y="108874"/>
                  </a:lnTo>
                  <a:cubicBezTo>
                    <a:pt x="1147" y="108874"/>
                    <a:pt x="-6604" y="27681"/>
                    <a:pt x="11376" y="-210"/>
                  </a:cubicBez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 61">
              <a:extLst>
                <a:ext uri="{FF2B5EF4-FFF2-40B4-BE49-F238E27FC236}">
                  <a16:creationId xmlns:a16="http://schemas.microsoft.com/office/drawing/2014/main" id="{4EFC56C0-29B4-7774-8874-2EE412DF45CA}"/>
                </a:ext>
              </a:extLst>
            </p:cNvPr>
            <p:cNvSpPr/>
            <p:nvPr/>
          </p:nvSpPr>
          <p:spPr>
            <a:xfrm>
              <a:off x="8074926" y="5411484"/>
              <a:ext cx="311393" cy="18773"/>
            </a:xfrm>
            <a:custGeom>
              <a:avLst/>
              <a:gdLst>
                <a:gd name="connsiteX0" fmla="*/ 0 w 275028"/>
                <a:gd name="connsiteY0" fmla="*/ 0 h 16581"/>
                <a:gd name="connsiteX1" fmla="*/ 275029 w 275028"/>
                <a:gd name="connsiteY1" fmla="*/ 0 h 16581"/>
                <a:gd name="connsiteX2" fmla="*/ 275029 w 275028"/>
                <a:gd name="connsiteY2" fmla="*/ 16582 h 16581"/>
                <a:gd name="connsiteX3" fmla="*/ 0 w 275028"/>
                <a:gd name="connsiteY3" fmla="*/ 16582 h 16581"/>
                <a:gd name="connsiteX4" fmla="*/ 0 w 275028"/>
                <a:gd name="connsiteY4" fmla="*/ 0 h 16581"/>
                <a:gd name="connsiteX5" fmla="*/ 0 w 275028"/>
                <a:gd name="connsiteY5" fmla="*/ 0 h 16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5028" h="16581">
                  <a:moveTo>
                    <a:pt x="0" y="0"/>
                  </a:moveTo>
                  <a:lnTo>
                    <a:pt x="275029" y="0"/>
                  </a:lnTo>
                  <a:lnTo>
                    <a:pt x="275029" y="16582"/>
                  </a:lnTo>
                  <a:lnTo>
                    <a:pt x="0" y="1658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 62">
              <a:extLst>
                <a:ext uri="{FF2B5EF4-FFF2-40B4-BE49-F238E27FC236}">
                  <a16:creationId xmlns:a16="http://schemas.microsoft.com/office/drawing/2014/main" id="{EF710C2F-1157-A91C-5829-838781605D3A}"/>
                </a:ext>
              </a:extLst>
            </p:cNvPr>
            <p:cNvSpPr/>
            <p:nvPr/>
          </p:nvSpPr>
          <p:spPr>
            <a:xfrm>
              <a:off x="7564855" y="3584555"/>
              <a:ext cx="961084" cy="1110846"/>
            </a:xfrm>
            <a:custGeom>
              <a:avLst/>
              <a:gdLst>
                <a:gd name="connsiteX0" fmla="*/ 635502 w 848847"/>
                <a:gd name="connsiteY0" fmla="*/ -210 h 981120"/>
                <a:gd name="connsiteX1" fmla="*/ 212380 w 848847"/>
                <a:gd name="connsiteY1" fmla="*/ -210 h 981120"/>
                <a:gd name="connsiteX2" fmla="*/ -514 w 848847"/>
                <a:gd name="connsiteY2" fmla="*/ 980910 h 981120"/>
                <a:gd name="connsiteX3" fmla="*/ 848334 w 848847"/>
                <a:gd name="connsiteY3" fmla="*/ 980910 h 981120"/>
                <a:gd name="connsiteX4" fmla="*/ 635502 w 848847"/>
                <a:gd name="connsiteY4" fmla="*/ -210 h 981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8847" h="981120">
                  <a:moveTo>
                    <a:pt x="635502" y="-210"/>
                  </a:moveTo>
                  <a:lnTo>
                    <a:pt x="212380" y="-210"/>
                  </a:lnTo>
                  <a:cubicBezTo>
                    <a:pt x="12319" y="253281"/>
                    <a:pt x="-514" y="980910"/>
                    <a:pt x="-514" y="980910"/>
                  </a:cubicBezTo>
                  <a:lnTo>
                    <a:pt x="848334" y="980910"/>
                  </a:lnTo>
                  <a:cubicBezTo>
                    <a:pt x="848334" y="980910"/>
                    <a:pt x="838104" y="253281"/>
                    <a:pt x="635502" y="-210"/>
                  </a:cubicBez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 63">
              <a:extLst>
                <a:ext uri="{FF2B5EF4-FFF2-40B4-BE49-F238E27FC236}">
                  <a16:creationId xmlns:a16="http://schemas.microsoft.com/office/drawing/2014/main" id="{89621023-94C2-73E6-FD5F-84A1A7E1FAA8}"/>
                </a:ext>
              </a:extLst>
            </p:cNvPr>
            <p:cNvSpPr/>
            <p:nvPr/>
          </p:nvSpPr>
          <p:spPr>
            <a:xfrm>
              <a:off x="6993099" y="2948350"/>
              <a:ext cx="1467130" cy="1769867"/>
            </a:xfrm>
            <a:custGeom>
              <a:avLst/>
              <a:gdLst>
                <a:gd name="connsiteX0" fmla="*/ 927593 w 1295797"/>
                <a:gd name="connsiteY0" fmla="*/ 878849 h 1563180"/>
                <a:gd name="connsiteX1" fmla="*/ 1022891 w 1295797"/>
                <a:gd name="connsiteY1" fmla="*/ 1014617 h 1563180"/>
                <a:gd name="connsiteX2" fmla="*/ 992077 w 1295797"/>
                <a:gd name="connsiteY2" fmla="*/ 1186152 h 1563180"/>
                <a:gd name="connsiteX3" fmla="*/ 821876 w 1295797"/>
                <a:gd name="connsiteY3" fmla="*/ 1157900 h 1563180"/>
                <a:gd name="connsiteX4" fmla="*/ 820161 w 1295797"/>
                <a:gd name="connsiteY4" fmla="*/ 1155403 h 1563180"/>
                <a:gd name="connsiteX5" fmla="*/ 668447 w 1295797"/>
                <a:gd name="connsiteY5" fmla="*/ 940348 h 1563180"/>
                <a:gd name="connsiteX6" fmla="*/ 668447 w 1295797"/>
                <a:gd name="connsiteY6" fmla="*/ 935202 h 1563180"/>
                <a:gd name="connsiteX7" fmla="*/ 663300 w 1295797"/>
                <a:gd name="connsiteY7" fmla="*/ 932661 h 1563180"/>
                <a:gd name="connsiteX8" fmla="*/ 694114 w 1295797"/>
                <a:gd name="connsiteY8" fmla="*/ 761125 h 1563180"/>
                <a:gd name="connsiteX9" fmla="*/ 765968 w 1295797"/>
                <a:gd name="connsiteY9" fmla="*/ 364243 h 1563180"/>
                <a:gd name="connsiteX10" fmla="*/ 368196 w 1295797"/>
                <a:gd name="connsiteY10" fmla="*/ 297661 h 1563180"/>
                <a:gd name="connsiteX11" fmla="*/ 250154 w 1295797"/>
                <a:gd name="connsiteY11" fmla="*/ 551153 h 1563180"/>
                <a:gd name="connsiteX12" fmla="*/ 134780 w 1295797"/>
                <a:gd name="connsiteY12" fmla="*/ 686793 h 1563180"/>
                <a:gd name="connsiteX13" fmla="*/ 1364 w 1295797"/>
                <a:gd name="connsiteY13" fmla="*/ 574152 h 1563180"/>
                <a:gd name="connsiteX14" fmla="*/ 224614 w 1295797"/>
                <a:gd name="connsiteY14" fmla="*/ 95313 h 1563180"/>
                <a:gd name="connsiteX15" fmla="*/ 966156 w 1295797"/>
                <a:gd name="connsiteY15" fmla="*/ 223329 h 1563180"/>
                <a:gd name="connsiteX16" fmla="*/ 927657 w 1295797"/>
                <a:gd name="connsiteY16" fmla="*/ 878849 h 1563180"/>
                <a:gd name="connsiteX17" fmla="*/ 1245823 w 1295797"/>
                <a:gd name="connsiteY17" fmla="*/ 1332149 h 1563180"/>
                <a:gd name="connsiteX18" fmla="*/ 1271236 w 1295797"/>
                <a:gd name="connsiteY18" fmla="*/ 1367980 h 1563180"/>
                <a:gd name="connsiteX19" fmla="*/ 1242965 w 1295797"/>
                <a:gd name="connsiteY19" fmla="*/ 1542121 h 1563180"/>
                <a:gd name="connsiteX20" fmla="*/ 1068506 w 1295797"/>
                <a:gd name="connsiteY20" fmla="*/ 1511371 h 1563180"/>
                <a:gd name="connsiteX21" fmla="*/ 1043093 w 1295797"/>
                <a:gd name="connsiteY21" fmla="*/ 1473252 h 1563180"/>
                <a:gd name="connsiteX22" fmla="*/ 1073906 w 1295797"/>
                <a:gd name="connsiteY22" fmla="*/ 1301717 h 1563180"/>
                <a:gd name="connsiteX23" fmla="*/ 1242583 w 1295797"/>
                <a:gd name="connsiteY23" fmla="*/ 1327847 h 1563180"/>
                <a:gd name="connsiteX24" fmla="*/ 1245823 w 1295797"/>
                <a:gd name="connsiteY24" fmla="*/ 1332466 h 1563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95797" h="1563180">
                  <a:moveTo>
                    <a:pt x="927593" y="878849"/>
                  </a:moveTo>
                  <a:lnTo>
                    <a:pt x="1022891" y="1014617"/>
                  </a:lnTo>
                  <a:cubicBezTo>
                    <a:pt x="1063932" y="1070906"/>
                    <a:pt x="1051098" y="1145174"/>
                    <a:pt x="992077" y="1186152"/>
                  </a:cubicBezTo>
                  <a:cubicBezTo>
                    <a:pt x="937313" y="1225345"/>
                    <a:pt x="861075" y="1212696"/>
                    <a:pt x="821876" y="1157900"/>
                  </a:cubicBezTo>
                  <a:cubicBezTo>
                    <a:pt x="821305" y="1157074"/>
                    <a:pt x="820732" y="1156242"/>
                    <a:pt x="820161" y="1155403"/>
                  </a:cubicBezTo>
                  <a:lnTo>
                    <a:pt x="668447" y="940348"/>
                  </a:lnTo>
                  <a:lnTo>
                    <a:pt x="668447" y="935202"/>
                  </a:lnTo>
                  <a:cubicBezTo>
                    <a:pt x="663300" y="935202"/>
                    <a:pt x="663300" y="935202"/>
                    <a:pt x="663300" y="932661"/>
                  </a:cubicBezTo>
                  <a:cubicBezTo>
                    <a:pt x="624801" y="878849"/>
                    <a:pt x="640239" y="799244"/>
                    <a:pt x="694114" y="761125"/>
                  </a:cubicBezTo>
                  <a:cubicBezTo>
                    <a:pt x="822384" y="668941"/>
                    <a:pt x="855738" y="492259"/>
                    <a:pt x="765968" y="364243"/>
                  </a:cubicBezTo>
                  <a:cubicBezTo>
                    <a:pt x="673593" y="233621"/>
                    <a:pt x="499135" y="208018"/>
                    <a:pt x="368196" y="297661"/>
                  </a:cubicBezTo>
                  <a:cubicBezTo>
                    <a:pt x="283572" y="359096"/>
                    <a:pt x="239926" y="456491"/>
                    <a:pt x="250154" y="551153"/>
                  </a:cubicBezTo>
                  <a:cubicBezTo>
                    <a:pt x="255618" y="620421"/>
                    <a:pt x="204030" y="681056"/>
                    <a:pt x="134780" y="686793"/>
                  </a:cubicBezTo>
                  <a:cubicBezTo>
                    <a:pt x="65467" y="691939"/>
                    <a:pt x="9051" y="643274"/>
                    <a:pt x="1364" y="574152"/>
                  </a:cubicBezTo>
                  <a:cubicBezTo>
                    <a:pt x="-14456" y="386231"/>
                    <a:pt x="70486" y="204003"/>
                    <a:pt x="224614" y="95313"/>
                  </a:cubicBezTo>
                  <a:cubicBezTo>
                    <a:pt x="466035" y="-71140"/>
                    <a:pt x="799386" y="-14788"/>
                    <a:pt x="966156" y="223329"/>
                  </a:cubicBezTo>
                  <a:cubicBezTo>
                    <a:pt x="1107832" y="424058"/>
                    <a:pt x="1091822" y="696081"/>
                    <a:pt x="927657" y="878849"/>
                  </a:cubicBezTo>
                  <a:close/>
                  <a:moveTo>
                    <a:pt x="1245823" y="1332149"/>
                  </a:moveTo>
                  <a:lnTo>
                    <a:pt x="1271236" y="1367980"/>
                  </a:lnTo>
                  <a:cubicBezTo>
                    <a:pt x="1312277" y="1426874"/>
                    <a:pt x="1299444" y="1501397"/>
                    <a:pt x="1242965" y="1542121"/>
                  </a:cubicBezTo>
                  <a:cubicBezTo>
                    <a:pt x="1189089" y="1577953"/>
                    <a:pt x="1109548" y="1567533"/>
                    <a:pt x="1068506" y="1511371"/>
                  </a:cubicBezTo>
                  <a:lnTo>
                    <a:pt x="1043093" y="1473252"/>
                  </a:lnTo>
                  <a:cubicBezTo>
                    <a:pt x="1004593" y="1419505"/>
                    <a:pt x="1019968" y="1339836"/>
                    <a:pt x="1073906" y="1301717"/>
                  </a:cubicBezTo>
                  <a:cubicBezTo>
                    <a:pt x="1127718" y="1262346"/>
                    <a:pt x="1203257" y="1274049"/>
                    <a:pt x="1242583" y="1327847"/>
                  </a:cubicBezTo>
                  <a:cubicBezTo>
                    <a:pt x="1243727" y="1329359"/>
                    <a:pt x="1244806" y="1330903"/>
                    <a:pt x="1245823" y="1332466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 64">
              <a:extLst>
                <a:ext uri="{FF2B5EF4-FFF2-40B4-BE49-F238E27FC236}">
                  <a16:creationId xmlns:a16="http://schemas.microsoft.com/office/drawing/2014/main" id="{2EBF264C-64EC-D63A-CB03-F93853642C3C}"/>
                </a:ext>
              </a:extLst>
            </p:cNvPr>
            <p:cNvSpPr/>
            <p:nvPr/>
          </p:nvSpPr>
          <p:spPr>
            <a:xfrm>
              <a:off x="8074926" y="2908035"/>
              <a:ext cx="512041" cy="826857"/>
            </a:xfrm>
            <a:custGeom>
              <a:avLst/>
              <a:gdLst>
                <a:gd name="connsiteX0" fmla="*/ 274260 w 452244"/>
                <a:gd name="connsiteY0" fmla="*/ -210 h 730296"/>
                <a:gd name="connsiteX1" fmla="*/ 451387 w 452244"/>
                <a:gd name="connsiteY1" fmla="*/ 381616 h 730296"/>
                <a:gd name="connsiteX2" fmla="*/ 43132 w 452244"/>
                <a:gd name="connsiteY2" fmla="*/ 730087 h 730296"/>
                <a:gd name="connsiteX3" fmla="*/ -514 w 452244"/>
                <a:gd name="connsiteY3" fmla="*/ 558551 h 730296"/>
                <a:gd name="connsiteX4" fmla="*/ 315302 w 452244"/>
                <a:gd name="connsiteY4" fmla="*/ 366368 h 730296"/>
                <a:gd name="connsiteX5" fmla="*/ 248594 w 452244"/>
                <a:gd name="connsiteY5" fmla="*/ 207539 h 730296"/>
                <a:gd name="connsiteX6" fmla="*/ 274007 w 452244"/>
                <a:gd name="connsiteY6" fmla="*/ -19 h 730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2244" h="730296">
                  <a:moveTo>
                    <a:pt x="274260" y="-210"/>
                  </a:moveTo>
                  <a:cubicBezTo>
                    <a:pt x="274260" y="-210"/>
                    <a:pt x="438553" y="292036"/>
                    <a:pt x="451387" y="381616"/>
                  </a:cubicBezTo>
                  <a:cubicBezTo>
                    <a:pt x="464093" y="473864"/>
                    <a:pt x="120196" y="717317"/>
                    <a:pt x="43132" y="730087"/>
                  </a:cubicBezTo>
                  <a:lnTo>
                    <a:pt x="-514" y="558551"/>
                  </a:lnTo>
                  <a:cubicBezTo>
                    <a:pt x="-514" y="558551"/>
                    <a:pt x="284489" y="425135"/>
                    <a:pt x="315302" y="366368"/>
                  </a:cubicBezTo>
                  <a:lnTo>
                    <a:pt x="248594" y="207539"/>
                  </a:lnTo>
                  <a:lnTo>
                    <a:pt x="274007" y="-19"/>
                  </a:ln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 65">
              <a:extLst>
                <a:ext uri="{FF2B5EF4-FFF2-40B4-BE49-F238E27FC236}">
                  <a16:creationId xmlns:a16="http://schemas.microsoft.com/office/drawing/2014/main" id="{5C027203-A68E-B035-815A-C100E2DD03A3}"/>
                </a:ext>
              </a:extLst>
            </p:cNvPr>
            <p:cNvSpPr/>
            <p:nvPr/>
          </p:nvSpPr>
          <p:spPr>
            <a:xfrm>
              <a:off x="8008236" y="3573622"/>
              <a:ext cx="101648" cy="117572"/>
            </a:xfrm>
            <a:custGeom>
              <a:avLst/>
              <a:gdLst>
                <a:gd name="connsiteX0" fmla="*/ 66265 w 89777"/>
                <a:gd name="connsiteY0" fmla="*/ 362 h 103842"/>
                <a:gd name="connsiteX1" fmla="*/ 5147 w 89777"/>
                <a:gd name="connsiteY1" fmla="*/ 15800 h 103842"/>
                <a:gd name="connsiteX2" fmla="*/ 89263 w 89777"/>
                <a:gd name="connsiteY2" fmla="*/ 95596 h 103842"/>
                <a:gd name="connsiteX3" fmla="*/ 66265 w 89777"/>
                <a:gd name="connsiteY3" fmla="*/ 298 h 103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777" h="103842">
                  <a:moveTo>
                    <a:pt x="66265" y="362"/>
                  </a:moveTo>
                  <a:cubicBezTo>
                    <a:pt x="66265" y="362"/>
                    <a:pt x="15439" y="-4784"/>
                    <a:pt x="5147" y="15800"/>
                  </a:cubicBezTo>
                  <a:cubicBezTo>
                    <a:pt x="-5145" y="36384"/>
                    <a:pt x="-12705" y="131555"/>
                    <a:pt x="89263" y="95596"/>
                  </a:cubicBezTo>
                  <a:lnTo>
                    <a:pt x="66265" y="298"/>
                  </a:ln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 67">
              <a:extLst>
                <a:ext uri="{FF2B5EF4-FFF2-40B4-BE49-F238E27FC236}">
                  <a16:creationId xmlns:a16="http://schemas.microsoft.com/office/drawing/2014/main" id="{6F7BF02D-36DD-D9F3-8D89-3C200378C9AD}"/>
                </a:ext>
              </a:extLst>
            </p:cNvPr>
            <p:cNvSpPr/>
            <p:nvPr/>
          </p:nvSpPr>
          <p:spPr>
            <a:xfrm rot="19901924">
              <a:off x="4001212" y="2597109"/>
              <a:ext cx="340051" cy="595716"/>
            </a:xfrm>
            <a:custGeom>
              <a:avLst/>
              <a:gdLst>
                <a:gd name="connsiteX0" fmla="*/ 596690 w 1007682"/>
                <a:gd name="connsiteY0" fmla="*/ 1042540 h 1765307"/>
                <a:gd name="connsiteX1" fmla="*/ 596690 w 1007682"/>
                <a:gd name="connsiteY1" fmla="*/ 1209120 h 1765307"/>
                <a:gd name="connsiteX2" fmla="*/ 479747 w 1007682"/>
                <a:gd name="connsiteY2" fmla="*/ 1332124 h 1765307"/>
                <a:gd name="connsiteX3" fmla="*/ 473502 w 1007682"/>
                <a:gd name="connsiteY3" fmla="*/ 1332118 h 1765307"/>
                <a:gd name="connsiteX4" fmla="*/ 350314 w 1007682"/>
                <a:gd name="connsiteY4" fmla="*/ 1209120 h 1765307"/>
                <a:gd name="connsiteX5" fmla="*/ 350314 w 1007682"/>
                <a:gd name="connsiteY5" fmla="*/ 945209 h 1765307"/>
                <a:gd name="connsiteX6" fmla="*/ 352855 w 1007682"/>
                <a:gd name="connsiteY6" fmla="*/ 940063 h 1765307"/>
                <a:gd name="connsiteX7" fmla="*/ 350314 w 1007682"/>
                <a:gd name="connsiteY7" fmla="*/ 934981 h 1765307"/>
                <a:gd name="connsiteX8" fmla="*/ 473502 w 1007682"/>
                <a:gd name="connsiteY8" fmla="*/ 811983 h 1765307"/>
                <a:gd name="connsiteX9" fmla="*/ 760983 w 1007682"/>
                <a:gd name="connsiteY9" fmla="*/ 530157 h 1765307"/>
                <a:gd name="connsiteX10" fmla="*/ 473502 w 1007682"/>
                <a:gd name="connsiteY10" fmla="*/ 245725 h 1765307"/>
                <a:gd name="connsiteX11" fmla="*/ 229667 w 1007682"/>
                <a:gd name="connsiteY11" fmla="*/ 384097 h 1765307"/>
                <a:gd name="connsiteX12" fmla="*/ 62134 w 1007682"/>
                <a:gd name="connsiteY12" fmla="*/ 430888 h 1765307"/>
                <a:gd name="connsiteX13" fmla="*/ 15343 w 1007682"/>
                <a:gd name="connsiteY13" fmla="*/ 263355 h 1765307"/>
                <a:gd name="connsiteX14" fmla="*/ 16645 w 1007682"/>
                <a:gd name="connsiteY14" fmla="*/ 261100 h 1765307"/>
                <a:gd name="connsiteX15" fmla="*/ 473502 w 1007682"/>
                <a:gd name="connsiteY15" fmla="*/ -206 h 1765307"/>
                <a:gd name="connsiteX16" fmla="*/ 1007168 w 1007682"/>
                <a:gd name="connsiteY16" fmla="*/ 530157 h 1765307"/>
                <a:gd name="connsiteX17" fmla="*/ 596499 w 1007682"/>
                <a:gd name="connsiteY17" fmla="*/ 1042540 h 1765307"/>
                <a:gd name="connsiteX18" fmla="*/ 596690 w 1007682"/>
                <a:gd name="connsiteY18" fmla="*/ 1595965 h 1765307"/>
                <a:gd name="connsiteX19" fmla="*/ 596690 w 1007682"/>
                <a:gd name="connsiteY19" fmla="*/ 1642089 h 1765307"/>
                <a:gd name="connsiteX20" fmla="*/ 473502 w 1007682"/>
                <a:gd name="connsiteY20" fmla="*/ 1765086 h 1765307"/>
                <a:gd name="connsiteX21" fmla="*/ 350314 w 1007682"/>
                <a:gd name="connsiteY21" fmla="*/ 1645221 h 1765307"/>
                <a:gd name="connsiteX22" fmla="*/ 350314 w 1007682"/>
                <a:gd name="connsiteY22" fmla="*/ 1642089 h 1765307"/>
                <a:gd name="connsiteX23" fmla="*/ 350314 w 1007682"/>
                <a:gd name="connsiteY23" fmla="*/ 1595965 h 1765307"/>
                <a:gd name="connsiteX24" fmla="*/ 473502 w 1007682"/>
                <a:gd name="connsiteY24" fmla="*/ 1473031 h 1765307"/>
                <a:gd name="connsiteX25" fmla="*/ 596690 w 1007682"/>
                <a:gd name="connsiteY25" fmla="*/ 1592769 h 1765307"/>
                <a:gd name="connsiteX26" fmla="*/ 596690 w 1007682"/>
                <a:gd name="connsiteY26" fmla="*/ 1595965 h 1765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07682" h="1765307">
                  <a:moveTo>
                    <a:pt x="596690" y="1042540"/>
                  </a:moveTo>
                  <a:lnTo>
                    <a:pt x="596690" y="1209120"/>
                  </a:lnTo>
                  <a:cubicBezTo>
                    <a:pt x="598361" y="1275377"/>
                    <a:pt x="546004" y="1330447"/>
                    <a:pt x="479747" y="1332124"/>
                  </a:cubicBezTo>
                  <a:cubicBezTo>
                    <a:pt x="477663" y="1332175"/>
                    <a:pt x="475579" y="1332175"/>
                    <a:pt x="473502" y="1332118"/>
                  </a:cubicBezTo>
                  <a:cubicBezTo>
                    <a:pt x="405529" y="1332156"/>
                    <a:pt x="350384" y="1277093"/>
                    <a:pt x="350314" y="1209120"/>
                  </a:cubicBezTo>
                  <a:lnTo>
                    <a:pt x="350314" y="945209"/>
                  </a:lnTo>
                  <a:cubicBezTo>
                    <a:pt x="350314" y="942668"/>
                    <a:pt x="352855" y="942668"/>
                    <a:pt x="352855" y="940063"/>
                  </a:cubicBezTo>
                  <a:cubicBezTo>
                    <a:pt x="350314" y="937522"/>
                    <a:pt x="350314" y="937522"/>
                    <a:pt x="350314" y="934981"/>
                  </a:cubicBezTo>
                  <a:cubicBezTo>
                    <a:pt x="350314" y="870941"/>
                    <a:pt x="406793" y="811983"/>
                    <a:pt x="473502" y="811983"/>
                  </a:cubicBezTo>
                  <a:cubicBezTo>
                    <a:pt x="632649" y="811983"/>
                    <a:pt x="760983" y="686445"/>
                    <a:pt x="760983" y="530157"/>
                  </a:cubicBezTo>
                  <a:cubicBezTo>
                    <a:pt x="760983" y="368723"/>
                    <a:pt x="632649" y="245725"/>
                    <a:pt x="473502" y="245725"/>
                  </a:cubicBezTo>
                  <a:cubicBezTo>
                    <a:pt x="373636" y="246094"/>
                    <a:pt x="281198" y="298552"/>
                    <a:pt x="229667" y="384097"/>
                  </a:cubicBezTo>
                  <a:cubicBezTo>
                    <a:pt x="196326" y="443283"/>
                    <a:pt x="121320" y="464230"/>
                    <a:pt x="62134" y="430888"/>
                  </a:cubicBezTo>
                  <a:cubicBezTo>
                    <a:pt x="2948" y="397547"/>
                    <a:pt x="-17999" y="322541"/>
                    <a:pt x="15343" y="263355"/>
                  </a:cubicBezTo>
                  <a:cubicBezTo>
                    <a:pt x="15769" y="262599"/>
                    <a:pt x="16201" y="261850"/>
                    <a:pt x="16645" y="261100"/>
                  </a:cubicBezTo>
                  <a:cubicBezTo>
                    <a:pt x="111346" y="98668"/>
                    <a:pt x="285480" y="-930"/>
                    <a:pt x="473502" y="-206"/>
                  </a:cubicBezTo>
                  <a:cubicBezTo>
                    <a:pt x="766129" y="-206"/>
                    <a:pt x="1007168" y="235497"/>
                    <a:pt x="1007168" y="530157"/>
                  </a:cubicBezTo>
                  <a:cubicBezTo>
                    <a:pt x="1007168" y="778693"/>
                    <a:pt x="832647" y="988792"/>
                    <a:pt x="596499" y="1042540"/>
                  </a:cubicBezTo>
                  <a:close/>
                  <a:moveTo>
                    <a:pt x="596690" y="1595965"/>
                  </a:moveTo>
                  <a:lnTo>
                    <a:pt x="596690" y="1642089"/>
                  </a:lnTo>
                  <a:cubicBezTo>
                    <a:pt x="596690" y="1713816"/>
                    <a:pt x="545356" y="1765086"/>
                    <a:pt x="473502" y="1765086"/>
                  </a:cubicBezTo>
                  <a:cubicBezTo>
                    <a:pt x="406387" y="1766001"/>
                    <a:pt x="351235" y="1712336"/>
                    <a:pt x="350314" y="1645221"/>
                  </a:cubicBezTo>
                  <a:cubicBezTo>
                    <a:pt x="350301" y="1644179"/>
                    <a:pt x="350301" y="1643131"/>
                    <a:pt x="350314" y="1642089"/>
                  </a:cubicBezTo>
                  <a:lnTo>
                    <a:pt x="350314" y="1595965"/>
                  </a:lnTo>
                  <a:cubicBezTo>
                    <a:pt x="351305" y="1528386"/>
                    <a:pt x="405923" y="1473882"/>
                    <a:pt x="473502" y="1473031"/>
                  </a:cubicBezTo>
                  <a:cubicBezTo>
                    <a:pt x="540585" y="1472078"/>
                    <a:pt x="595737" y="1525686"/>
                    <a:pt x="596690" y="1592769"/>
                  </a:cubicBezTo>
                  <a:cubicBezTo>
                    <a:pt x="596703" y="1593830"/>
                    <a:pt x="596703" y="1594897"/>
                    <a:pt x="596690" y="1595965"/>
                  </a:cubicBezTo>
                  <a:close/>
                </a:path>
              </a:pathLst>
            </a:custGeom>
            <a:solidFill>
              <a:srgbClr val="D0D4DA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pic>
        <p:nvPicPr>
          <p:cNvPr id="74" name="图片 73">
            <a:extLst>
              <a:ext uri="{FF2B5EF4-FFF2-40B4-BE49-F238E27FC236}">
                <a16:creationId xmlns:a16="http://schemas.microsoft.com/office/drawing/2014/main" id="{DC44796B-E79B-37BB-86A6-38003DEFD4D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3035" y="299594"/>
            <a:ext cx="1837445" cy="501494"/>
          </a:xfrm>
          <a:prstGeom prst="rect">
            <a:avLst/>
          </a:prstGeom>
        </p:spPr>
      </p:pic>
      <p:sp>
        <p:nvSpPr>
          <p:cNvPr id="2" name="文本框 1">
            <a:extLst>
              <a:ext uri="{FF2B5EF4-FFF2-40B4-BE49-F238E27FC236}">
                <a16:creationId xmlns:a16="http://schemas.microsoft.com/office/drawing/2014/main" id="{7DC18AF8-D101-F0FA-1575-F34461BA94CF}"/>
              </a:ext>
            </a:extLst>
          </p:cNvPr>
          <p:cNvSpPr txBox="1">
            <a:spLocks/>
          </p:cNvSpPr>
          <p:nvPr/>
        </p:nvSpPr>
        <p:spPr>
          <a:xfrm>
            <a:off x="3824523" y="3327135"/>
            <a:ext cx="2923398" cy="1943508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r>
              <a:rPr kumimoji="1"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高转化文案实战</a:t>
            </a:r>
            <a:endParaRPr kumimoji="1"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kumimoji="1"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好处</a:t>
            </a:r>
            <a:r>
              <a:rPr kumimoji="1"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kumimoji="1"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行动：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kumimoji="1"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很想解决的问题</a:t>
            </a:r>
            <a:r>
              <a:rPr kumimoji="1"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kumimoji="1"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成就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kumimoji="1"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场景</a:t>
            </a:r>
            <a:r>
              <a:rPr kumimoji="1"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kumimoji="1"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危害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kumimoji="1"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颠覆认知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kumimoji="1"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把话说一半：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05354783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>
            <a:extLst>
              <a:ext uri="{FF2B5EF4-FFF2-40B4-BE49-F238E27FC236}">
                <a16:creationId xmlns:a16="http://schemas.microsoft.com/office/drawing/2014/main" id="{4D5A4E2A-6542-B202-49C1-485C7E1E850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4505"/>
          <a:stretch/>
        </p:blipFill>
        <p:spPr>
          <a:xfrm>
            <a:off x="-25400" y="0"/>
            <a:ext cx="12217400" cy="6966857"/>
          </a:xfrm>
          <a:prstGeom prst="rect">
            <a:avLst/>
          </a:prstGeom>
        </p:spPr>
      </p:pic>
      <p:sp>
        <p:nvSpPr>
          <p:cNvPr id="9" name="e7d195523061f1c0" descr="e7d195523061f1c0d318120d6aeaf1b6ccceb6ba3da59c0775C5DE19DDDEBC09ED96DBD9900D9848D623ECAD1D4904B78047D0015C22C8BE97228BE8B5BFF08FE7A3AE04126DA07312A96C0F69F9BAB71A8D4487C13BBD21E178D4F88753BF1C0AA2D476514934E2BFA1BCD92238D9398A04F1D9D25610EF52C0143E775B4548A6233544C90E9CB7" hidden="1">
            <a:extLst>
              <a:ext uri="{FF2B5EF4-FFF2-40B4-BE49-F238E27FC236}">
                <a16:creationId xmlns:a16="http://schemas.microsoft.com/office/drawing/2014/main" id="{4E552777-4412-4D28-87F1-58AB7948412F}"/>
              </a:ext>
            </a:extLst>
          </p:cNvPr>
          <p:cNvSpPr txBox="1"/>
          <p:nvPr/>
        </p:nvSpPr>
        <p:spPr>
          <a:xfrm>
            <a:off x="-355600" y="1803400"/>
            <a:ext cx="26225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华文楷体"/>
                <a:cs typeface="+mn-cs"/>
              </a:rPr>
              <a:t>e7d195523061f1c0d318120d6aeaf1b6ccceb6ba3da59c0775C5DE19DDDEBC09ED96DBD9900D9848D623ECAD1D4904B78047D0015C22C8BE97228BE8B5BFF08FE7A3AE04126DA07312A96C0F69F9BAB71A8D4487C13BBD21E178D4F88753BF1C0AA2D476514934E2BFA1BCD92238D9398A04F1D9D25610EF52C0143E775B4548A6233544C90E9CB7</a:t>
            </a:r>
            <a:endParaRPr kumimoji="0" lang="zh-CN" altLang="en-US" sz="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华文楷体"/>
              <a:cs typeface="+mn-cs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3062C623-795E-B76A-9679-0DA6E0A79431}"/>
              </a:ext>
            </a:extLst>
          </p:cNvPr>
          <p:cNvSpPr/>
          <p:nvPr/>
        </p:nvSpPr>
        <p:spPr>
          <a:xfrm rot="10800000">
            <a:off x="-3" y="-1"/>
            <a:ext cx="12242799" cy="7017657"/>
          </a:xfrm>
          <a:prstGeom prst="rect">
            <a:avLst/>
          </a:prstGeom>
          <a:solidFill>
            <a:srgbClr val="000000">
              <a:alpha val="7098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1" name="object 3">
            <a:extLst>
              <a:ext uri="{FF2B5EF4-FFF2-40B4-BE49-F238E27FC236}">
                <a16:creationId xmlns:a16="http://schemas.microsoft.com/office/drawing/2014/main" id="{313048AF-CD66-8E26-5B09-BE628937EA26}"/>
              </a:ext>
            </a:extLst>
          </p:cNvPr>
          <p:cNvSpPr txBox="1">
            <a:spLocks/>
          </p:cNvSpPr>
          <p:nvPr/>
        </p:nvSpPr>
        <p:spPr>
          <a:xfrm>
            <a:off x="2476496" y="2547220"/>
            <a:ext cx="7289799" cy="280846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 marR="0" lvl="0" indent="0" algn="ctr" defTabSz="914400" rtl="0" eaLnBrk="1" fontAlgn="auto" latinLnBrk="0" hangingPunct="1">
              <a:lnSpc>
                <a:spcPct val="15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4000" dirty="0">
                <a:solidFill>
                  <a:srgbClr val="FE8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+3</a:t>
            </a:r>
          </a:p>
          <a:p>
            <a:pPr marL="12700" marR="0" lvl="0" indent="0" algn="ctr" defTabSz="914400" rtl="0" eaLnBrk="1" fontAlgn="auto" latinLnBrk="0" hangingPunct="1">
              <a:lnSpc>
                <a:spcPct val="15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4000" dirty="0">
                <a:solidFill>
                  <a:srgbClr val="FE8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可以单独用</a:t>
            </a:r>
            <a:endParaRPr lang="en-US" altLang="zh-CN" sz="4000" dirty="0">
              <a:solidFill>
                <a:srgbClr val="FE8637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2700" marR="0" lvl="0" indent="0" algn="ctr" defTabSz="914400" rtl="0" eaLnBrk="1" fontAlgn="auto" latinLnBrk="0" hangingPunct="1">
              <a:lnSpc>
                <a:spcPct val="15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FE8637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也可以混用（更常见）</a:t>
            </a:r>
          </a:p>
        </p:txBody>
      </p:sp>
    </p:spTree>
    <p:extLst>
      <p:ext uri="{BB962C8B-B14F-4D97-AF65-F5344CB8AC3E}">
        <p14:creationId xmlns:p14="http://schemas.microsoft.com/office/powerpoint/2010/main" val="277560949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图片 39">
            <a:extLst>
              <a:ext uri="{FF2B5EF4-FFF2-40B4-BE49-F238E27FC236}">
                <a16:creationId xmlns:a16="http://schemas.microsoft.com/office/drawing/2014/main" id="{7CB1490E-39EF-785B-93D8-3B5E023A7BD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9418" y="253211"/>
            <a:ext cx="1837445" cy="501494"/>
          </a:xfrm>
          <a:prstGeom prst="rect">
            <a:avLst/>
          </a:prstGeom>
        </p:spPr>
      </p:pic>
      <p:sp>
        <p:nvSpPr>
          <p:cNvPr id="2" name="PA_文本框 21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>
            <a:extLst>
              <a:ext uri="{FF2B5EF4-FFF2-40B4-BE49-F238E27FC236}">
                <a16:creationId xmlns:a16="http://schemas.microsoft.com/office/drawing/2014/main" id="{EB15CC80-CF2A-2BCF-9F74-8937D327667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80230" y="330214"/>
            <a:ext cx="5152913" cy="46166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zh-CN"/>
            </a:defPPr>
            <a:lvl1pPr marL="12700" marR="0" lvl="0" indent="0" fontAlgn="auto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F05A23"/>
                </a:solidFill>
                <a:effectLst/>
                <a:uLnTx/>
                <a:uFillTx/>
                <a:latin typeface="Arial"/>
                <a:ea typeface="华文楷体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  <a:lvl6pPr>
              <a:defRPr>
                <a:latin typeface="+mn-lt"/>
                <a:ea typeface="+mn-ea"/>
                <a:cs typeface="+mn-cs"/>
              </a:defRPr>
            </a:lvl6pPr>
            <a:lvl7pPr>
              <a:defRPr>
                <a:latin typeface="+mn-lt"/>
                <a:ea typeface="+mn-ea"/>
                <a:cs typeface="+mn-cs"/>
              </a:defRPr>
            </a:lvl7pPr>
            <a:lvl8pPr>
              <a:defRPr>
                <a:latin typeface="+mn-lt"/>
                <a:ea typeface="+mn-ea"/>
                <a:cs typeface="+mn-cs"/>
              </a:defRPr>
            </a:lvl8pPr>
            <a:lvl9pPr>
              <a:defRPr>
                <a:latin typeface="+mn-lt"/>
                <a:ea typeface="+mn-ea"/>
                <a:cs typeface="+mn-cs"/>
              </a:defRPr>
            </a:lvl9pPr>
          </a:lstStyle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</a:t>
            </a:r>
            <a:r>
              <a:rPr lang="en-US" altLang="zh-CN" sz="2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2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步：实用内容，激发欲望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2B23F7BC-282A-284C-1BC8-0CF3B481E51A}"/>
              </a:ext>
            </a:extLst>
          </p:cNvPr>
          <p:cNvSpPr txBox="1"/>
          <p:nvPr/>
        </p:nvSpPr>
        <p:spPr>
          <a:xfrm>
            <a:off x="280650" y="358385"/>
            <a:ext cx="6744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.1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椭圆 16">
            <a:extLst>
              <a:ext uri="{FF2B5EF4-FFF2-40B4-BE49-F238E27FC236}">
                <a16:creationId xmlns:a16="http://schemas.microsoft.com/office/drawing/2014/main" id="{4BBE8642-6248-1EF9-E93A-29181FD66A9D}"/>
              </a:ext>
            </a:extLst>
          </p:cNvPr>
          <p:cNvSpPr>
            <a:spLocks noChangeAspect="1"/>
          </p:cNvSpPr>
          <p:nvPr/>
        </p:nvSpPr>
        <p:spPr>
          <a:xfrm>
            <a:off x="2897190" y="2806306"/>
            <a:ext cx="2340000" cy="2340000"/>
          </a:xfrm>
          <a:prstGeom prst="ellipse">
            <a:avLst/>
          </a:prstGeom>
          <a:solidFill>
            <a:schemeClr val="tx1">
              <a:lumMod val="50000"/>
              <a:lumOff val="50000"/>
              <a:alpha val="10000"/>
            </a:schemeClr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 defTabSz="913765"/>
            <a:r>
              <a:rPr lang="zh-CN" altLang="en-US" sz="32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品</a:t>
            </a:r>
            <a:endParaRPr lang="en-US" altLang="zh-CN" sz="3200" b="1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defTabSz="913765"/>
            <a:r>
              <a:rPr lang="zh-CN" altLang="en-US" sz="32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特色</a:t>
            </a:r>
          </a:p>
        </p:txBody>
      </p:sp>
      <p:sp>
        <p:nvSpPr>
          <p:cNvPr id="18" name="椭圆 17">
            <a:extLst>
              <a:ext uri="{FF2B5EF4-FFF2-40B4-BE49-F238E27FC236}">
                <a16:creationId xmlns:a16="http://schemas.microsoft.com/office/drawing/2014/main" id="{98F72986-7B3F-4E3D-714B-620FE0F5EEFE}"/>
              </a:ext>
            </a:extLst>
          </p:cNvPr>
          <p:cNvSpPr>
            <a:spLocks noChangeAspect="1"/>
          </p:cNvSpPr>
          <p:nvPr/>
        </p:nvSpPr>
        <p:spPr>
          <a:xfrm>
            <a:off x="6500150" y="2806306"/>
            <a:ext cx="2340000" cy="2340000"/>
          </a:xfrm>
          <a:prstGeom prst="ellipse">
            <a:avLst/>
          </a:prstGeom>
          <a:solidFill>
            <a:schemeClr val="accent1"/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 defTabSz="913765"/>
            <a:r>
              <a:rPr lang="zh-CN" altLang="en-US" sz="3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品</a:t>
            </a:r>
            <a:endParaRPr lang="en-US" altLang="zh-CN" sz="3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defTabSz="913765"/>
            <a:r>
              <a:rPr lang="zh-CN" altLang="en-US" sz="3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卖点</a:t>
            </a: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B8171B09-6392-9D8F-F59E-CDF0466CC60A}"/>
              </a:ext>
            </a:extLst>
          </p:cNvPr>
          <p:cNvSpPr txBox="1"/>
          <p:nvPr/>
        </p:nvSpPr>
        <p:spPr>
          <a:xfrm>
            <a:off x="5382794" y="3191476"/>
            <a:ext cx="979386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9600" dirty="0">
                <a:solidFill>
                  <a:srgbClr val="F05A23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？</a:t>
            </a:r>
            <a:endParaRPr lang="zh-CN" altLang="en-US" sz="9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E453C98C-F8B4-F98D-D94C-B1B0D7669D59}"/>
              </a:ext>
            </a:extLst>
          </p:cNvPr>
          <p:cNvSpPr>
            <a:spLocks/>
          </p:cNvSpPr>
          <p:nvPr/>
        </p:nvSpPr>
        <p:spPr>
          <a:xfrm>
            <a:off x="835442" y="1797755"/>
            <a:ext cx="10858500" cy="553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b" anchorCtr="0">
            <a:normAutofit/>
          </a:bodyPr>
          <a:lstStyle/>
          <a:p>
            <a:pPr algn="ctr">
              <a:buSzPct val="25000"/>
            </a:pPr>
            <a:r>
              <a:rPr lang="zh-CN" altLang="en-US" sz="2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很多人都在</a:t>
            </a:r>
            <a:r>
              <a:rPr lang="zh-CN" altLang="en-US" sz="3000" b="1" dirty="0">
                <a:solidFill>
                  <a:srgbClr val="F05A2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混淆下面</a:t>
            </a:r>
            <a:r>
              <a:rPr lang="en-US" altLang="zh-CN" sz="3000" b="1" dirty="0">
                <a:solidFill>
                  <a:srgbClr val="F05A2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3000" b="1" dirty="0">
                <a:solidFill>
                  <a:srgbClr val="F05A2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种概念</a:t>
            </a:r>
            <a:r>
              <a:rPr lang="zh-CN" altLang="en-US" sz="2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写出来的东西，用户觉得没用</a:t>
            </a:r>
            <a:endParaRPr lang="en-US" altLang="zh-CN" sz="24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90245310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直线连接符 3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>
            <a:extLst>
              <a:ext uri="{FF2B5EF4-FFF2-40B4-BE49-F238E27FC236}">
                <a16:creationId xmlns:a16="http://schemas.microsoft.com/office/drawing/2014/main" id="{C83C8CAF-78CE-744E-816D-3993AB891B4D}"/>
              </a:ext>
            </a:extLst>
          </p:cNvPr>
          <p:cNvCxnSpPr/>
          <p:nvPr/>
        </p:nvCxnSpPr>
        <p:spPr>
          <a:xfrm>
            <a:off x="725817" y="2640474"/>
            <a:ext cx="10591442" cy="0"/>
          </a:xfrm>
          <a:prstGeom prst="line">
            <a:avLst/>
          </a:prstGeom>
          <a:ln w="508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A_文本框 21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>
            <a:extLst>
              <a:ext uri="{FF2B5EF4-FFF2-40B4-BE49-F238E27FC236}">
                <a16:creationId xmlns:a16="http://schemas.microsoft.com/office/drawing/2014/main" id="{8F11CAFE-0638-A849-8DAF-81D2D98E664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824523" y="1777629"/>
            <a:ext cx="6239282" cy="46166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zh-CN"/>
            </a:defPPr>
            <a:lvl1pPr marL="12700" marR="0" lvl="0" indent="0" fontAlgn="auto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F05A23"/>
                </a:solidFill>
                <a:effectLst/>
                <a:uLnTx/>
                <a:uFillTx/>
                <a:latin typeface="Arial"/>
                <a:ea typeface="华文楷体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  <a:lvl6pPr>
              <a:defRPr>
                <a:latin typeface="+mn-lt"/>
                <a:ea typeface="+mn-ea"/>
                <a:cs typeface="+mn-cs"/>
              </a:defRPr>
            </a:lvl6pPr>
            <a:lvl7pPr>
              <a:defRPr>
                <a:latin typeface="+mn-lt"/>
                <a:ea typeface="+mn-ea"/>
                <a:cs typeface="+mn-cs"/>
              </a:defRPr>
            </a:lvl7pPr>
            <a:lvl8pPr>
              <a:defRPr>
                <a:latin typeface="+mn-lt"/>
                <a:ea typeface="+mn-ea"/>
                <a:cs typeface="+mn-cs"/>
              </a:defRPr>
            </a:lvl8pPr>
            <a:lvl9pPr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3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下面这张海报的内容怎么样？</a:t>
            </a:r>
          </a:p>
        </p:txBody>
      </p:sp>
      <p:sp>
        <p:nvSpPr>
          <p:cNvPr id="3" name="e7d195523061f1c0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 hidden="1">
            <a:extLst>
              <a:ext uri="{FF2B5EF4-FFF2-40B4-BE49-F238E27FC236}">
                <a16:creationId xmlns:a16="http://schemas.microsoft.com/office/drawing/2014/main" id="{0345E291-05D0-49BA-AC28-BA247D6B2FD2}"/>
              </a:ext>
            </a:extLst>
          </p:cNvPr>
          <p:cNvSpPr txBox="1"/>
          <p:nvPr/>
        </p:nvSpPr>
        <p:spPr>
          <a:xfrm>
            <a:off x="-355600" y="1803400"/>
            <a:ext cx="26225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/>
              <a:t>e7d195523061f1c0d318120d6aeaf1b6ccceb6ba3da59c0775C5DE19DDDEBC09ED96DBD9900D9848D623ECAD1D4904B78047D0015C22C8BE97228BE8B5BFF08FE7A3AE04126DA07312A96C0F69F9BAB71A8D4487C13BBD21E3F9DE587F01A2EC9B24CE25FF0E9B2136662A47C8B58C275121A88EC20F5D58602B203067E5F6C927344A314878098B</a:t>
            </a:r>
            <a:endParaRPr lang="zh-CN" altLang="en-US" sz="100"/>
          </a:p>
        </p:txBody>
      </p:sp>
      <p:grpSp>
        <p:nvGrpSpPr>
          <p:cNvPr id="9" name="组合 8">
            <a:extLst>
              <a:ext uri="{FF2B5EF4-FFF2-40B4-BE49-F238E27FC236}">
                <a16:creationId xmlns:a16="http://schemas.microsoft.com/office/drawing/2014/main" id="{596FEB65-F537-2409-9CFF-8EC92AAE9245}"/>
              </a:ext>
            </a:extLst>
          </p:cNvPr>
          <p:cNvGrpSpPr/>
          <p:nvPr/>
        </p:nvGrpSpPr>
        <p:grpSpPr>
          <a:xfrm>
            <a:off x="812799" y="551745"/>
            <a:ext cx="2344293" cy="1885528"/>
            <a:chOff x="3207781" y="1105990"/>
            <a:chExt cx="5776438" cy="4646020"/>
          </a:xfrm>
        </p:grpSpPr>
        <p:sp>
          <p:nvSpPr>
            <p:cNvPr id="10" name="任意多边形 4">
              <a:extLst>
                <a:ext uri="{FF2B5EF4-FFF2-40B4-BE49-F238E27FC236}">
                  <a16:creationId xmlns:a16="http://schemas.microsoft.com/office/drawing/2014/main" id="{24273B71-40A5-A3F6-A543-E3946B74F2AB}"/>
                </a:ext>
              </a:extLst>
            </p:cNvPr>
            <p:cNvSpPr/>
            <p:nvPr/>
          </p:nvSpPr>
          <p:spPr>
            <a:xfrm>
              <a:off x="3598883" y="5220505"/>
              <a:ext cx="5385336" cy="531505"/>
            </a:xfrm>
            <a:custGeom>
              <a:avLst/>
              <a:gdLst>
                <a:gd name="connsiteX0" fmla="*/ -514 w 4756429"/>
                <a:gd name="connsiteY0" fmla="*/ 234476 h 469435"/>
                <a:gd name="connsiteX1" fmla="*/ 2377732 w 4756429"/>
                <a:gd name="connsiteY1" fmla="*/ -210 h 469435"/>
                <a:gd name="connsiteX2" fmla="*/ 4755915 w 4756429"/>
                <a:gd name="connsiteY2" fmla="*/ 234476 h 469435"/>
                <a:gd name="connsiteX3" fmla="*/ 2377732 w 4756429"/>
                <a:gd name="connsiteY3" fmla="*/ 469226 h 469435"/>
                <a:gd name="connsiteX4" fmla="*/ -514 w 4756429"/>
                <a:gd name="connsiteY4" fmla="*/ 234476 h 469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56429" h="469435">
                  <a:moveTo>
                    <a:pt x="-514" y="234476"/>
                  </a:moveTo>
                  <a:cubicBezTo>
                    <a:pt x="-514" y="104871"/>
                    <a:pt x="1064277" y="-210"/>
                    <a:pt x="2377732" y="-210"/>
                  </a:cubicBezTo>
                  <a:cubicBezTo>
                    <a:pt x="3691187" y="-210"/>
                    <a:pt x="4755915" y="104871"/>
                    <a:pt x="4755915" y="234476"/>
                  </a:cubicBezTo>
                  <a:cubicBezTo>
                    <a:pt x="4755915" y="364081"/>
                    <a:pt x="3691187" y="469226"/>
                    <a:pt x="2377732" y="469226"/>
                  </a:cubicBezTo>
                  <a:cubicBezTo>
                    <a:pt x="1064277" y="469226"/>
                    <a:pt x="-514" y="364144"/>
                    <a:pt x="-514" y="234476"/>
                  </a:cubicBezTo>
                  <a:close/>
                </a:path>
              </a:pathLst>
            </a:custGeom>
            <a:solidFill>
              <a:srgbClr val="E8E8E8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" name="任意多边形 5">
              <a:extLst>
                <a:ext uri="{FF2B5EF4-FFF2-40B4-BE49-F238E27FC236}">
                  <a16:creationId xmlns:a16="http://schemas.microsoft.com/office/drawing/2014/main" id="{F98FB409-950B-FD23-D013-AA282725A0BD}"/>
                </a:ext>
              </a:extLst>
            </p:cNvPr>
            <p:cNvSpPr/>
            <p:nvPr/>
          </p:nvSpPr>
          <p:spPr>
            <a:xfrm>
              <a:off x="4313321" y="3382454"/>
              <a:ext cx="883608" cy="1118025"/>
            </a:xfrm>
            <a:custGeom>
              <a:avLst/>
              <a:gdLst>
                <a:gd name="connsiteX0" fmla="*/ 304303 w 780419"/>
                <a:gd name="connsiteY0" fmla="*/ 118570 h 987461"/>
                <a:gd name="connsiteX1" fmla="*/ 254240 w 780419"/>
                <a:gd name="connsiteY1" fmla="*/ 127782 h 987461"/>
                <a:gd name="connsiteX2" fmla="*/ 200428 w 780419"/>
                <a:gd name="connsiteY2" fmla="*/ 182038 h 987461"/>
                <a:gd name="connsiteX3" fmla="*/ 189374 w 780419"/>
                <a:gd name="connsiteY3" fmla="*/ 260437 h 987461"/>
                <a:gd name="connsiteX4" fmla="*/ 195727 w 780419"/>
                <a:gd name="connsiteY4" fmla="*/ 517740 h 987461"/>
                <a:gd name="connsiteX5" fmla="*/ 71395 w 780419"/>
                <a:gd name="connsiteY5" fmla="*/ 592835 h 987461"/>
                <a:gd name="connsiteX6" fmla="*/ 24001 w 780419"/>
                <a:gd name="connsiteY6" fmla="*/ 840164 h 987461"/>
                <a:gd name="connsiteX7" fmla="*/ 249411 w 780419"/>
                <a:gd name="connsiteY7" fmla="*/ 982284 h 987461"/>
                <a:gd name="connsiteX8" fmla="*/ 522597 w 780419"/>
                <a:gd name="connsiteY8" fmla="*/ 959286 h 987461"/>
                <a:gd name="connsiteX9" fmla="*/ 699597 w 780419"/>
                <a:gd name="connsiteY9" fmla="*/ 889401 h 987461"/>
                <a:gd name="connsiteX10" fmla="*/ 708555 w 780419"/>
                <a:gd name="connsiteY10" fmla="*/ 575617 h 987461"/>
                <a:gd name="connsiteX11" fmla="*/ 764082 w 780419"/>
                <a:gd name="connsiteY11" fmla="*/ 389088 h 987461"/>
                <a:gd name="connsiteX12" fmla="*/ 606968 w 780419"/>
                <a:gd name="connsiteY12" fmla="*/ 27466 h 987461"/>
                <a:gd name="connsiteX13" fmla="*/ 304303 w 780419"/>
                <a:gd name="connsiteY13" fmla="*/ 118761 h 987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80419" h="987461">
                  <a:moveTo>
                    <a:pt x="304303" y="118570"/>
                  </a:moveTo>
                  <a:cubicBezTo>
                    <a:pt x="307860" y="110184"/>
                    <a:pt x="258432" y="125940"/>
                    <a:pt x="254240" y="127782"/>
                  </a:cubicBezTo>
                  <a:cubicBezTo>
                    <a:pt x="230002" y="138284"/>
                    <a:pt x="210733" y="157712"/>
                    <a:pt x="200428" y="182038"/>
                  </a:cubicBezTo>
                  <a:cubicBezTo>
                    <a:pt x="191299" y="207108"/>
                    <a:pt x="187531" y="233817"/>
                    <a:pt x="189374" y="260437"/>
                  </a:cubicBezTo>
                  <a:cubicBezTo>
                    <a:pt x="191216" y="342393"/>
                    <a:pt x="253985" y="444679"/>
                    <a:pt x="195727" y="517740"/>
                  </a:cubicBezTo>
                  <a:cubicBezTo>
                    <a:pt x="165486" y="555478"/>
                    <a:pt x="111484" y="565706"/>
                    <a:pt x="71395" y="592835"/>
                  </a:cubicBezTo>
                  <a:cubicBezTo>
                    <a:pt x="-4843" y="644295"/>
                    <a:pt x="-20154" y="759351"/>
                    <a:pt x="24001" y="840164"/>
                  </a:cubicBezTo>
                  <a:cubicBezTo>
                    <a:pt x="68155" y="920976"/>
                    <a:pt x="158306" y="968752"/>
                    <a:pt x="249411" y="982284"/>
                  </a:cubicBezTo>
                  <a:cubicBezTo>
                    <a:pt x="340516" y="995816"/>
                    <a:pt x="433081" y="979552"/>
                    <a:pt x="522597" y="959286"/>
                  </a:cubicBezTo>
                  <a:cubicBezTo>
                    <a:pt x="584986" y="945182"/>
                    <a:pt x="648835" y="928092"/>
                    <a:pt x="699597" y="889401"/>
                  </a:cubicBezTo>
                  <a:cubicBezTo>
                    <a:pt x="819354" y="797724"/>
                    <a:pt x="763510" y="682986"/>
                    <a:pt x="708555" y="575617"/>
                  </a:cubicBezTo>
                  <a:cubicBezTo>
                    <a:pt x="673358" y="506876"/>
                    <a:pt x="736509" y="474475"/>
                    <a:pt x="764082" y="389088"/>
                  </a:cubicBezTo>
                  <a:cubicBezTo>
                    <a:pt x="813700" y="235469"/>
                    <a:pt x="742608" y="86360"/>
                    <a:pt x="606968" y="27466"/>
                  </a:cubicBezTo>
                  <a:cubicBezTo>
                    <a:pt x="384225" y="-69039"/>
                    <a:pt x="304747" y="117744"/>
                    <a:pt x="304303" y="118761"/>
                  </a:cubicBezTo>
                  <a:close/>
                </a:path>
              </a:pathLst>
            </a:custGeom>
            <a:solidFill>
              <a:srgbClr val="971D0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" name="任意多边形 6">
              <a:extLst>
                <a:ext uri="{FF2B5EF4-FFF2-40B4-BE49-F238E27FC236}">
                  <a16:creationId xmlns:a16="http://schemas.microsoft.com/office/drawing/2014/main" id="{17505BF0-3591-A773-C8DD-F0AE8E774240}"/>
                </a:ext>
              </a:extLst>
            </p:cNvPr>
            <p:cNvSpPr/>
            <p:nvPr/>
          </p:nvSpPr>
          <p:spPr>
            <a:xfrm>
              <a:off x="4743753" y="3967018"/>
              <a:ext cx="251762" cy="311178"/>
            </a:xfrm>
            <a:custGeom>
              <a:avLst/>
              <a:gdLst>
                <a:gd name="connsiteX0" fmla="*/ 110730 w 222361"/>
                <a:gd name="connsiteY0" fmla="*/ 274628 h 274838"/>
                <a:gd name="connsiteX1" fmla="*/ 110730 w 222361"/>
                <a:gd name="connsiteY1" fmla="*/ 274628 h 274838"/>
                <a:gd name="connsiteX2" fmla="*/ -514 w 222361"/>
                <a:gd name="connsiteY2" fmla="*/ 126853 h 274838"/>
                <a:gd name="connsiteX3" fmla="*/ -514 w 222361"/>
                <a:gd name="connsiteY3" fmla="*/ -210 h 274838"/>
                <a:gd name="connsiteX4" fmla="*/ 221847 w 222361"/>
                <a:gd name="connsiteY4" fmla="*/ -210 h 274838"/>
                <a:gd name="connsiteX5" fmla="*/ 221847 w 222361"/>
                <a:gd name="connsiteY5" fmla="*/ 126853 h 274838"/>
                <a:gd name="connsiteX6" fmla="*/ 111937 w 222361"/>
                <a:gd name="connsiteY6" fmla="*/ 274628 h 274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2361" h="274838">
                  <a:moveTo>
                    <a:pt x="110730" y="274628"/>
                  </a:moveTo>
                  <a:lnTo>
                    <a:pt x="110730" y="274628"/>
                  </a:lnTo>
                  <a:cubicBezTo>
                    <a:pt x="49358" y="274628"/>
                    <a:pt x="-451" y="163639"/>
                    <a:pt x="-514" y="126853"/>
                  </a:cubicBezTo>
                  <a:lnTo>
                    <a:pt x="-514" y="-210"/>
                  </a:lnTo>
                  <a:lnTo>
                    <a:pt x="221847" y="-210"/>
                  </a:lnTo>
                  <a:lnTo>
                    <a:pt x="221847" y="126853"/>
                  </a:lnTo>
                  <a:cubicBezTo>
                    <a:pt x="221847" y="163448"/>
                    <a:pt x="172991" y="274438"/>
                    <a:pt x="111937" y="274628"/>
                  </a:cubicBez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" name="任意多边形 7">
              <a:extLst>
                <a:ext uri="{FF2B5EF4-FFF2-40B4-BE49-F238E27FC236}">
                  <a16:creationId xmlns:a16="http://schemas.microsoft.com/office/drawing/2014/main" id="{76280798-B9B2-D858-C70C-FBC77E904A71}"/>
                </a:ext>
              </a:extLst>
            </p:cNvPr>
            <p:cNvSpPr/>
            <p:nvPr/>
          </p:nvSpPr>
          <p:spPr>
            <a:xfrm>
              <a:off x="4572555" y="3764605"/>
              <a:ext cx="121406" cy="141542"/>
            </a:xfrm>
            <a:custGeom>
              <a:avLst/>
              <a:gdLst>
                <a:gd name="connsiteX0" fmla="*/ 77312 w 107228"/>
                <a:gd name="connsiteY0" fmla="*/ 27741 h 125013"/>
                <a:gd name="connsiteX1" fmla="*/ -514 w 107228"/>
                <a:gd name="connsiteY1" fmla="*/ 46801 h 125013"/>
                <a:gd name="connsiteX2" fmla="*/ 94783 w 107228"/>
                <a:gd name="connsiteY2" fmla="*/ 110332 h 125013"/>
                <a:gd name="connsiteX3" fmla="*/ 77312 w 107228"/>
                <a:gd name="connsiteY3" fmla="*/ 27741 h 125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228" h="125013">
                  <a:moveTo>
                    <a:pt x="77312" y="27741"/>
                  </a:moveTo>
                  <a:cubicBezTo>
                    <a:pt x="41226" y="-26515"/>
                    <a:pt x="-514" y="8364"/>
                    <a:pt x="-514" y="46801"/>
                  </a:cubicBezTo>
                  <a:cubicBezTo>
                    <a:pt x="-514" y="102073"/>
                    <a:pt x="60031" y="149722"/>
                    <a:pt x="94783" y="110332"/>
                  </a:cubicBezTo>
                  <a:cubicBezTo>
                    <a:pt x="129535" y="70943"/>
                    <a:pt x="77312" y="27741"/>
                    <a:pt x="77312" y="2774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" name="任意多边形 8">
              <a:extLst>
                <a:ext uri="{FF2B5EF4-FFF2-40B4-BE49-F238E27FC236}">
                  <a16:creationId xmlns:a16="http://schemas.microsoft.com/office/drawing/2014/main" id="{0D78D172-A7E5-69CA-9A8A-78DDB5CCBB90}"/>
                </a:ext>
              </a:extLst>
            </p:cNvPr>
            <p:cNvSpPr/>
            <p:nvPr/>
          </p:nvSpPr>
          <p:spPr>
            <a:xfrm>
              <a:off x="5034066" y="3764605"/>
              <a:ext cx="121425" cy="141542"/>
            </a:xfrm>
            <a:custGeom>
              <a:avLst/>
              <a:gdLst>
                <a:gd name="connsiteX0" fmla="*/ 28968 w 107245"/>
                <a:gd name="connsiteY0" fmla="*/ 27741 h 125013"/>
                <a:gd name="connsiteX1" fmla="*/ 106731 w 107245"/>
                <a:gd name="connsiteY1" fmla="*/ 46801 h 125013"/>
                <a:gd name="connsiteX2" fmla="*/ 11433 w 107245"/>
                <a:gd name="connsiteY2" fmla="*/ 110332 h 125013"/>
                <a:gd name="connsiteX3" fmla="*/ 28968 w 107245"/>
                <a:gd name="connsiteY3" fmla="*/ 27741 h 125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245" h="125013">
                  <a:moveTo>
                    <a:pt x="28968" y="27741"/>
                  </a:moveTo>
                  <a:cubicBezTo>
                    <a:pt x="64927" y="-26515"/>
                    <a:pt x="106731" y="8364"/>
                    <a:pt x="106731" y="46801"/>
                  </a:cubicBezTo>
                  <a:cubicBezTo>
                    <a:pt x="106731" y="102073"/>
                    <a:pt x="46249" y="149722"/>
                    <a:pt x="11433" y="110332"/>
                  </a:cubicBezTo>
                  <a:cubicBezTo>
                    <a:pt x="-23382" y="70943"/>
                    <a:pt x="28968" y="27741"/>
                    <a:pt x="28968" y="2774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" name="任意多边形 9">
              <a:extLst>
                <a:ext uri="{FF2B5EF4-FFF2-40B4-BE49-F238E27FC236}">
                  <a16:creationId xmlns:a16="http://schemas.microsoft.com/office/drawing/2014/main" id="{86F465E8-D25C-1B7E-1A19-BDA15266E11E}"/>
                </a:ext>
              </a:extLst>
            </p:cNvPr>
            <p:cNvSpPr/>
            <p:nvPr/>
          </p:nvSpPr>
          <p:spPr>
            <a:xfrm>
              <a:off x="4636485" y="3571274"/>
              <a:ext cx="453974" cy="467243"/>
            </a:xfrm>
            <a:custGeom>
              <a:avLst/>
              <a:gdLst>
                <a:gd name="connsiteX0" fmla="*/ 199817 w 400958"/>
                <a:gd name="connsiteY0" fmla="*/ 412468 h 412678"/>
                <a:gd name="connsiteX1" fmla="*/ 6744 w 400958"/>
                <a:gd name="connsiteY1" fmla="*/ 98113 h 412678"/>
                <a:gd name="connsiteX2" fmla="*/ 393207 w 400958"/>
                <a:gd name="connsiteY2" fmla="*/ 98113 h 412678"/>
                <a:gd name="connsiteX3" fmla="*/ 199817 w 400958"/>
                <a:gd name="connsiteY3" fmla="*/ 412468 h 41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0958" h="412678">
                  <a:moveTo>
                    <a:pt x="199817" y="412468"/>
                  </a:moveTo>
                  <a:cubicBezTo>
                    <a:pt x="57569" y="412468"/>
                    <a:pt x="-26547" y="257387"/>
                    <a:pt x="6744" y="98113"/>
                  </a:cubicBezTo>
                  <a:cubicBezTo>
                    <a:pt x="34063" y="-33016"/>
                    <a:pt x="365762" y="-32953"/>
                    <a:pt x="393207" y="98113"/>
                  </a:cubicBezTo>
                  <a:cubicBezTo>
                    <a:pt x="426434" y="257387"/>
                    <a:pt x="342382" y="412595"/>
                    <a:pt x="199817" y="412468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" name="任意多边形 10">
              <a:extLst>
                <a:ext uri="{FF2B5EF4-FFF2-40B4-BE49-F238E27FC236}">
                  <a16:creationId xmlns:a16="http://schemas.microsoft.com/office/drawing/2014/main" id="{2FE76299-F32F-7990-2400-C3C64857735C}"/>
                </a:ext>
              </a:extLst>
            </p:cNvPr>
            <p:cNvSpPr/>
            <p:nvPr/>
          </p:nvSpPr>
          <p:spPr>
            <a:xfrm>
              <a:off x="4757636" y="3487392"/>
              <a:ext cx="367502" cy="234313"/>
            </a:xfrm>
            <a:custGeom>
              <a:avLst/>
              <a:gdLst>
                <a:gd name="connsiteX0" fmla="*/ -514 w 324585"/>
                <a:gd name="connsiteY0" fmla="*/ 31541 h 206950"/>
                <a:gd name="connsiteX1" fmla="*/ 303231 w 324585"/>
                <a:gd name="connsiteY1" fmla="*/ 198693 h 206950"/>
                <a:gd name="connsiteX2" fmla="*/ 184045 w 324585"/>
                <a:gd name="connsiteY2" fmla="*/ 21757 h 206950"/>
                <a:gd name="connsiteX3" fmla="*/ -514 w 324585"/>
                <a:gd name="connsiteY3" fmla="*/ 31541 h 206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585" h="206950">
                  <a:moveTo>
                    <a:pt x="-514" y="31541"/>
                  </a:moveTo>
                  <a:cubicBezTo>
                    <a:pt x="-514" y="165911"/>
                    <a:pt x="253612" y="230650"/>
                    <a:pt x="303231" y="198693"/>
                  </a:cubicBezTo>
                  <a:cubicBezTo>
                    <a:pt x="352849" y="166737"/>
                    <a:pt x="314158" y="52951"/>
                    <a:pt x="184045" y="21757"/>
                  </a:cubicBezTo>
                  <a:cubicBezTo>
                    <a:pt x="53932" y="-9437"/>
                    <a:pt x="-197" y="-8484"/>
                    <a:pt x="-514" y="31541"/>
                  </a:cubicBezTo>
                  <a:close/>
                </a:path>
              </a:pathLst>
            </a:custGeom>
            <a:solidFill>
              <a:srgbClr val="971D0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7" name="任意多边形 11">
              <a:extLst>
                <a:ext uri="{FF2B5EF4-FFF2-40B4-BE49-F238E27FC236}">
                  <a16:creationId xmlns:a16="http://schemas.microsoft.com/office/drawing/2014/main" id="{80766D00-99EF-E81F-A1C6-484B07DA63CC}"/>
                </a:ext>
              </a:extLst>
            </p:cNvPr>
            <p:cNvSpPr/>
            <p:nvPr/>
          </p:nvSpPr>
          <p:spPr>
            <a:xfrm>
              <a:off x="4592900" y="3508707"/>
              <a:ext cx="173053" cy="238281"/>
            </a:xfrm>
            <a:custGeom>
              <a:avLst/>
              <a:gdLst>
                <a:gd name="connsiteX0" fmla="*/ 145428 w 152844"/>
                <a:gd name="connsiteY0" fmla="*/ 11762 h 210454"/>
                <a:gd name="connsiteX1" fmla="*/ 38759 w 152844"/>
                <a:gd name="connsiteY1" fmla="*/ 209790 h 210454"/>
                <a:gd name="connsiteX2" fmla="*/ 27704 w 152844"/>
                <a:gd name="connsiteY2" fmla="*/ 78089 h 210454"/>
                <a:gd name="connsiteX3" fmla="*/ 145428 w 152844"/>
                <a:gd name="connsiteY3" fmla="*/ 11762 h 210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844" h="210454">
                  <a:moveTo>
                    <a:pt x="145428" y="11762"/>
                  </a:moveTo>
                  <a:cubicBezTo>
                    <a:pt x="177703" y="76501"/>
                    <a:pt x="89076" y="219320"/>
                    <a:pt x="38759" y="209790"/>
                  </a:cubicBezTo>
                  <a:cubicBezTo>
                    <a:pt x="-11559" y="200261"/>
                    <a:pt x="-11622" y="144416"/>
                    <a:pt x="27704" y="78089"/>
                  </a:cubicBezTo>
                  <a:cubicBezTo>
                    <a:pt x="67030" y="11762"/>
                    <a:pt x="130117" y="-18987"/>
                    <a:pt x="145428" y="11762"/>
                  </a:cubicBezTo>
                  <a:close/>
                </a:path>
              </a:pathLst>
            </a:custGeom>
            <a:solidFill>
              <a:srgbClr val="971D0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" name="任意多边形 12">
              <a:extLst>
                <a:ext uri="{FF2B5EF4-FFF2-40B4-BE49-F238E27FC236}">
                  <a16:creationId xmlns:a16="http://schemas.microsoft.com/office/drawing/2014/main" id="{1830528A-9BDE-3145-381D-6CCEA1947B4A}"/>
                </a:ext>
              </a:extLst>
            </p:cNvPr>
            <p:cNvSpPr/>
            <p:nvPr/>
          </p:nvSpPr>
          <p:spPr>
            <a:xfrm>
              <a:off x="3612370" y="4281731"/>
              <a:ext cx="915035" cy="627652"/>
            </a:xfrm>
            <a:custGeom>
              <a:avLst/>
              <a:gdLst>
                <a:gd name="connsiteX0" fmla="*/ 797158 w 808176"/>
                <a:gd name="connsiteY0" fmla="*/ 72207 h 554354"/>
                <a:gd name="connsiteX1" fmla="*/ 561011 w 808176"/>
                <a:gd name="connsiteY1" fmla="*/ 325698 h 554354"/>
                <a:gd name="connsiteX2" fmla="*/ 47611 w 808176"/>
                <a:gd name="connsiteY2" fmla="*/ 553523 h 554354"/>
                <a:gd name="connsiteX3" fmla="*/ 47611 w 808176"/>
                <a:gd name="connsiteY3" fmla="*/ 451110 h 554354"/>
                <a:gd name="connsiteX4" fmla="*/ 496844 w 808176"/>
                <a:gd name="connsiteY4" fmla="*/ 243743 h 554354"/>
                <a:gd name="connsiteX5" fmla="*/ 650844 w 808176"/>
                <a:gd name="connsiteY5" fmla="*/ 90123 h 554354"/>
                <a:gd name="connsiteX6" fmla="*/ 699637 w 808176"/>
                <a:gd name="connsiteY6" fmla="*/ 36375 h 554354"/>
                <a:gd name="connsiteX7" fmla="*/ 709866 w 808176"/>
                <a:gd name="connsiteY7" fmla="*/ 18459 h 554354"/>
                <a:gd name="connsiteX8" fmla="*/ 709866 w 808176"/>
                <a:gd name="connsiteY8" fmla="*/ 21000 h 554354"/>
                <a:gd name="connsiteX9" fmla="*/ 797158 w 808176"/>
                <a:gd name="connsiteY9" fmla="*/ 72207 h 554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8176" h="554354">
                  <a:moveTo>
                    <a:pt x="797158" y="72207"/>
                  </a:moveTo>
                  <a:cubicBezTo>
                    <a:pt x="727280" y="164525"/>
                    <a:pt x="648151" y="249460"/>
                    <a:pt x="561011" y="325698"/>
                  </a:cubicBezTo>
                  <a:cubicBezTo>
                    <a:pt x="422385" y="446027"/>
                    <a:pt x="242717" y="563752"/>
                    <a:pt x="47611" y="553523"/>
                  </a:cubicBezTo>
                  <a:cubicBezTo>
                    <a:pt x="-16556" y="548377"/>
                    <a:pt x="-16556" y="446027"/>
                    <a:pt x="47611" y="451110"/>
                  </a:cubicBezTo>
                  <a:cubicBezTo>
                    <a:pt x="219591" y="461339"/>
                    <a:pt x="376197" y="351302"/>
                    <a:pt x="496844" y="243743"/>
                  </a:cubicBezTo>
                  <a:cubicBezTo>
                    <a:pt x="553323" y="197682"/>
                    <a:pt x="602052" y="143871"/>
                    <a:pt x="650844" y="90123"/>
                  </a:cubicBezTo>
                  <a:cubicBezTo>
                    <a:pt x="668824" y="72207"/>
                    <a:pt x="684199" y="54291"/>
                    <a:pt x="699637" y="36375"/>
                  </a:cubicBezTo>
                  <a:cubicBezTo>
                    <a:pt x="703589" y="30727"/>
                    <a:pt x="707013" y="24730"/>
                    <a:pt x="709866" y="18459"/>
                  </a:cubicBezTo>
                  <a:cubicBezTo>
                    <a:pt x="717553" y="10772"/>
                    <a:pt x="702178" y="31165"/>
                    <a:pt x="709866" y="21000"/>
                  </a:cubicBezTo>
                  <a:cubicBezTo>
                    <a:pt x="748366" y="-30206"/>
                    <a:pt x="838199" y="21000"/>
                    <a:pt x="797158" y="72207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9" name="任意多边形 13">
              <a:extLst>
                <a:ext uri="{FF2B5EF4-FFF2-40B4-BE49-F238E27FC236}">
                  <a16:creationId xmlns:a16="http://schemas.microsoft.com/office/drawing/2014/main" id="{ED5228C4-65A0-394D-2562-5D6E0496CD46}"/>
                </a:ext>
              </a:extLst>
            </p:cNvPr>
            <p:cNvSpPr/>
            <p:nvPr/>
          </p:nvSpPr>
          <p:spPr>
            <a:xfrm>
              <a:off x="5248839" y="3957542"/>
              <a:ext cx="415701" cy="712692"/>
            </a:xfrm>
            <a:custGeom>
              <a:avLst/>
              <a:gdLst>
                <a:gd name="connsiteX0" fmla="*/ 90290 w 367155"/>
                <a:gd name="connsiteY0" fmla="*/ 275691 h 629463"/>
                <a:gd name="connsiteX1" fmla="*/ 229361 w 367155"/>
                <a:gd name="connsiteY1" fmla="*/ 451738 h 629463"/>
                <a:gd name="connsiteX2" fmla="*/ 246959 w 367155"/>
                <a:gd name="connsiteY2" fmla="*/ 471877 h 629463"/>
                <a:gd name="connsiteX3" fmla="*/ 201979 w 367155"/>
                <a:gd name="connsiteY3" fmla="*/ 211016 h 629463"/>
                <a:gd name="connsiteX4" fmla="*/ 194292 w 367155"/>
                <a:gd name="connsiteY4" fmla="*/ 113241 h 629463"/>
                <a:gd name="connsiteX5" fmla="*/ 298420 w 367155"/>
                <a:gd name="connsiteY5" fmla="*/ 6952 h 629463"/>
                <a:gd name="connsiteX6" fmla="*/ 340732 w 367155"/>
                <a:gd name="connsiteY6" fmla="*/ 100280 h 629463"/>
                <a:gd name="connsiteX7" fmla="*/ 314748 w 367155"/>
                <a:gd name="connsiteY7" fmla="*/ 117624 h 629463"/>
                <a:gd name="connsiteX8" fmla="*/ 294544 w 367155"/>
                <a:gd name="connsiteY8" fmla="*/ 135286 h 629463"/>
                <a:gd name="connsiteX9" fmla="*/ 296006 w 367155"/>
                <a:gd name="connsiteY9" fmla="*/ 157077 h 629463"/>
                <a:gd name="connsiteX10" fmla="*/ 320402 w 367155"/>
                <a:gd name="connsiteY10" fmla="*/ 297927 h 629463"/>
                <a:gd name="connsiteX11" fmla="*/ 354518 w 367155"/>
                <a:gd name="connsiteY11" fmla="*/ 572194 h 629463"/>
                <a:gd name="connsiteX12" fmla="*/ 268560 w 367155"/>
                <a:gd name="connsiteY12" fmla="*/ 625243 h 629463"/>
                <a:gd name="connsiteX13" fmla="*/ 170785 w 367155"/>
                <a:gd name="connsiteY13" fmla="*/ 540237 h 629463"/>
                <a:gd name="connsiteX14" fmla="*/ 9668 w 367155"/>
                <a:gd name="connsiteY14" fmla="*/ 340176 h 629463"/>
                <a:gd name="connsiteX15" fmla="*/ 90290 w 367155"/>
                <a:gd name="connsiteY15" fmla="*/ 275437 h 629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67155" h="629463">
                  <a:moveTo>
                    <a:pt x="90290" y="275691"/>
                  </a:moveTo>
                  <a:cubicBezTo>
                    <a:pt x="134762" y="336999"/>
                    <a:pt x="181013" y="394877"/>
                    <a:pt x="229361" y="451738"/>
                  </a:cubicBezTo>
                  <a:cubicBezTo>
                    <a:pt x="235714" y="459997"/>
                    <a:pt x="241432" y="465969"/>
                    <a:pt x="246959" y="471877"/>
                  </a:cubicBezTo>
                  <a:cubicBezTo>
                    <a:pt x="235460" y="384267"/>
                    <a:pt x="213478" y="298626"/>
                    <a:pt x="201979" y="211016"/>
                  </a:cubicBezTo>
                  <a:cubicBezTo>
                    <a:pt x="196325" y="179822"/>
                    <a:pt x="189273" y="146277"/>
                    <a:pt x="194292" y="113241"/>
                  </a:cubicBezTo>
                  <a:cubicBezTo>
                    <a:pt x="199692" y="62923"/>
                    <a:pt x="258395" y="30649"/>
                    <a:pt x="298420" y="6952"/>
                  </a:cubicBezTo>
                  <a:cubicBezTo>
                    <a:pt x="353692" y="-26593"/>
                    <a:pt x="396068" y="66735"/>
                    <a:pt x="340732" y="100280"/>
                  </a:cubicBezTo>
                  <a:cubicBezTo>
                    <a:pt x="351342" y="92593"/>
                    <a:pt x="319449" y="115528"/>
                    <a:pt x="314748" y="117624"/>
                  </a:cubicBezTo>
                  <a:cubicBezTo>
                    <a:pt x="304138" y="125311"/>
                    <a:pt x="296705" y="139924"/>
                    <a:pt x="294544" y="135286"/>
                  </a:cubicBezTo>
                  <a:cubicBezTo>
                    <a:pt x="294544" y="141004"/>
                    <a:pt x="296451" y="145642"/>
                    <a:pt x="296006" y="157077"/>
                  </a:cubicBezTo>
                  <a:cubicBezTo>
                    <a:pt x="303375" y="204409"/>
                    <a:pt x="310682" y="251740"/>
                    <a:pt x="320402" y="297927"/>
                  </a:cubicBezTo>
                  <a:cubicBezTo>
                    <a:pt x="335523" y="381090"/>
                    <a:pt x="369321" y="486744"/>
                    <a:pt x="354518" y="572194"/>
                  </a:cubicBezTo>
                  <a:cubicBezTo>
                    <a:pt x="348165" y="614442"/>
                    <a:pt x="311698" y="639474"/>
                    <a:pt x="268560" y="625243"/>
                  </a:cubicBezTo>
                  <a:cubicBezTo>
                    <a:pt x="230124" y="608915"/>
                    <a:pt x="198358" y="569906"/>
                    <a:pt x="170785" y="540237"/>
                  </a:cubicBezTo>
                  <a:cubicBezTo>
                    <a:pt x="113695" y="476343"/>
                    <a:pt x="59922" y="409571"/>
                    <a:pt x="9668" y="340176"/>
                  </a:cubicBezTo>
                  <a:cubicBezTo>
                    <a:pt x="-28451" y="287127"/>
                    <a:pt x="49821" y="223468"/>
                    <a:pt x="90290" y="275437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" name="任意多边形 14">
              <a:extLst>
                <a:ext uri="{FF2B5EF4-FFF2-40B4-BE49-F238E27FC236}">
                  <a16:creationId xmlns:a16="http://schemas.microsoft.com/office/drawing/2014/main" id="{450342D2-CF2E-9450-45E6-73523FAA4346}"/>
                </a:ext>
              </a:extLst>
            </p:cNvPr>
            <p:cNvSpPr/>
            <p:nvPr/>
          </p:nvSpPr>
          <p:spPr>
            <a:xfrm>
              <a:off x="4494869" y="4089375"/>
              <a:ext cx="731188" cy="915335"/>
            </a:xfrm>
            <a:custGeom>
              <a:avLst/>
              <a:gdLst>
                <a:gd name="connsiteX0" fmla="*/ -514 w 645799"/>
                <a:gd name="connsiteY0" fmla="*/ 61416 h 808441"/>
                <a:gd name="connsiteX1" fmla="*/ 219877 w 645799"/>
                <a:gd name="connsiteY1" fmla="*/ -210 h 808441"/>
                <a:gd name="connsiteX2" fmla="*/ 333662 w 645799"/>
                <a:gd name="connsiteY2" fmla="*/ 71263 h 808441"/>
                <a:gd name="connsiteX3" fmla="*/ 441666 w 645799"/>
                <a:gd name="connsiteY3" fmla="*/ -210 h 808441"/>
                <a:gd name="connsiteX4" fmla="*/ 481564 w 645799"/>
                <a:gd name="connsiteY4" fmla="*/ 3475 h 808441"/>
                <a:gd name="connsiteX5" fmla="*/ 625527 w 645799"/>
                <a:gd name="connsiteY5" fmla="*/ 23360 h 808441"/>
                <a:gd name="connsiteX6" fmla="*/ 637598 w 645799"/>
                <a:gd name="connsiteY6" fmla="*/ 333459 h 808441"/>
                <a:gd name="connsiteX7" fmla="*/ 645285 w 645799"/>
                <a:gd name="connsiteY7" fmla="*/ 792920 h 808441"/>
                <a:gd name="connsiteX8" fmla="*/ 384488 w 645799"/>
                <a:gd name="connsiteY8" fmla="*/ 808231 h 808441"/>
                <a:gd name="connsiteX9" fmla="*/ 20006 w 645799"/>
                <a:gd name="connsiteY9" fmla="*/ 792920 h 808441"/>
                <a:gd name="connsiteX10" fmla="*/ 27694 w 645799"/>
                <a:gd name="connsiteY10" fmla="*/ 333459 h 808441"/>
                <a:gd name="connsiteX11" fmla="*/ -514 w 645799"/>
                <a:gd name="connsiteY11" fmla="*/ 61416 h 808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45799" h="808441">
                  <a:moveTo>
                    <a:pt x="-514" y="61416"/>
                  </a:moveTo>
                  <a:lnTo>
                    <a:pt x="219877" y="-210"/>
                  </a:lnTo>
                  <a:cubicBezTo>
                    <a:pt x="235252" y="69103"/>
                    <a:pt x="308250" y="71263"/>
                    <a:pt x="333662" y="71263"/>
                  </a:cubicBezTo>
                  <a:cubicBezTo>
                    <a:pt x="365428" y="71263"/>
                    <a:pt x="426292" y="69103"/>
                    <a:pt x="441666" y="-210"/>
                  </a:cubicBezTo>
                  <a:lnTo>
                    <a:pt x="481564" y="3475"/>
                  </a:lnTo>
                  <a:cubicBezTo>
                    <a:pt x="594142" y="14085"/>
                    <a:pt x="625527" y="23360"/>
                    <a:pt x="625527" y="23360"/>
                  </a:cubicBezTo>
                  <a:cubicBezTo>
                    <a:pt x="597382" y="336508"/>
                    <a:pt x="658436" y="258428"/>
                    <a:pt x="637598" y="333459"/>
                  </a:cubicBezTo>
                  <a:cubicBezTo>
                    <a:pt x="581436" y="535045"/>
                    <a:pt x="645285" y="792920"/>
                    <a:pt x="645285" y="792920"/>
                  </a:cubicBezTo>
                  <a:cubicBezTo>
                    <a:pt x="543317" y="808231"/>
                    <a:pt x="455770" y="808231"/>
                    <a:pt x="384488" y="808231"/>
                  </a:cubicBezTo>
                  <a:cubicBezTo>
                    <a:pt x="17401" y="808231"/>
                    <a:pt x="20006" y="792920"/>
                    <a:pt x="20006" y="792920"/>
                  </a:cubicBezTo>
                  <a:cubicBezTo>
                    <a:pt x="20006" y="792920"/>
                    <a:pt x="85889" y="477866"/>
                    <a:pt x="27694" y="333459"/>
                  </a:cubicBezTo>
                  <a:cubicBezTo>
                    <a:pt x="2281" y="269927"/>
                    <a:pt x="-514" y="61416"/>
                    <a:pt x="-514" y="61416"/>
                  </a:cubicBezTo>
                  <a:close/>
                </a:path>
              </a:pathLst>
            </a:custGeom>
            <a:solidFill>
              <a:srgbClr val="BE5ED3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" name="任意多边形 15">
              <a:extLst>
                <a:ext uri="{FF2B5EF4-FFF2-40B4-BE49-F238E27FC236}">
                  <a16:creationId xmlns:a16="http://schemas.microsoft.com/office/drawing/2014/main" id="{C17ABF88-D61C-FEDF-C35C-D80300B3B36B}"/>
                </a:ext>
              </a:extLst>
            </p:cNvPr>
            <p:cNvSpPr/>
            <p:nvPr/>
          </p:nvSpPr>
          <p:spPr>
            <a:xfrm>
              <a:off x="4736560" y="4414867"/>
              <a:ext cx="302114" cy="302114"/>
            </a:xfrm>
            <a:custGeom>
              <a:avLst/>
              <a:gdLst>
                <a:gd name="connsiteX0" fmla="*/ 266833 w 266833"/>
                <a:gd name="connsiteY0" fmla="*/ 133417 h 266833"/>
                <a:gd name="connsiteX1" fmla="*/ 133417 w 266833"/>
                <a:gd name="connsiteY1" fmla="*/ 266833 h 266833"/>
                <a:gd name="connsiteX2" fmla="*/ 0 w 266833"/>
                <a:gd name="connsiteY2" fmla="*/ 133417 h 266833"/>
                <a:gd name="connsiteX3" fmla="*/ 133417 w 266833"/>
                <a:gd name="connsiteY3" fmla="*/ 0 h 266833"/>
                <a:gd name="connsiteX4" fmla="*/ 266833 w 266833"/>
                <a:gd name="connsiteY4" fmla="*/ 133417 h 2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833" h="266833">
                  <a:moveTo>
                    <a:pt x="266833" y="133417"/>
                  </a:moveTo>
                  <a:cubicBezTo>
                    <a:pt x="266833" y="207101"/>
                    <a:pt x="207101" y="266833"/>
                    <a:pt x="133417" y="266833"/>
                  </a:cubicBezTo>
                  <a:cubicBezTo>
                    <a:pt x="59733" y="266833"/>
                    <a:pt x="0" y="207101"/>
                    <a:pt x="0" y="133417"/>
                  </a:cubicBezTo>
                  <a:cubicBezTo>
                    <a:pt x="0" y="59733"/>
                    <a:pt x="59733" y="0"/>
                    <a:pt x="133417" y="0"/>
                  </a:cubicBezTo>
                  <a:cubicBezTo>
                    <a:pt x="207101" y="0"/>
                    <a:pt x="266833" y="59733"/>
                    <a:pt x="266833" y="133417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2" name="任意多边形 16">
              <a:extLst>
                <a:ext uri="{FF2B5EF4-FFF2-40B4-BE49-F238E27FC236}">
                  <a16:creationId xmlns:a16="http://schemas.microsoft.com/office/drawing/2014/main" id="{B57C214F-A1D2-81E8-50EF-B8CEEC414B99}"/>
                </a:ext>
              </a:extLst>
            </p:cNvPr>
            <p:cNvSpPr/>
            <p:nvPr/>
          </p:nvSpPr>
          <p:spPr>
            <a:xfrm>
              <a:off x="4808492" y="4501185"/>
              <a:ext cx="28772" cy="57545"/>
            </a:xfrm>
            <a:custGeom>
              <a:avLst/>
              <a:gdLst>
                <a:gd name="connsiteX0" fmla="*/ 25413 w 25412"/>
                <a:gd name="connsiteY0" fmla="*/ 25413 h 50825"/>
                <a:gd name="connsiteX1" fmla="*/ 12706 w 25412"/>
                <a:gd name="connsiteY1" fmla="*/ 50825 h 50825"/>
                <a:gd name="connsiteX2" fmla="*/ 0 w 25412"/>
                <a:gd name="connsiteY2" fmla="*/ 25413 h 50825"/>
                <a:gd name="connsiteX3" fmla="*/ 12706 w 25412"/>
                <a:gd name="connsiteY3" fmla="*/ 0 h 50825"/>
                <a:gd name="connsiteX4" fmla="*/ 25413 w 25412"/>
                <a:gd name="connsiteY4" fmla="*/ 25413 h 50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12" h="50825">
                  <a:moveTo>
                    <a:pt x="25413" y="25413"/>
                  </a:moveTo>
                  <a:cubicBezTo>
                    <a:pt x="25413" y="39448"/>
                    <a:pt x="19724" y="50825"/>
                    <a:pt x="12706" y="50825"/>
                  </a:cubicBezTo>
                  <a:cubicBezTo>
                    <a:pt x="5689" y="50825"/>
                    <a:pt x="0" y="39448"/>
                    <a:pt x="0" y="25413"/>
                  </a:cubicBezTo>
                  <a:cubicBezTo>
                    <a:pt x="0" y="11378"/>
                    <a:pt x="5689" y="0"/>
                    <a:pt x="12706" y="0"/>
                  </a:cubicBezTo>
                  <a:cubicBezTo>
                    <a:pt x="19724" y="0"/>
                    <a:pt x="25413" y="11378"/>
                    <a:pt x="25413" y="25413"/>
                  </a:cubicBez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3" name="任意多边形 17">
              <a:extLst>
                <a:ext uri="{FF2B5EF4-FFF2-40B4-BE49-F238E27FC236}">
                  <a16:creationId xmlns:a16="http://schemas.microsoft.com/office/drawing/2014/main" id="{541D38C5-C185-EBD4-A2F1-3F698E7320F6}"/>
                </a:ext>
              </a:extLst>
            </p:cNvPr>
            <p:cNvSpPr/>
            <p:nvPr/>
          </p:nvSpPr>
          <p:spPr>
            <a:xfrm>
              <a:off x="4937970" y="4501185"/>
              <a:ext cx="28772" cy="57545"/>
            </a:xfrm>
            <a:custGeom>
              <a:avLst/>
              <a:gdLst>
                <a:gd name="connsiteX0" fmla="*/ 25413 w 25412"/>
                <a:gd name="connsiteY0" fmla="*/ 25413 h 50825"/>
                <a:gd name="connsiteX1" fmla="*/ 12706 w 25412"/>
                <a:gd name="connsiteY1" fmla="*/ 50825 h 50825"/>
                <a:gd name="connsiteX2" fmla="*/ 0 w 25412"/>
                <a:gd name="connsiteY2" fmla="*/ 25413 h 50825"/>
                <a:gd name="connsiteX3" fmla="*/ 12706 w 25412"/>
                <a:gd name="connsiteY3" fmla="*/ 0 h 50825"/>
                <a:gd name="connsiteX4" fmla="*/ 25413 w 25412"/>
                <a:gd name="connsiteY4" fmla="*/ 25413 h 50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12" h="50825">
                  <a:moveTo>
                    <a:pt x="25413" y="25413"/>
                  </a:moveTo>
                  <a:cubicBezTo>
                    <a:pt x="25413" y="39448"/>
                    <a:pt x="19724" y="50825"/>
                    <a:pt x="12706" y="50825"/>
                  </a:cubicBezTo>
                  <a:cubicBezTo>
                    <a:pt x="5689" y="50825"/>
                    <a:pt x="0" y="39448"/>
                    <a:pt x="0" y="25413"/>
                  </a:cubicBezTo>
                  <a:cubicBezTo>
                    <a:pt x="0" y="11378"/>
                    <a:pt x="5689" y="0"/>
                    <a:pt x="12706" y="0"/>
                  </a:cubicBezTo>
                  <a:cubicBezTo>
                    <a:pt x="19724" y="0"/>
                    <a:pt x="25413" y="11378"/>
                    <a:pt x="25413" y="25413"/>
                  </a:cubicBez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4" name="任意多边形 18">
              <a:extLst>
                <a:ext uri="{FF2B5EF4-FFF2-40B4-BE49-F238E27FC236}">
                  <a16:creationId xmlns:a16="http://schemas.microsoft.com/office/drawing/2014/main" id="{37C3EC1F-FA8C-8EFC-79B6-25B2F4BC2D21}"/>
                </a:ext>
              </a:extLst>
            </p:cNvPr>
            <p:cNvSpPr/>
            <p:nvPr/>
          </p:nvSpPr>
          <p:spPr>
            <a:xfrm>
              <a:off x="4809355" y="4601890"/>
              <a:ext cx="156524" cy="64640"/>
            </a:xfrm>
            <a:custGeom>
              <a:avLst/>
              <a:gdLst>
                <a:gd name="connsiteX0" fmla="*/ -514 w 138245"/>
                <a:gd name="connsiteY0" fmla="*/ -210 h 57091"/>
                <a:gd name="connsiteX1" fmla="*/ 81924 w 138245"/>
                <a:gd name="connsiteY1" fmla="*/ 55596 h 57091"/>
                <a:gd name="connsiteX2" fmla="*/ 137731 w 138245"/>
                <a:gd name="connsiteY2" fmla="*/ -210 h 57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8245" h="57091">
                  <a:moveTo>
                    <a:pt x="-514" y="-210"/>
                  </a:moveTo>
                  <a:cubicBezTo>
                    <a:pt x="6836" y="37966"/>
                    <a:pt x="43748" y="62953"/>
                    <a:pt x="81924" y="55596"/>
                  </a:cubicBezTo>
                  <a:cubicBezTo>
                    <a:pt x="110183" y="50152"/>
                    <a:pt x="132286" y="28055"/>
                    <a:pt x="137731" y="-210"/>
                  </a:cubicBezTo>
                  <a:close/>
                </a:path>
              </a:pathLst>
            </a:custGeom>
            <a:solidFill>
              <a:srgbClr val="E27AA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5" name="任意多边形 19">
              <a:extLst>
                <a:ext uri="{FF2B5EF4-FFF2-40B4-BE49-F238E27FC236}">
                  <a16:creationId xmlns:a16="http://schemas.microsoft.com/office/drawing/2014/main" id="{239E12F9-C2B7-6B63-2A50-82B4F1BFDC31}"/>
                </a:ext>
              </a:extLst>
            </p:cNvPr>
            <p:cNvSpPr/>
            <p:nvPr/>
          </p:nvSpPr>
          <p:spPr>
            <a:xfrm>
              <a:off x="4509837" y="4987374"/>
              <a:ext cx="724245" cy="307437"/>
            </a:xfrm>
            <a:custGeom>
              <a:avLst/>
              <a:gdLst>
                <a:gd name="connsiteX0" fmla="*/ 6214 w 639667"/>
                <a:gd name="connsiteY0" fmla="*/ -210 h 271534"/>
                <a:gd name="connsiteX1" fmla="*/ 632637 w 639667"/>
                <a:gd name="connsiteY1" fmla="*/ -210 h 271534"/>
                <a:gd name="connsiteX2" fmla="*/ 537657 w 639667"/>
                <a:gd name="connsiteY2" fmla="*/ 271325 h 271534"/>
                <a:gd name="connsiteX3" fmla="*/ 101194 w 639667"/>
                <a:gd name="connsiteY3" fmla="*/ 271325 h 271534"/>
                <a:gd name="connsiteX4" fmla="*/ 5897 w 639667"/>
                <a:gd name="connsiteY4" fmla="*/ -210 h 271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9667" h="271534">
                  <a:moveTo>
                    <a:pt x="6214" y="-210"/>
                  </a:moveTo>
                  <a:cubicBezTo>
                    <a:pt x="295029" y="15101"/>
                    <a:pt x="632637" y="-210"/>
                    <a:pt x="632637" y="-210"/>
                  </a:cubicBezTo>
                  <a:cubicBezTo>
                    <a:pt x="632637" y="-210"/>
                    <a:pt x="676283" y="271325"/>
                    <a:pt x="537657" y="271325"/>
                  </a:cubicBezTo>
                  <a:lnTo>
                    <a:pt x="101194" y="271325"/>
                  </a:lnTo>
                  <a:cubicBezTo>
                    <a:pt x="-37432" y="271325"/>
                    <a:pt x="5897" y="-210"/>
                    <a:pt x="5897" y="-210"/>
                  </a:cubicBez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6" name="任意多边形 20">
              <a:extLst>
                <a:ext uri="{FF2B5EF4-FFF2-40B4-BE49-F238E27FC236}">
                  <a16:creationId xmlns:a16="http://schemas.microsoft.com/office/drawing/2014/main" id="{8B523F38-F622-8C07-ADC7-88D3EAC07AAA}"/>
                </a:ext>
              </a:extLst>
            </p:cNvPr>
            <p:cNvSpPr/>
            <p:nvPr/>
          </p:nvSpPr>
          <p:spPr>
            <a:xfrm>
              <a:off x="5524719" y="5246473"/>
              <a:ext cx="230304" cy="183920"/>
            </a:xfrm>
            <a:custGeom>
              <a:avLst/>
              <a:gdLst>
                <a:gd name="connsiteX0" fmla="*/ 27630 w 203409"/>
                <a:gd name="connsiteY0" fmla="*/ -210 h 162442"/>
                <a:gd name="connsiteX1" fmla="*/ 202787 w 203409"/>
                <a:gd name="connsiteY1" fmla="*/ 97057 h 162442"/>
                <a:gd name="connsiteX2" fmla="*/ -514 w 203409"/>
                <a:gd name="connsiteY2" fmla="*/ 161034 h 162442"/>
                <a:gd name="connsiteX3" fmla="*/ 27630 w 203409"/>
                <a:gd name="connsiteY3" fmla="*/ -210 h 162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3409" h="162442">
                  <a:moveTo>
                    <a:pt x="27630" y="-210"/>
                  </a:moveTo>
                  <a:cubicBezTo>
                    <a:pt x="27630" y="-210"/>
                    <a:pt x="207933" y="20247"/>
                    <a:pt x="202787" y="97057"/>
                  </a:cubicBezTo>
                  <a:cubicBezTo>
                    <a:pt x="200246" y="176408"/>
                    <a:pt x="-514" y="161034"/>
                    <a:pt x="-514" y="161034"/>
                  </a:cubicBezTo>
                  <a:lnTo>
                    <a:pt x="27630" y="-210"/>
                  </a:ln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7" name="任意多边形 21">
              <a:extLst>
                <a:ext uri="{FF2B5EF4-FFF2-40B4-BE49-F238E27FC236}">
                  <a16:creationId xmlns:a16="http://schemas.microsoft.com/office/drawing/2014/main" id="{AAE0F455-A3BD-C2BF-E5FC-C311CEB61B9C}"/>
                </a:ext>
              </a:extLst>
            </p:cNvPr>
            <p:cNvSpPr/>
            <p:nvPr/>
          </p:nvSpPr>
          <p:spPr>
            <a:xfrm>
              <a:off x="4100646" y="5006258"/>
              <a:ext cx="1488236" cy="437236"/>
            </a:xfrm>
            <a:custGeom>
              <a:avLst/>
              <a:gdLst>
                <a:gd name="connsiteX0" fmla="*/ 1313924 w 1314438"/>
                <a:gd name="connsiteY0" fmla="*/ 208966 h 386175"/>
                <a:gd name="connsiteX1" fmla="*/ 2820 w 1314438"/>
                <a:gd name="connsiteY1" fmla="*/ 90797 h 386175"/>
                <a:gd name="connsiteX2" fmla="*/ 1293403 w 1314438"/>
                <a:gd name="connsiteY2" fmla="*/ 385966 h 386175"/>
                <a:gd name="connsiteX3" fmla="*/ 1313924 w 1314438"/>
                <a:gd name="connsiteY3" fmla="*/ 208712 h 386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4438" h="386175">
                  <a:moveTo>
                    <a:pt x="1313924" y="208966"/>
                  </a:moveTo>
                  <a:cubicBezTo>
                    <a:pt x="1313924" y="208966"/>
                    <a:pt x="82361" y="-168603"/>
                    <a:pt x="2820" y="90797"/>
                  </a:cubicBezTo>
                  <a:cubicBezTo>
                    <a:pt x="-76722" y="347847"/>
                    <a:pt x="1293403" y="385966"/>
                    <a:pt x="1293403" y="385966"/>
                  </a:cubicBezTo>
                  <a:lnTo>
                    <a:pt x="1313924" y="208712"/>
                  </a:lnTo>
                  <a:close/>
                </a:path>
              </a:pathLst>
            </a:custGeom>
            <a:solidFill>
              <a:srgbClr val="1E216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8" name="任意多边形 22">
              <a:extLst>
                <a:ext uri="{FF2B5EF4-FFF2-40B4-BE49-F238E27FC236}">
                  <a16:creationId xmlns:a16="http://schemas.microsoft.com/office/drawing/2014/main" id="{0F2BEC0C-2410-B3C7-C170-1173BC1954F1}"/>
                </a:ext>
              </a:extLst>
            </p:cNvPr>
            <p:cNvSpPr/>
            <p:nvPr/>
          </p:nvSpPr>
          <p:spPr>
            <a:xfrm>
              <a:off x="4002665" y="5286755"/>
              <a:ext cx="235837" cy="184637"/>
            </a:xfrm>
            <a:custGeom>
              <a:avLst/>
              <a:gdLst>
                <a:gd name="connsiteX0" fmla="*/ 169282 w 208296"/>
                <a:gd name="connsiteY0" fmla="*/ -210 h 163075"/>
                <a:gd name="connsiteX1" fmla="*/ -94 w 208296"/>
                <a:gd name="connsiteY1" fmla="*/ 109382 h 163075"/>
                <a:gd name="connsiteX2" fmla="*/ 207782 w 208296"/>
                <a:gd name="connsiteY2" fmla="*/ 157857 h 163075"/>
                <a:gd name="connsiteX3" fmla="*/ 169282 w 208296"/>
                <a:gd name="connsiteY3" fmla="*/ -210 h 163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8296" h="163075">
                  <a:moveTo>
                    <a:pt x="169282" y="-210"/>
                  </a:moveTo>
                  <a:cubicBezTo>
                    <a:pt x="169282" y="-210"/>
                    <a:pt x="-10322" y="32890"/>
                    <a:pt x="-94" y="109382"/>
                  </a:cubicBezTo>
                  <a:cubicBezTo>
                    <a:pt x="10135" y="185874"/>
                    <a:pt x="207782" y="157857"/>
                    <a:pt x="207782" y="157857"/>
                  </a:cubicBezTo>
                  <a:lnTo>
                    <a:pt x="169282" y="-210"/>
                  </a:ln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9" name="任意多边形 23">
              <a:extLst>
                <a:ext uri="{FF2B5EF4-FFF2-40B4-BE49-F238E27FC236}">
                  <a16:creationId xmlns:a16="http://schemas.microsoft.com/office/drawing/2014/main" id="{A268F388-3637-CA57-AD41-F9616801F65B}"/>
                </a:ext>
              </a:extLst>
            </p:cNvPr>
            <p:cNvSpPr/>
            <p:nvPr/>
          </p:nvSpPr>
          <p:spPr>
            <a:xfrm>
              <a:off x="4163334" y="4959760"/>
              <a:ext cx="1475212" cy="524448"/>
            </a:xfrm>
            <a:custGeom>
              <a:avLst/>
              <a:gdLst>
                <a:gd name="connsiteX0" fmla="*/ -514 w 1302935"/>
                <a:gd name="connsiteY0" fmla="*/ 288407 h 463202"/>
                <a:gd name="connsiteX1" fmla="*/ 1297439 w 1302935"/>
                <a:gd name="connsiteY1" fmla="*/ 75449 h 463202"/>
                <a:gd name="connsiteX2" fmla="*/ 30298 w 1302935"/>
                <a:gd name="connsiteY2" fmla="*/ 462992 h 463202"/>
                <a:gd name="connsiteX3" fmla="*/ -514 w 1302935"/>
                <a:gd name="connsiteY3" fmla="*/ 288535 h 463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2935" h="463202">
                  <a:moveTo>
                    <a:pt x="-514" y="288407"/>
                  </a:moveTo>
                  <a:cubicBezTo>
                    <a:pt x="-514" y="288407"/>
                    <a:pt x="1197376" y="-178551"/>
                    <a:pt x="1297439" y="75449"/>
                  </a:cubicBezTo>
                  <a:cubicBezTo>
                    <a:pt x="1394896" y="326908"/>
                    <a:pt x="30298" y="462992"/>
                    <a:pt x="30298" y="462992"/>
                  </a:cubicBezTo>
                  <a:lnTo>
                    <a:pt x="-514" y="288535"/>
                  </a:lnTo>
                  <a:close/>
                </a:path>
              </a:pathLst>
            </a:custGeom>
            <a:solidFill>
              <a:srgbClr val="2A3072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0" name="任意多边形 24">
              <a:extLst>
                <a:ext uri="{FF2B5EF4-FFF2-40B4-BE49-F238E27FC236}">
                  <a16:creationId xmlns:a16="http://schemas.microsoft.com/office/drawing/2014/main" id="{FE012B05-D20B-3BD0-718D-1C33AC236567}"/>
                </a:ext>
              </a:extLst>
            </p:cNvPr>
            <p:cNvSpPr/>
            <p:nvPr/>
          </p:nvSpPr>
          <p:spPr>
            <a:xfrm>
              <a:off x="4197069" y="4159220"/>
              <a:ext cx="334881" cy="457055"/>
            </a:xfrm>
            <a:custGeom>
              <a:avLst/>
              <a:gdLst>
                <a:gd name="connsiteX0" fmla="*/ 262507 w 295773"/>
                <a:gd name="connsiteY0" fmla="*/ -210 h 403680"/>
                <a:gd name="connsiteX1" fmla="*/ -514 w 295773"/>
                <a:gd name="connsiteY1" fmla="*/ 206522 h 403680"/>
                <a:gd name="connsiteX2" fmla="*/ 151962 w 295773"/>
                <a:gd name="connsiteY2" fmla="*/ 403470 h 403680"/>
                <a:gd name="connsiteX3" fmla="*/ 290969 w 295773"/>
                <a:gd name="connsiteY3" fmla="*/ 272468 h 403680"/>
                <a:gd name="connsiteX4" fmla="*/ 262507 w 295773"/>
                <a:gd name="connsiteY4" fmla="*/ -210 h 403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5773" h="403680">
                  <a:moveTo>
                    <a:pt x="262507" y="-210"/>
                  </a:moveTo>
                  <a:cubicBezTo>
                    <a:pt x="262507" y="-210"/>
                    <a:pt x="113843" y="47693"/>
                    <a:pt x="-514" y="206522"/>
                  </a:cubicBezTo>
                  <a:lnTo>
                    <a:pt x="151962" y="403470"/>
                  </a:lnTo>
                  <a:cubicBezTo>
                    <a:pt x="151962" y="403470"/>
                    <a:pt x="278326" y="317766"/>
                    <a:pt x="290969" y="272468"/>
                  </a:cubicBezTo>
                  <a:cubicBezTo>
                    <a:pt x="309393" y="206395"/>
                    <a:pt x="262507" y="-210"/>
                    <a:pt x="262507" y="-210"/>
                  </a:cubicBezTo>
                  <a:close/>
                </a:path>
              </a:pathLst>
            </a:custGeom>
            <a:solidFill>
              <a:srgbClr val="BE5ED3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1" name="任意多边形 25">
              <a:extLst>
                <a:ext uri="{FF2B5EF4-FFF2-40B4-BE49-F238E27FC236}">
                  <a16:creationId xmlns:a16="http://schemas.microsoft.com/office/drawing/2014/main" id="{A3B5C0C4-5C97-144E-19F3-23E22BCDA458}"/>
                </a:ext>
              </a:extLst>
            </p:cNvPr>
            <p:cNvSpPr/>
            <p:nvPr/>
          </p:nvSpPr>
          <p:spPr>
            <a:xfrm>
              <a:off x="5168201" y="4116061"/>
              <a:ext cx="316452" cy="449862"/>
            </a:xfrm>
            <a:custGeom>
              <a:avLst/>
              <a:gdLst>
                <a:gd name="connsiteX0" fmla="*/ 30827 w 279496"/>
                <a:gd name="connsiteY0" fmla="*/ -210 h 397327"/>
                <a:gd name="connsiteX1" fmla="*/ 278982 w 279496"/>
                <a:gd name="connsiteY1" fmla="*/ 203092 h 397327"/>
                <a:gd name="connsiteX2" fmla="*/ 134892 w 279496"/>
                <a:gd name="connsiteY2" fmla="*/ 397117 h 397327"/>
                <a:gd name="connsiteX3" fmla="*/ 3508 w 279496"/>
                <a:gd name="connsiteY3" fmla="*/ 268148 h 397327"/>
                <a:gd name="connsiteX4" fmla="*/ 30827 w 279496"/>
                <a:gd name="connsiteY4" fmla="*/ -210 h 397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9496" h="397327">
                  <a:moveTo>
                    <a:pt x="30827" y="-210"/>
                  </a:moveTo>
                  <a:cubicBezTo>
                    <a:pt x="30827" y="-210"/>
                    <a:pt x="161575" y="21899"/>
                    <a:pt x="278982" y="203092"/>
                  </a:cubicBezTo>
                  <a:lnTo>
                    <a:pt x="134892" y="397117"/>
                  </a:lnTo>
                  <a:cubicBezTo>
                    <a:pt x="134892" y="397117"/>
                    <a:pt x="15452" y="312747"/>
                    <a:pt x="3508" y="268148"/>
                  </a:cubicBezTo>
                  <a:cubicBezTo>
                    <a:pt x="-13899" y="203155"/>
                    <a:pt x="30827" y="-210"/>
                    <a:pt x="30827" y="-210"/>
                  </a:cubicBezTo>
                  <a:close/>
                </a:path>
              </a:pathLst>
            </a:custGeom>
            <a:solidFill>
              <a:srgbClr val="BE5ED3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2" name="任意多边形 26">
              <a:extLst>
                <a:ext uri="{FF2B5EF4-FFF2-40B4-BE49-F238E27FC236}">
                  <a16:creationId xmlns:a16="http://schemas.microsoft.com/office/drawing/2014/main" id="{AD897F33-47CB-375A-F707-E2041DF6A56A}"/>
                </a:ext>
              </a:extLst>
            </p:cNvPr>
            <p:cNvSpPr/>
            <p:nvPr/>
          </p:nvSpPr>
          <p:spPr>
            <a:xfrm>
              <a:off x="3207781" y="3560975"/>
              <a:ext cx="1486066" cy="1759003"/>
            </a:xfrm>
            <a:custGeom>
              <a:avLst/>
              <a:gdLst>
                <a:gd name="connsiteX0" fmla="*/ 933471 w 1312521"/>
                <a:gd name="connsiteY0" fmla="*/ 872704 h 1553585"/>
                <a:gd name="connsiteX1" fmla="*/ 1030738 w 1312521"/>
                <a:gd name="connsiteY1" fmla="*/ 1006121 h 1553585"/>
                <a:gd name="connsiteX2" fmla="*/ 1002848 w 1312521"/>
                <a:gd name="connsiteY2" fmla="*/ 1177656 h 1553585"/>
                <a:gd name="connsiteX3" fmla="*/ 831211 w 1312521"/>
                <a:gd name="connsiteY3" fmla="*/ 1152962 h 1553585"/>
                <a:gd name="connsiteX4" fmla="*/ 830677 w 1312521"/>
                <a:gd name="connsiteY4" fmla="*/ 1152244 h 1553585"/>
                <a:gd name="connsiteX5" fmla="*/ 674897 w 1312521"/>
                <a:gd name="connsiteY5" fmla="*/ 940874 h 1553585"/>
                <a:gd name="connsiteX6" fmla="*/ 674008 w 1312521"/>
                <a:gd name="connsiteY6" fmla="*/ 935220 h 1553585"/>
                <a:gd name="connsiteX7" fmla="*/ 669942 w 1312521"/>
                <a:gd name="connsiteY7" fmla="*/ 931217 h 1553585"/>
                <a:gd name="connsiteX8" fmla="*/ 695354 w 1312521"/>
                <a:gd name="connsiteY8" fmla="*/ 758792 h 1553585"/>
                <a:gd name="connsiteX9" fmla="*/ 761046 w 1312521"/>
                <a:gd name="connsiteY9" fmla="*/ 359495 h 1553585"/>
                <a:gd name="connsiteX10" fmla="*/ 364075 w 1312521"/>
                <a:gd name="connsiteY10" fmla="*/ 301001 h 1553585"/>
                <a:gd name="connsiteX11" fmla="*/ 362321 w 1312521"/>
                <a:gd name="connsiteY11" fmla="*/ 302316 h 1553585"/>
                <a:gd name="connsiteX12" fmla="*/ 248727 w 1312521"/>
                <a:gd name="connsiteY12" fmla="*/ 557015 h 1553585"/>
                <a:gd name="connsiteX13" fmla="*/ 137946 w 1312521"/>
                <a:gd name="connsiteY13" fmla="*/ 696670 h 1553585"/>
                <a:gd name="connsiteX14" fmla="*/ 136910 w 1312521"/>
                <a:gd name="connsiteY14" fmla="*/ 696785 h 1553585"/>
                <a:gd name="connsiteX15" fmla="*/ 2668 w 1312521"/>
                <a:gd name="connsiteY15" fmla="*/ 586557 h 1553585"/>
                <a:gd name="connsiteX16" fmla="*/ 216389 w 1312521"/>
                <a:gd name="connsiteY16" fmla="*/ 102509 h 1553585"/>
                <a:gd name="connsiteX17" fmla="*/ 960282 w 1312521"/>
                <a:gd name="connsiteY17" fmla="*/ 215786 h 1553585"/>
                <a:gd name="connsiteX18" fmla="*/ 933471 w 1312521"/>
                <a:gd name="connsiteY18" fmla="*/ 872704 h 1553585"/>
                <a:gd name="connsiteX19" fmla="*/ 1259071 w 1312521"/>
                <a:gd name="connsiteY19" fmla="*/ 1318824 h 1553585"/>
                <a:gd name="connsiteX20" fmla="*/ 1287153 w 1312521"/>
                <a:gd name="connsiteY20" fmla="*/ 1357388 h 1553585"/>
                <a:gd name="connsiteX21" fmla="*/ 1259199 w 1312521"/>
                <a:gd name="connsiteY21" fmla="*/ 1528923 h 1553585"/>
                <a:gd name="connsiteX22" fmla="*/ 1087644 w 1312521"/>
                <a:gd name="connsiteY22" fmla="*/ 1504260 h 1553585"/>
                <a:gd name="connsiteX23" fmla="*/ 1087091 w 1312521"/>
                <a:gd name="connsiteY23" fmla="*/ 1503511 h 1553585"/>
                <a:gd name="connsiteX24" fmla="*/ 1061678 w 1312521"/>
                <a:gd name="connsiteY24" fmla="*/ 1465391 h 1553585"/>
                <a:gd name="connsiteX25" fmla="*/ 1087091 w 1312521"/>
                <a:gd name="connsiteY25" fmla="*/ 1292967 h 1553585"/>
                <a:gd name="connsiteX26" fmla="*/ 1259199 w 1312521"/>
                <a:gd name="connsiteY26" fmla="*/ 1318379 h 1553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312521" h="1553585">
                  <a:moveTo>
                    <a:pt x="933471" y="872704"/>
                  </a:moveTo>
                  <a:lnTo>
                    <a:pt x="1030738" y="1006121"/>
                  </a:lnTo>
                  <a:cubicBezTo>
                    <a:pt x="1071971" y="1062410"/>
                    <a:pt x="1061551" y="1137187"/>
                    <a:pt x="1002848" y="1177656"/>
                  </a:cubicBezTo>
                  <a:cubicBezTo>
                    <a:pt x="948630" y="1218234"/>
                    <a:pt x="871788" y="1207179"/>
                    <a:pt x="831211" y="1152962"/>
                  </a:cubicBezTo>
                  <a:cubicBezTo>
                    <a:pt x="831033" y="1152720"/>
                    <a:pt x="830855" y="1152485"/>
                    <a:pt x="830677" y="1152244"/>
                  </a:cubicBezTo>
                  <a:lnTo>
                    <a:pt x="674897" y="940874"/>
                  </a:lnTo>
                  <a:cubicBezTo>
                    <a:pt x="673246" y="937633"/>
                    <a:pt x="676486" y="935982"/>
                    <a:pt x="674008" y="935220"/>
                  </a:cubicBezTo>
                  <a:cubicBezTo>
                    <a:pt x="671530" y="934457"/>
                    <a:pt x="671594" y="934457"/>
                    <a:pt x="669942" y="931217"/>
                  </a:cubicBezTo>
                  <a:cubicBezTo>
                    <a:pt x="630362" y="878168"/>
                    <a:pt x="642369" y="798499"/>
                    <a:pt x="695354" y="758792"/>
                  </a:cubicBezTo>
                  <a:cubicBezTo>
                    <a:pt x="824769" y="665400"/>
                    <a:pt x="855010" y="486495"/>
                    <a:pt x="761046" y="359495"/>
                  </a:cubicBezTo>
                  <a:cubicBezTo>
                    <a:pt x="667578" y="233721"/>
                    <a:pt x="489849" y="207534"/>
                    <a:pt x="364075" y="301001"/>
                  </a:cubicBezTo>
                  <a:cubicBezTo>
                    <a:pt x="363490" y="301439"/>
                    <a:pt x="362906" y="301878"/>
                    <a:pt x="362321" y="302316"/>
                  </a:cubicBezTo>
                  <a:cubicBezTo>
                    <a:pt x="281636" y="360797"/>
                    <a:pt x="238326" y="457912"/>
                    <a:pt x="248727" y="557015"/>
                  </a:cubicBezTo>
                  <a:cubicBezTo>
                    <a:pt x="256700" y="626169"/>
                    <a:pt x="207101" y="688697"/>
                    <a:pt x="137946" y="696670"/>
                  </a:cubicBezTo>
                  <a:cubicBezTo>
                    <a:pt x="137603" y="696708"/>
                    <a:pt x="137254" y="696747"/>
                    <a:pt x="136910" y="696785"/>
                  </a:cubicBezTo>
                  <a:cubicBezTo>
                    <a:pt x="68106" y="701741"/>
                    <a:pt x="9847" y="656252"/>
                    <a:pt x="2668" y="586557"/>
                  </a:cubicBezTo>
                  <a:cubicBezTo>
                    <a:pt x="-18056" y="398554"/>
                    <a:pt x="63493" y="213855"/>
                    <a:pt x="216389" y="102509"/>
                  </a:cubicBezTo>
                  <a:cubicBezTo>
                    <a:pt x="453375" y="-70456"/>
                    <a:pt x="785519" y="-19878"/>
                    <a:pt x="960282" y="215786"/>
                  </a:cubicBezTo>
                  <a:cubicBezTo>
                    <a:pt x="1106405" y="415975"/>
                    <a:pt x="1089251" y="688017"/>
                    <a:pt x="933471" y="872704"/>
                  </a:cubicBezTo>
                  <a:close/>
                  <a:moveTo>
                    <a:pt x="1259071" y="1318824"/>
                  </a:moveTo>
                  <a:lnTo>
                    <a:pt x="1287153" y="1357388"/>
                  </a:lnTo>
                  <a:cubicBezTo>
                    <a:pt x="1328321" y="1413677"/>
                    <a:pt x="1317902" y="1488454"/>
                    <a:pt x="1259199" y="1528923"/>
                  </a:cubicBezTo>
                  <a:cubicBezTo>
                    <a:pt x="1205012" y="1569488"/>
                    <a:pt x="1128209" y="1558440"/>
                    <a:pt x="1087644" y="1504260"/>
                  </a:cubicBezTo>
                  <a:cubicBezTo>
                    <a:pt x="1087460" y="1504013"/>
                    <a:pt x="1087275" y="1503758"/>
                    <a:pt x="1087091" y="1503511"/>
                  </a:cubicBezTo>
                  <a:lnTo>
                    <a:pt x="1061678" y="1465391"/>
                  </a:lnTo>
                  <a:cubicBezTo>
                    <a:pt x="1019684" y="1411517"/>
                    <a:pt x="1034106" y="1332610"/>
                    <a:pt x="1087091" y="1292967"/>
                  </a:cubicBezTo>
                  <a:cubicBezTo>
                    <a:pt x="1141671" y="1252592"/>
                    <a:pt x="1218621" y="1263958"/>
                    <a:pt x="1259199" y="1318379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3" name="任意多边形 27">
              <a:extLst>
                <a:ext uri="{FF2B5EF4-FFF2-40B4-BE49-F238E27FC236}">
                  <a16:creationId xmlns:a16="http://schemas.microsoft.com/office/drawing/2014/main" id="{F49707F0-5B5B-8581-AD75-BDB89B2AAEBB}"/>
                </a:ext>
              </a:extLst>
            </p:cNvPr>
            <p:cNvSpPr/>
            <p:nvPr/>
          </p:nvSpPr>
          <p:spPr>
            <a:xfrm>
              <a:off x="6164723" y="1962102"/>
              <a:ext cx="703194" cy="564027"/>
            </a:xfrm>
            <a:custGeom>
              <a:avLst/>
              <a:gdLst>
                <a:gd name="connsiteX0" fmla="*/ 577794 w 621074"/>
                <a:gd name="connsiteY0" fmla="*/ 416455 h 498159"/>
                <a:gd name="connsiteX1" fmla="*/ 538976 w 621074"/>
                <a:gd name="connsiteY1" fmla="*/ 192061 h 498159"/>
                <a:gd name="connsiteX2" fmla="*/ 398317 w 621074"/>
                <a:gd name="connsiteY2" fmla="*/ 31135 h 498159"/>
                <a:gd name="connsiteX3" fmla="*/ 10265 w 621074"/>
                <a:gd name="connsiteY3" fmla="*/ 121159 h 498159"/>
                <a:gd name="connsiteX4" fmla="*/ 38156 w 621074"/>
                <a:gd name="connsiteY4" fmla="*/ 265504 h 498159"/>
                <a:gd name="connsiteX5" fmla="*/ 65983 w 621074"/>
                <a:gd name="connsiteY5" fmla="*/ 440152 h 498159"/>
                <a:gd name="connsiteX6" fmla="*/ 577794 w 621074"/>
                <a:gd name="connsiteY6" fmla="*/ 416455 h 498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1074" h="498159">
                  <a:moveTo>
                    <a:pt x="577794" y="416455"/>
                  </a:moveTo>
                  <a:cubicBezTo>
                    <a:pt x="667819" y="254576"/>
                    <a:pt x="596536" y="161629"/>
                    <a:pt x="538976" y="192061"/>
                  </a:cubicBezTo>
                  <a:cubicBezTo>
                    <a:pt x="538976" y="192061"/>
                    <a:pt x="530399" y="91617"/>
                    <a:pt x="398317" y="31135"/>
                  </a:cubicBezTo>
                  <a:cubicBezTo>
                    <a:pt x="245841" y="-38750"/>
                    <a:pt x="48893" y="15633"/>
                    <a:pt x="10265" y="121159"/>
                  </a:cubicBezTo>
                  <a:cubicBezTo>
                    <a:pt x="-25186" y="218554"/>
                    <a:pt x="38156" y="265504"/>
                    <a:pt x="38156" y="265504"/>
                  </a:cubicBezTo>
                  <a:cubicBezTo>
                    <a:pt x="38156" y="265504"/>
                    <a:pt x="-1043" y="335388"/>
                    <a:pt x="65983" y="440152"/>
                  </a:cubicBezTo>
                  <a:cubicBezTo>
                    <a:pt x="133009" y="544916"/>
                    <a:pt x="537515" y="488945"/>
                    <a:pt x="577794" y="416455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4" name="任意多边形 28">
              <a:extLst>
                <a:ext uri="{FF2B5EF4-FFF2-40B4-BE49-F238E27FC236}">
                  <a16:creationId xmlns:a16="http://schemas.microsoft.com/office/drawing/2014/main" id="{473CD6F3-C0FD-56DE-E6AE-4071BFF60157}"/>
                </a:ext>
              </a:extLst>
            </p:cNvPr>
            <p:cNvSpPr/>
            <p:nvPr/>
          </p:nvSpPr>
          <p:spPr>
            <a:xfrm>
              <a:off x="6390997" y="2695691"/>
              <a:ext cx="273341" cy="276362"/>
            </a:xfrm>
            <a:custGeom>
              <a:avLst/>
              <a:gdLst>
                <a:gd name="connsiteX0" fmla="*/ 120196 w 241420"/>
                <a:gd name="connsiteY0" fmla="*/ 243879 h 244088"/>
                <a:gd name="connsiteX1" fmla="*/ 120196 w 241420"/>
                <a:gd name="connsiteY1" fmla="*/ 243879 h 244088"/>
                <a:gd name="connsiteX2" fmla="*/ -514 w 241420"/>
                <a:gd name="connsiteY2" fmla="*/ 160017 h 244088"/>
                <a:gd name="connsiteX3" fmla="*/ -514 w 241420"/>
                <a:gd name="connsiteY3" fmla="*/ -210 h 244088"/>
                <a:gd name="connsiteX4" fmla="*/ 240906 w 241420"/>
                <a:gd name="connsiteY4" fmla="*/ -210 h 244088"/>
                <a:gd name="connsiteX5" fmla="*/ 240906 w 241420"/>
                <a:gd name="connsiteY5" fmla="*/ 160335 h 244088"/>
                <a:gd name="connsiteX6" fmla="*/ 120958 w 241420"/>
                <a:gd name="connsiteY6" fmla="*/ 243752 h 244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1420" h="244088">
                  <a:moveTo>
                    <a:pt x="120196" y="243879"/>
                  </a:moveTo>
                  <a:lnTo>
                    <a:pt x="120196" y="243879"/>
                  </a:lnTo>
                  <a:cubicBezTo>
                    <a:pt x="53551" y="243879"/>
                    <a:pt x="-514" y="206332"/>
                    <a:pt x="-514" y="160017"/>
                  </a:cubicBezTo>
                  <a:lnTo>
                    <a:pt x="-514" y="-210"/>
                  </a:lnTo>
                  <a:lnTo>
                    <a:pt x="240906" y="-210"/>
                  </a:lnTo>
                  <a:lnTo>
                    <a:pt x="240906" y="160335"/>
                  </a:lnTo>
                  <a:cubicBezTo>
                    <a:pt x="240906" y="206395"/>
                    <a:pt x="187222" y="243752"/>
                    <a:pt x="120958" y="243752"/>
                  </a:cubicBez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5" name="任意多边形 29">
              <a:extLst>
                <a:ext uri="{FF2B5EF4-FFF2-40B4-BE49-F238E27FC236}">
                  <a16:creationId xmlns:a16="http://schemas.microsoft.com/office/drawing/2014/main" id="{FA2B43FC-DA31-C657-D6BD-70191530F54A}"/>
                </a:ext>
              </a:extLst>
            </p:cNvPr>
            <p:cNvSpPr/>
            <p:nvPr/>
          </p:nvSpPr>
          <p:spPr>
            <a:xfrm>
              <a:off x="6190954" y="2434905"/>
              <a:ext cx="140645" cy="163868"/>
            </a:xfrm>
            <a:custGeom>
              <a:avLst/>
              <a:gdLst>
                <a:gd name="connsiteX0" fmla="*/ 89827 w 124220"/>
                <a:gd name="connsiteY0" fmla="*/ 32284 h 144731"/>
                <a:gd name="connsiteX1" fmla="*/ -514 w 124220"/>
                <a:gd name="connsiteY1" fmla="*/ 54139 h 144731"/>
                <a:gd name="connsiteX2" fmla="*/ 109904 w 124220"/>
                <a:gd name="connsiteY2" fmla="*/ 127518 h 144731"/>
                <a:gd name="connsiteX3" fmla="*/ 89827 w 124220"/>
                <a:gd name="connsiteY3" fmla="*/ 32221 h 14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220" h="144731">
                  <a:moveTo>
                    <a:pt x="89827" y="32284"/>
                  </a:moveTo>
                  <a:cubicBezTo>
                    <a:pt x="47960" y="-30739"/>
                    <a:pt x="-514" y="9730"/>
                    <a:pt x="-514" y="54139"/>
                  </a:cubicBezTo>
                  <a:cubicBezTo>
                    <a:pt x="-514" y="118306"/>
                    <a:pt x="69752" y="173579"/>
                    <a:pt x="109904" y="127518"/>
                  </a:cubicBezTo>
                  <a:cubicBezTo>
                    <a:pt x="150056" y="81458"/>
                    <a:pt x="89827" y="32221"/>
                    <a:pt x="89827" y="3222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6" name="任意多边形 30">
              <a:extLst>
                <a:ext uri="{FF2B5EF4-FFF2-40B4-BE49-F238E27FC236}">
                  <a16:creationId xmlns:a16="http://schemas.microsoft.com/office/drawing/2014/main" id="{E69471F3-91F7-DB98-A9D7-57736A4FD212}"/>
                </a:ext>
              </a:extLst>
            </p:cNvPr>
            <p:cNvSpPr/>
            <p:nvPr/>
          </p:nvSpPr>
          <p:spPr>
            <a:xfrm>
              <a:off x="6727091" y="2434905"/>
              <a:ext cx="140816" cy="163868"/>
            </a:xfrm>
            <a:custGeom>
              <a:avLst/>
              <a:gdLst>
                <a:gd name="connsiteX0" fmla="*/ 33579 w 124371"/>
                <a:gd name="connsiteY0" fmla="*/ 32284 h 144731"/>
                <a:gd name="connsiteX1" fmla="*/ 123857 w 124371"/>
                <a:gd name="connsiteY1" fmla="*/ 54139 h 144731"/>
                <a:gd name="connsiteX2" fmla="*/ 13439 w 124371"/>
                <a:gd name="connsiteY2" fmla="*/ 127518 h 144731"/>
                <a:gd name="connsiteX3" fmla="*/ 33579 w 124371"/>
                <a:gd name="connsiteY3" fmla="*/ 32221 h 14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371" h="144731">
                  <a:moveTo>
                    <a:pt x="33579" y="32284"/>
                  </a:moveTo>
                  <a:cubicBezTo>
                    <a:pt x="75319" y="-30739"/>
                    <a:pt x="123857" y="9730"/>
                    <a:pt x="123857" y="54139"/>
                  </a:cubicBezTo>
                  <a:cubicBezTo>
                    <a:pt x="123857" y="118306"/>
                    <a:pt x="53972" y="173579"/>
                    <a:pt x="13439" y="127518"/>
                  </a:cubicBezTo>
                  <a:cubicBezTo>
                    <a:pt x="-27095" y="81458"/>
                    <a:pt x="33579" y="32221"/>
                    <a:pt x="33579" y="3222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7" name="任意多边形 31">
              <a:extLst>
                <a:ext uri="{FF2B5EF4-FFF2-40B4-BE49-F238E27FC236}">
                  <a16:creationId xmlns:a16="http://schemas.microsoft.com/office/drawing/2014/main" id="{00ECE732-A391-C2B1-CCD8-12D197896BFE}"/>
                </a:ext>
              </a:extLst>
            </p:cNvPr>
            <p:cNvSpPr/>
            <p:nvPr/>
          </p:nvSpPr>
          <p:spPr>
            <a:xfrm>
              <a:off x="6265196" y="2209296"/>
              <a:ext cx="527030" cy="543940"/>
            </a:xfrm>
            <a:custGeom>
              <a:avLst/>
              <a:gdLst>
                <a:gd name="connsiteX0" fmla="*/ 232068 w 465483"/>
                <a:gd name="connsiteY0" fmla="*/ 480209 h 480418"/>
                <a:gd name="connsiteX1" fmla="*/ 7928 w 465483"/>
                <a:gd name="connsiteY1" fmla="*/ 114266 h 480418"/>
                <a:gd name="connsiteX2" fmla="*/ 456589 w 465483"/>
                <a:gd name="connsiteY2" fmla="*/ 114266 h 480418"/>
                <a:gd name="connsiteX3" fmla="*/ 232068 w 465483"/>
                <a:gd name="connsiteY3" fmla="*/ 480209 h 480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5483" h="480418">
                  <a:moveTo>
                    <a:pt x="232068" y="480209"/>
                  </a:moveTo>
                  <a:cubicBezTo>
                    <a:pt x="66886" y="480209"/>
                    <a:pt x="-30763" y="299588"/>
                    <a:pt x="7928" y="114266"/>
                  </a:cubicBezTo>
                  <a:cubicBezTo>
                    <a:pt x="39694" y="-38527"/>
                    <a:pt x="424696" y="-38210"/>
                    <a:pt x="456589" y="114266"/>
                  </a:cubicBezTo>
                  <a:cubicBezTo>
                    <a:pt x="495153" y="299588"/>
                    <a:pt x="397251" y="480209"/>
                    <a:pt x="232068" y="480209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8" name="任意多边形 32">
              <a:extLst>
                <a:ext uri="{FF2B5EF4-FFF2-40B4-BE49-F238E27FC236}">
                  <a16:creationId xmlns:a16="http://schemas.microsoft.com/office/drawing/2014/main" id="{E1C3E29D-276F-7F40-4A7A-D3EADEFA7589}"/>
                </a:ext>
              </a:extLst>
            </p:cNvPr>
            <p:cNvSpPr/>
            <p:nvPr/>
          </p:nvSpPr>
          <p:spPr>
            <a:xfrm>
              <a:off x="6255890" y="2082565"/>
              <a:ext cx="448236" cy="230262"/>
            </a:xfrm>
            <a:custGeom>
              <a:avLst/>
              <a:gdLst>
                <a:gd name="connsiteX0" fmla="*/ 386663 w 395890"/>
                <a:gd name="connsiteY0" fmla="*/ 112221 h 203372"/>
                <a:gd name="connsiteX1" fmla="*/ 250388 w 395890"/>
                <a:gd name="connsiteY1" fmla="*/ 153708 h 203372"/>
                <a:gd name="connsiteX2" fmla="*/ 94799 w 395890"/>
                <a:gd name="connsiteY2" fmla="*/ 202246 h 203372"/>
                <a:gd name="connsiteX3" fmla="*/ 66146 w 395890"/>
                <a:gd name="connsiteY3" fmla="*/ 31028 h 203372"/>
                <a:gd name="connsiteX4" fmla="*/ 386663 w 395890"/>
                <a:gd name="connsiteY4" fmla="*/ 112221 h 203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5890" h="203372">
                  <a:moveTo>
                    <a:pt x="386663" y="112221"/>
                  </a:moveTo>
                  <a:cubicBezTo>
                    <a:pt x="344034" y="208472"/>
                    <a:pt x="250388" y="153708"/>
                    <a:pt x="250388" y="153708"/>
                  </a:cubicBezTo>
                  <a:cubicBezTo>
                    <a:pt x="207091" y="190022"/>
                    <a:pt x="151062" y="207500"/>
                    <a:pt x="94799" y="202246"/>
                  </a:cubicBezTo>
                  <a:cubicBezTo>
                    <a:pt x="581" y="192970"/>
                    <a:pt x="-48592" y="79439"/>
                    <a:pt x="66146" y="31028"/>
                  </a:cubicBezTo>
                  <a:cubicBezTo>
                    <a:pt x="180884" y="-17383"/>
                    <a:pt x="446701" y="-22784"/>
                    <a:pt x="386663" y="112221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9" name="任意多边形 33">
              <a:extLst>
                <a:ext uri="{FF2B5EF4-FFF2-40B4-BE49-F238E27FC236}">
                  <a16:creationId xmlns:a16="http://schemas.microsoft.com/office/drawing/2014/main" id="{0443894B-D0F0-65E4-3006-E960BAE60411}"/>
                </a:ext>
              </a:extLst>
            </p:cNvPr>
            <p:cNvSpPr/>
            <p:nvPr/>
          </p:nvSpPr>
          <p:spPr>
            <a:xfrm>
              <a:off x="5999615" y="5296537"/>
              <a:ext cx="484830" cy="136671"/>
            </a:xfrm>
            <a:custGeom>
              <a:avLst/>
              <a:gdLst>
                <a:gd name="connsiteX0" fmla="*/ 415046 w 428211"/>
                <a:gd name="connsiteY0" fmla="*/ -210 h 120710"/>
                <a:gd name="connsiteX1" fmla="*/ 150755 w 428211"/>
                <a:gd name="connsiteY1" fmla="*/ -210 h 120710"/>
                <a:gd name="connsiteX2" fmla="*/ -514 w 428211"/>
                <a:gd name="connsiteY2" fmla="*/ 107794 h 120710"/>
                <a:gd name="connsiteX3" fmla="*/ -514 w 428211"/>
                <a:gd name="connsiteY3" fmla="*/ 120500 h 120710"/>
                <a:gd name="connsiteX4" fmla="*/ 425148 w 428211"/>
                <a:gd name="connsiteY4" fmla="*/ 120500 h 120710"/>
                <a:gd name="connsiteX5" fmla="*/ 414856 w 428211"/>
                <a:gd name="connsiteY5" fmla="*/ -210 h 120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8211" h="120710">
                  <a:moveTo>
                    <a:pt x="415046" y="-210"/>
                  </a:moveTo>
                  <a:lnTo>
                    <a:pt x="150755" y="-210"/>
                  </a:lnTo>
                  <a:cubicBezTo>
                    <a:pt x="150755" y="-210"/>
                    <a:pt x="14924" y="76981"/>
                    <a:pt x="-514" y="107794"/>
                  </a:cubicBezTo>
                  <a:lnTo>
                    <a:pt x="-514" y="120500"/>
                  </a:lnTo>
                  <a:lnTo>
                    <a:pt x="425148" y="120500"/>
                  </a:lnTo>
                  <a:cubicBezTo>
                    <a:pt x="425148" y="120500"/>
                    <a:pt x="435377" y="30412"/>
                    <a:pt x="414856" y="-210"/>
                  </a:cubicBezTo>
                  <a:close/>
                </a:path>
              </a:pathLst>
            </a:custGeom>
            <a:solidFill>
              <a:srgbClr val="00065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0" name="任意多边形 34">
              <a:extLst>
                <a:ext uri="{FF2B5EF4-FFF2-40B4-BE49-F238E27FC236}">
                  <a16:creationId xmlns:a16="http://schemas.microsoft.com/office/drawing/2014/main" id="{A87F1124-B33E-C3B4-B2E6-BCF8E3C3CB1F}"/>
                </a:ext>
              </a:extLst>
            </p:cNvPr>
            <p:cNvSpPr/>
            <p:nvPr/>
          </p:nvSpPr>
          <p:spPr>
            <a:xfrm>
              <a:off x="5999255" y="5433496"/>
              <a:ext cx="483023" cy="22802"/>
            </a:xfrm>
            <a:custGeom>
              <a:avLst/>
              <a:gdLst>
                <a:gd name="connsiteX0" fmla="*/ 426615 w 426615"/>
                <a:gd name="connsiteY0" fmla="*/ 0 h 20139"/>
                <a:gd name="connsiteX1" fmla="*/ 0 w 426615"/>
                <a:gd name="connsiteY1" fmla="*/ 0 h 20139"/>
                <a:gd name="connsiteX2" fmla="*/ 0 w 426615"/>
                <a:gd name="connsiteY2" fmla="*/ 20140 h 20139"/>
                <a:gd name="connsiteX3" fmla="*/ 426615 w 426615"/>
                <a:gd name="connsiteY3" fmla="*/ 20140 h 20139"/>
                <a:gd name="connsiteX4" fmla="*/ 426615 w 426615"/>
                <a:gd name="connsiteY4" fmla="*/ 0 h 20139"/>
                <a:gd name="connsiteX5" fmla="*/ 426615 w 426615"/>
                <a:gd name="connsiteY5" fmla="*/ 0 h 2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6615" h="20139">
                  <a:moveTo>
                    <a:pt x="426615" y="0"/>
                  </a:moveTo>
                  <a:lnTo>
                    <a:pt x="0" y="0"/>
                  </a:lnTo>
                  <a:lnTo>
                    <a:pt x="0" y="20140"/>
                  </a:lnTo>
                  <a:lnTo>
                    <a:pt x="426615" y="20140"/>
                  </a:lnTo>
                  <a:lnTo>
                    <a:pt x="426615" y="0"/>
                  </a:lnTo>
                  <a:lnTo>
                    <a:pt x="426615" y="0"/>
                  </a:ln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1" name="任意多边形 35">
              <a:extLst>
                <a:ext uri="{FF2B5EF4-FFF2-40B4-BE49-F238E27FC236}">
                  <a16:creationId xmlns:a16="http://schemas.microsoft.com/office/drawing/2014/main" id="{51067588-8E97-509D-F0B5-D1D412A1EEA2}"/>
                </a:ext>
              </a:extLst>
            </p:cNvPr>
            <p:cNvSpPr/>
            <p:nvPr/>
          </p:nvSpPr>
          <p:spPr>
            <a:xfrm>
              <a:off x="6140242" y="3782441"/>
              <a:ext cx="395626" cy="1526181"/>
            </a:xfrm>
            <a:custGeom>
              <a:avLst/>
              <a:gdLst>
                <a:gd name="connsiteX0" fmla="*/ 348910 w 349424"/>
                <a:gd name="connsiteY0" fmla="*/ -210 h 1347952"/>
                <a:gd name="connsiteX1" fmla="*/ 17656 w 349424"/>
                <a:gd name="connsiteY1" fmla="*/ -210 h 1347952"/>
                <a:gd name="connsiteX2" fmla="*/ -514 w 349424"/>
                <a:gd name="connsiteY2" fmla="*/ 1347742 h 1347952"/>
                <a:gd name="connsiteX3" fmla="*/ 305200 w 349424"/>
                <a:gd name="connsiteY3" fmla="*/ 1347742 h 1347952"/>
                <a:gd name="connsiteX4" fmla="*/ 346369 w 349424"/>
                <a:gd name="connsiteY4" fmla="*/ 202583 h 1347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424" h="1347952">
                  <a:moveTo>
                    <a:pt x="348910" y="-210"/>
                  </a:moveTo>
                  <a:lnTo>
                    <a:pt x="17656" y="-210"/>
                  </a:lnTo>
                  <a:lnTo>
                    <a:pt x="-514" y="1347742"/>
                  </a:lnTo>
                  <a:lnTo>
                    <a:pt x="305200" y="1347742"/>
                  </a:lnTo>
                  <a:cubicBezTo>
                    <a:pt x="305200" y="1347742"/>
                    <a:pt x="303548" y="602833"/>
                    <a:pt x="346369" y="202583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2" name="任意多边形 36">
              <a:extLst>
                <a:ext uri="{FF2B5EF4-FFF2-40B4-BE49-F238E27FC236}">
                  <a16:creationId xmlns:a16="http://schemas.microsoft.com/office/drawing/2014/main" id="{7CE7D50B-B195-D9EC-9BED-C69520497FDB}"/>
                </a:ext>
              </a:extLst>
            </p:cNvPr>
            <p:cNvSpPr/>
            <p:nvPr/>
          </p:nvSpPr>
          <p:spPr>
            <a:xfrm>
              <a:off x="6583298" y="5296537"/>
              <a:ext cx="484866" cy="136671"/>
            </a:xfrm>
            <a:custGeom>
              <a:avLst/>
              <a:gdLst>
                <a:gd name="connsiteX0" fmla="*/ 12168 w 428243"/>
                <a:gd name="connsiteY0" fmla="*/ -210 h 120710"/>
                <a:gd name="connsiteX1" fmla="*/ 276460 w 428243"/>
                <a:gd name="connsiteY1" fmla="*/ -210 h 120710"/>
                <a:gd name="connsiteX2" fmla="*/ 427729 w 428243"/>
                <a:gd name="connsiteY2" fmla="*/ 107794 h 120710"/>
                <a:gd name="connsiteX3" fmla="*/ 427729 w 428243"/>
                <a:gd name="connsiteY3" fmla="*/ 120500 h 120710"/>
                <a:gd name="connsiteX4" fmla="*/ 2067 w 428243"/>
                <a:gd name="connsiteY4" fmla="*/ 120500 h 120710"/>
                <a:gd name="connsiteX5" fmla="*/ 12295 w 428243"/>
                <a:gd name="connsiteY5" fmla="*/ -210 h 120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8243" h="120710">
                  <a:moveTo>
                    <a:pt x="12168" y="-210"/>
                  </a:moveTo>
                  <a:lnTo>
                    <a:pt x="276460" y="-210"/>
                  </a:lnTo>
                  <a:cubicBezTo>
                    <a:pt x="276460" y="-210"/>
                    <a:pt x="412354" y="76981"/>
                    <a:pt x="427729" y="107794"/>
                  </a:cubicBezTo>
                  <a:lnTo>
                    <a:pt x="427729" y="120500"/>
                  </a:lnTo>
                  <a:lnTo>
                    <a:pt x="2067" y="120500"/>
                  </a:lnTo>
                  <a:cubicBezTo>
                    <a:pt x="2067" y="120500"/>
                    <a:pt x="-8226" y="30412"/>
                    <a:pt x="12295" y="-210"/>
                  </a:cubicBezTo>
                  <a:close/>
                </a:path>
              </a:pathLst>
            </a:custGeom>
            <a:solidFill>
              <a:srgbClr val="00065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3" name="任意多边形 37">
              <a:extLst>
                <a:ext uri="{FF2B5EF4-FFF2-40B4-BE49-F238E27FC236}">
                  <a16:creationId xmlns:a16="http://schemas.microsoft.com/office/drawing/2014/main" id="{09209F44-476E-DBCE-39AD-2066EB288C0F}"/>
                </a:ext>
              </a:extLst>
            </p:cNvPr>
            <p:cNvSpPr/>
            <p:nvPr/>
          </p:nvSpPr>
          <p:spPr>
            <a:xfrm>
              <a:off x="6585142" y="5433496"/>
              <a:ext cx="483023" cy="22802"/>
            </a:xfrm>
            <a:custGeom>
              <a:avLst/>
              <a:gdLst>
                <a:gd name="connsiteX0" fmla="*/ 0 w 426615"/>
                <a:gd name="connsiteY0" fmla="*/ 0 h 20139"/>
                <a:gd name="connsiteX1" fmla="*/ 426615 w 426615"/>
                <a:gd name="connsiteY1" fmla="*/ 0 h 20139"/>
                <a:gd name="connsiteX2" fmla="*/ 426615 w 426615"/>
                <a:gd name="connsiteY2" fmla="*/ 20140 h 20139"/>
                <a:gd name="connsiteX3" fmla="*/ 0 w 426615"/>
                <a:gd name="connsiteY3" fmla="*/ 20140 h 20139"/>
                <a:gd name="connsiteX4" fmla="*/ 0 w 426615"/>
                <a:gd name="connsiteY4" fmla="*/ 0 h 20139"/>
                <a:gd name="connsiteX5" fmla="*/ 0 w 426615"/>
                <a:gd name="connsiteY5" fmla="*/ 0 h 2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6615" h="20139">
                  <a:moveTo>
                    <a:pt x="0" y="0"/>
                  </a:moveTo>
                  <a:lnTo>
                    <a:pt x="426615" y="0"/>
                  </a:lnTo>
                  <a:lnTo>
                    <a:pt x="426615" y="20140"/>
                  </a:lnTo>
                  <a:lnTo>
                    <a:pt x="0" y="2014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4" name="任意多边形 38">
              <a:extLst>
                <a:ext uri="{FF2B5EF4-FFF2-40B4-BE49-F238E27FC236}">
                  <a16:creationId xmlns:a16="http://schemas.microsoft.com/office/drawing/2014/main" id="{FAEC1A79-A865-5011-966B-151E5CA2C9FF}"/>
                </a:ext>
              </a:extLst>
            </p:cNvPr>
            <p:cNvSpPr/>
            <p:nvPr/>
          </p:nvSpPr>
          <p:spPr>
            <a:xfrm>
              <a:off x="6531551" y="3782441"/>
              <a:ext cx="395698" cy="1526181"/>
            </a:xfrm>
            <a:custGeom>
              <a:avLst/>
              <a:gdLst>
                <a:gd name="connsiteX0" fmla="*/ -514 w 349488"/>
                <a:gd name="connsiteY0" fmla="*/ -210 h 1347952"/>
                <a:gd name="connsiteX1" fmla="*/ 330803 w 349488"/>
                <a:gd name="connsiteY1" fmla="*/ -210 h 1347952"/>
                <a:gd name="connsiteX2" fmla="*/ 348974 w 349488"/>
                <a:gd name="connsiteY2" fmla="*/ 1347742 h 1347952"/>
                <a:gd name="connsiteX3" fmla="*/ 43259 w 349488"/>
                <a:gd name="connsiteY3" fmla="*/ 1347742 h 1347952"/>
                <a:gd name="connsiteX4" fmla="*/ 2408 w 349488"/>
                <a:gd name="connsiteY4" fmla="*/ 202583 h 1347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488" h="1347952">
                  <a:moveTo>
                    <a:pt x="-514" y="-210"/>
                  </a:moveTo>
                  <a:lnTo>
                    <a:pt x="330803" y="-210"/>
                  </a:lnTo>
                  <a:lnTo>
                    <a:pt x="348974" y="1347742"/>
                  </a:lnTo>
                  <a:lnTo>
                    <a:pt x="43259" y="1347742"/>
                  </a:lnTo>
                  <a:cubicBezTo>
                    <a:pt x="43259" y="1347742"/>
                    <a:pt x="44911" y="602833"/>
                    <a:pt x="2408" y="202583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5" name="任意多边形 39">
              <a:extLst>
                <a:ext uri="{FF2B5EF4-FFF2-40B4-BE49-F238E27FC236}">
                  <a16:creationId xmlns:a16="http://schemas.microsoft.com/office/drawing/2014/main" id="{90ACB333-5BB9-E54D-D381-A103476358B6}"/>
                </a:ext>
              </a:extLst>
            </p:cNvPr>
            <p:cNvSpPr/>
            <p:nvPr/>
          </p:nvSpPr>
          <p:spPr>
            <a:xfrm>
              <a:off x="6096076" y="2836102"/>
              <a:ext cx="877570" cy="1154292"/>
            </a:xfrm>
            <a:custGeom>
              <a:avLst/>
              <a:gdLst>
                <a:gd name="connsiteX0" fmla="*/ 259966 w 775086"/>
                <a:gd name="connsiteY0" fmla="*/ -210 h 1019493"/>
                <a:gd name="connsiteX1" fmla="*/ 380676 w 775086"/>
                <a:gd name="connsiteY1" fmla="*/ 81873 h 1019493"/>
                <a:gd name="connsiteX2" fmla="*/ 383217 w 775086"/>
                <a:gd name="connsiteY2" fmla="*/ 81873 h 1019493"/>
                <a:gd name="connsiteX3" fmla="*/ 501132 w 775086"/>
                <a:gd name="connsiteY3" fmla="*/ -210 h 1019493"/>
                <a:gd name="connsiteX4" fmla="*/ 703735 w 775086"/>
                <a:gd name="connsiteY4" fmla="*/ 40832 h 1019493"/>
                <a:gd name="connsiteX5" fmla="*/ 774573 w 775086"/>
                <a:gd name="connsiteY5" fmla="*/ 943109 h 1019493"/>
                <a:gd name="connsiteX6" fmla="*/ -514 w 775086"/>
                <a:gd name="connsiteY6" fmla="*/ 924050 h 1019493"/>
                <a:gd name="connsiteX7" fmla="*/ 66893 w 775086"/>
                <a:gd name="connsiteY7" fmla="*/ 30603 h 1019493"/>
                <a:gd name="connsiteX8" fmla="*/ 260029 w 775086"/>
                <a:gd name="connsiteY8" fmla="*/ -210 h 1019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75086" h="1019493">
                  <a:moveTo>
                    <a:pt x="259966" y="-210"/>
                  </a:moveTo>
                  <a:cubicBezTo>
                    <a:pt x="277882" y="79268"/>
                    <a:pt x="372734" y="81873"/>
                    <a:pt x="380676" y="81873"/>
                  </a:cubicBezTo>
                  <a:lnTo>
                    <a:pt x="383217" y="81873"/>
                  </a:lnTo>
                  <a:cubicBezTo>
                    <a:pt x="390904" y="81873"/>
                    <a:pt x="480611" y="79268"/>
                    <a:pt x="501132" y="-210"/>
                  </a:cubicBezTo>
                  <a:lnTo>
                    <a:pt x="703735" y="40832"/>
                  </a:lnTo>
                  <a:lnTo>
                    <a:pt x="774573" y="943109"/>
                  </a:lnTo>
                  <a:cubicBezTo>
                    <a:pt x="615743" y="1025700"/>
                    <a:pt x="132394" y="1069347"/>
                    <a:pt x="-514" y="924050"/>
                  </a:cubicBezTo>
                  <a:lnTo>
                    <a:pt x="66893" y="30603"/>
                  </a:lnTo>
                  <a:lnTo>
                    <a:pt x="260029" y="-210"/>
                  </a:lnTo>
                  <a:close/>
                </a:path>
              </a:pathLst>
            </a:custGeom>
            <a:solidFill>
              <a:srgbClr val="00065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6" name="任意多边形 40">
              <a:extLst>
                <a:ext uri="{FF2B5EF4-FFF2-40B4-BE49-F238E27FC236}">
                  <a16:creationId xmlns:a16="http://schemas.microsoft.com/office/drawing/2014/main" id="{7D9B2530-E219-18FB-AB87-D90991387DAA}"/>
                </a:ext>
              </a:extLst>
            </p:cNvPr>
            <p:cNvSpPr/>
            <p:nvPr/>
          </p:nvSpPr>
          <p:spPr>
            <a:xfrm>
              <a:off x="5368249" y="3005839"/>
              <a:ext cx="792980" cy="422613"/>
            </a:xfrm>
            <a:custGeom>
              <a:avLst/>
              <a:gdLst>
                <a:gd name="connsiteX0" fmla="*/ 698477 w 700375"/>
                <a:gd name="connsiteY0" fmla="*/ 67344 h 373260"/>
                <a:gd name="connsiteX1" fmla="*/ 582976 w 700375"/>
                <a:gd name="connsiteY1" fmla="*/ 238880 h 373260"/>
                <a:gd name="connsiteX2" fmla="*/ 51470 w 700375"/>
                <a:gd name="connsiteY2" fmla="*/ 369755 h 373260"/>
                <a:gd name="connsiteX3" fmla="*/ 51470 w 700375"/>
                <a:gd name="connsiteY3" fmla="*/ 261751 h 373260"/>
                <a:gd name="connsiteX4" fmla="*/ 505786 w 700375"/>
                <a:gd name="connsiteY4" fmla="*/ 161816 h 373260"/>
                <a:gd name="connsiteX5" fmla="*/ 580181 w 700375"/>
                <a:gd name="connsiteY5" fmla="*/ 74714 h 373260"/>
                <a:gd name="connsiteX6" fmla="*/ 587932 w 700375"/>
                <a:gd name="connsiteY6" fmla="*/ 56798 h 373260"/>
                <a:gd name="connsiteX7" fmla="*/ 587932 w 700375"/>
                <a:gd name="connsiteY7" fmla="*/ 59339 h 373260"/>
                <a:gd name="connsiteX8" fmla="*/ 590474 w 700375"/>
                <a:gd name="connsiteY8" fmla="*/ 51652 h 373260"/>
                <a:gd name="connsiteX9" fmla="*/ 593015 w 700375"/>
                <a:gd name="connsiteY9" fmla="*/ 38945 h 373260"/>
                <a:gd name="connsiteX10" fmla="*/ 698287 w 700375"/>
                <a:gd name="connsiteY10" fmla="*/ 67154 h 37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00375" h="373260">
                  <a:moveTo>
                    <a:pt x="698477" y="67344"/>
                  </a:moveTo>
                  <a:cubicBezTo>
                    <a:pt x="683039" y="133989"/>
                    <a:pt x="634310" y="195488"/>
                    <a:pt x="582976" y="238880"/>
                  </a:cubicBezTo>
                  <a:cubicBezTo>
                    <a:pt x="439014" y="362068"/>
                    <a:pt x="233933" y="382525"/>
                    <a:pt x="51470" y="369755"/>
                  </a:cubicBezTo>
                  <a:cubicBezTo>
                    <a:pt x="-17843" y="364609"/>
                    <a:pt x="-17843" y="256986"/>
                    <a:pt x="51470" y="261751"/>
                  </a:cubicBezTo>
                  <a:cubicBezTo>
                    <a:pt x="202930" y="274457"/>
                    <a:pt x="385139" y="264356"/>
                    <a:pt x="505786" y="161816"/>
                  </a:cubicBezTo>
                  <a:cubicBezTo>
                    <a:pt x="541681" y="131066"/>
                    <a:pt x="559660" y="110609"/>
                    <a:pt x="580181" y="74714"/>
                  </a:cubicBezTo>
                  <a:cubicBezTo>
                    <a:pt x="582284" y="68545"/>
                    <a:pt x="584876" y="62554"/>
                    <a:pt x="587932" y="56798"/>
                  </a:cubicBezTo>
                  <a:cubicBezTo>
                    <a:pt x="593015" y="46506"/>
                    <a:pt x="582786" y="69504"/>
                    <a:pt x="587932" y="59339"/>
                  </a:cubicBezTo>
                  <a:cubicBezTo>
                    <a:pt x="587932" y="56798"/>
                    <a:pt x="590474" y="54193"/>
                    <a:pt x="590474" y="51652"/>
                  </a:cubicBezTo>
                  <a:cubicBezTo>
                    <a:pt x="591077" y="47370"/>
                    <a:pt x="591928" y="43132"/>
                    <a:pt x="593015" y="38945"/>
                  </a:cubicBezTo>
                  <a:cubicBezTo>
                    <a:pt x="610994" y="-30241"/>
                    <a:pt x="713725" y="509"/>
                    <a:pt x="698287" y="67154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7" name="任意多边形 41">
              <a:extLst>
                <a:ext uri="{FF2B5EF4-FFF2-40B4-BE49-F238E27FC236}">
                  <a16:creationId xmlns:a16="http://schemas.microsoft.com/office/drawing/2014/main" id="{1687F458-986C-0986-B77C-4B56FB841DE7}"/>
                </a:ext>
              </a:extLst>
            </p:cNvPr>
            <p:cNvSpPr/>
            <p:nvPr/>
          </p:nvSpPr>
          <p:spPr>
            <a:xfrm>
              <a:off x="5555003" y="2870989"/>
              <a:ext cx="617392" cy="613005"/>
            </a:xfrm>
            <a:custGeom>
              <a:avLst/>
              <a:gdLst>
                <a:gd name="connsiteX0" fmla="*/ 14860 w 545292"/>
                <a:gd name="connsiteY0" fmla="*/ 541208 h 541418"/>
                <a:gd name="connsiteX1" fmla="*/ 534550 w 545292"/>
                <a:gd name="connsiteY1" fmla="*/ 283332 h 541418"/>
                <a:gd name="connsiteX2" fmla="*/ 544778 w 545292"/>
                <a:gd name="connsiteY2" fmla="*/ -210 h 541418"/>
                <a:gd name="connsiteX3" fmla="*/ 544778 w 545292"/>
                <a:gd name="connsiteY3" fmla="*/ -210 h 541418"/>
                <a:gd name="connsiteX4" fmla="*/ 356661 w 545292"/>
                <a:gd name="connsiteY4" fmla="*/ 143562 h 541418"/>
                <a:gd name="connsiteX5" fmla="*/ -514 w 545292"/>
                <a:gd name="connsiteY5" fmla="*/ 353662 h 541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5292" h="541418">
                  <a:moveTo>
                    <a:pt x="14860" y="541208"/>
                  </a:moveTo>
                  <a:cubicBezTo>
                    <a:pt x="14860" y="541208"/>
                    <a:pt x="369367" y="543812"/>
                    <a:pt x="534550" y="283332"/>
                  </a:cubicBezTo>
                  <a:lnTo>
                    <a:pt x="544778" y="-210"/>
                  </a:lnTo>
                  <a:lnTo>
                    <a:pt x="544778" y="-210"/>
                  </a:lnTo>
                  <a:cubicBezTo>
                    <a:pt x="544778" y="-210"/>
                    <a:pt x="471018" y="3793"/>
                    <a:pt x="356661" y="143562"/>
                  </a:cubicBezTo>
                  <a:cubicBezTo>
                    <a:pt x="285251" y="230855"/>
                    <a:pt x="140653" y="363890"/>
                    <a:pt x="-514" y="353662"/>
                  </a:cubicBez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8" name="任意多边形 42">
              <a:extLst>
                <a:ext uri="{FF2B5EF4-FFF2-40B4-BE49-F238E27FC236}">
                  <a16:creationId xmlns:a16="http://schemas.microsoft.com/office/drawing/2014/main" id="{AD7BE7CC-5547-2F56-FCD8-90CCEE8E1F9D}"/>
                </a:ext>
              </a:extLst>
            </p:cNvPr>
            <p:cNvSpPr/>
            <p:nvPr/>
          </p:nvSpPr>
          <p:spPr>
            <a:xfrm>
              <a:off x="4621893" y="1105990"/>
              <a:ext cx="1140920" cy="1998720"/>
            </a:xfrm>
            <a:custGeom>
              <a:avLst/>
              <a:gdLst>
                <a:gd name="connsiteX0" fmla="*/ 596690 w 1007682"/>
                <a:gd name="connsiteY0" fmla="*/ 1042540 h 1765307"/>
                <a:gd name="connsiteX1" fmla="*/ 596690 w 1007682"/>
                <a:gd name="connsiteY1" fmla="*/ 1209120 h 1765307"/>
                <a:gd name="connsiteX2" fmla="*/ 479747 w 1007682"/>
                <a:gd name="connsiteY2" fmla="*/ 1332124 h 1765307"/>
                <a:gd name="connsiteX3" fmla="*/ 473502 w 1007682"/>
                <a:gd name="connsiteY3" fmla="*/ 1332118 h 1765307"/>
                <a:gd name="connsiteX4" fmla="*/ 350314 w 1007682"/>
                <a:gd name="connsiteY4" fmla="*/ 1209120 h 1765307"/>
                <a:gd name="connsiteX5" fmla="*/ 350314 w 1007682"/>
                <a:gd name="connsiteY5" fmla="*/ 945209 h 1765307"/>
                <a:gd name="connsiteX6" fmla="*/ 352855 w 1007682"/>
                <a:gd name="connsiteY6" fmla="*/ 940063 h 1765307"/>
                <a:gd name="connsiteX7" fmla="*/ 350314 w 1007682"/>
                <a:gd name="connsiteY7" fmla="*/ 934981 h 1765307"/>
                <a:gd name="connsiteX8" fmla="*/ 473502 w 1007682"/>
                <a:gd name="connsiteY8" fmla="*/ 811983 h 1765307"/>
                <a:gd name="connsiteX9" fmla="*/ 760983 w 1007682"/>
                <a:gd name="connsiteY9" fmla="*/ 530157 h 1765307"/>
                <a:gd name="connsiteX10" fmla="*/ 473502 w 1007682"/>
                <a:gd name="connsiteY10" fmla="*/ 245725 h 1765307"/>
                <a:gd name="connsiteX11" fmla="*/ 229667 w 1007682"/>
                <a:gd name="connsiteY11" fmla="*/ 384097 h 1765307"/>
                <a:gd name="connsiteX12" fmla="*/ 62134 w 1007682"/>
                <a:gd name="connsiteY12" fmla="*/ 430888 h 1765307"/>
                <a:gd name="connsiteX13" fmla="*/ 15343 w 1007682"/>
                <a:gd name="connsiteY13" fmla="*/ 263355 h 1765307"/>
                <a:gd name="connsiteX14" fmla="*/ 16645 w 1007682"/>
                <a:gd name="connsiteY14" fmla="*/ 261100 h 1765307"/>
                <a:gd name="connsiteX15" fmla="*/ 473502 w 1007682"/>
                <a:gd name="connsiteY15" fmla="*/ -206 h 1765307"/>
                <a:gd name="connsiteX16" fmla="*/ 1007168 w 1007682"/>
                <a:gd name="connsiteY16" fmla="*/ 530157 h 1765307"/>
                <a:gd name="connsiteX17" fmla="*/ 596499 w 1007682"/>
                <a:gd name="connsiteY17" fmla="*/ 1042540 h 1765307"/>
                <a:gd name="connsiteX18" fmla="*/ 596690 w 1007682"/>
                <a:gd name="connsiteY18" fmla="*/ 1595965 h 1765307"/>
                <a:gd name="connsiteX19" fmla="*/ 596690 w 1007682"/>
                <a:gd name="connsiteY19" fmla="*/ 1642089 h 1765307"/>
                <a:gd name="connsiteX20" fmla="*/ 473502 w 1007682"/>
                <a:gd name="connsiteY20" fmla="*/ 1765086 h 1765307"/>
                <a:gd name="connsiteX21" fmla="*/ 350314 w 1007682"/>
                <a:gd name="connsiteY21" fmla="*/ 1645221 h 1765307"/>
                <a:gd name="connsiteX22" fmla="*/ 350314 w 1007682"/>
                <a:gd name="connsiteY22" fmla="*/ 1642089 h 1765307"/>
                <a:gd name="connsiteX23" fmla="*/ 350314 w 1007682"/>
                <a:gd name="connsiteY23" fmla="*/ 1595965 h 1765307"/>
                <a:gd name="connsiteX24" fmla="*/ 473502 w 1007682"/>
                <a:gd name="connsiteY24" fmla="*/ 1473031 h 1765307"/>
                <a:gd name="connsiteX25" fmla="*/ 596690 w 1007682"/>
                <a:gd name="connsiteY25" fmla="*/ 1592769 h 1765307"/>
                <a:gd name="connsiteX26" fmla="*/ 596690 w 1007682"/>
                <a:gd name="connsiteY26" fmla="*/ 1595965 h 1765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07682" h="1765307">
                  <a:moveTo>
                    <a:pt x="596690" y="1042540"/>
                  </a:moveTo>
                  <a:lnTo>
                    <a:pt x="596690" y="1209120"/>
                  </a:lnTo>
                  <a:cubicBezTo>
                    <a:pt x="598361" y="1275377"/>
                    <a:pt x="546004" y="1330447"/>
                    <a:pt x="479747" y="1332124"/>
                  </a:cubicBezTo>
                  <a:cubicBezTo>
                    <a:pt x="477663" y="1332175"/>
                    <a:pt x="475579" y="1332175"/>
                    <a:pt x="473502" y="1332118"/>
                  </a:cubicBezTo>
                  <a:cubicBezTo>
                    <a:pt x="405529" y="1332156"/>
                    <a:pt x="350384" y="1277093"/>
                    <a:pt x="350314" y="1209120"/>
                  </a:cubicBezTo>
                  <a:lnTo>
                    <a:pt x="350314" y="945209"/>
                  </a:lnTo>
                  <a:cubicBezTo>
                    <a:pt x="350314" y="942668"/>
                    <a:pt x="352855" y="942668"/>
                    <a:pt x="352855" y="940063"/>
                  </a:cubicBezTo>
                  <a:cubicBezTo>
                    <a:pt x="350314" y="937522"/>
                    <a:pt x="350314" y="937522"/>
                    <a:pt x="350314" y="934981"/>
                  </a:cubicBezTo>
                  <a:cubicBezTo>
                    <a:pt x="350314" y="870941"/>
                    <a:pt x="406793" y="811983"/>
                    <a:pt x="473502" y="811983"/>
                  </a:cubicBezTo>
                  <a:cubicBezTo>
                    <a:pt x="632649" y="811983"/>
                    <a:pt x="760983" y="686445"/>
                    <a:pt x="760983" y="530157"/>
                  </a:cubicBezTo>
                  <a:cubicBezTo>
                    <a:pt x="760983" y="368723"/>
                    <a:pt x="632649" y="245725"/>
                    <a:pt x="473502" y="245725"/>
                  </a:cubicBezTo>
                  <a:cubicBezTo>
                    <a:pt x="373636" y="246094"/>
                    <a:pt x="281198" y="298552"/>
                    <a:pt x="229667" y="384097"/>
                  </a:cubicBezTo>
                  <a:cubicBezTo>
                    <a:pt x="196326" y="443283"/>
                    <a:pt x="121320" y="464230"/>
                    <a:pt x="62134" y="430888"/>
                  </a:cubicBezTo>
                  <a:cubicBezTo>
                    <a:pt x="2948" y="397547"/>
                    <a:pt x="-17999" y="322541"/>
                    <a:pt x="15343" y="263355"/>
                  </a:cubicBezTo>
                  <a:cubicBezTo>
                    <a:pt x="15769" y="262599"/>
                    <a:pt x="16201" y="261850"/>
                    <a:pt x="16645" y="261100"/>
                  </a:cubicBezTo>
                  <a:cubicBezTo>
                    <a:pt x="111346" y="98668"/>
                    <a:pt x="285480" y="-930"/>
                    <a:pt x="473502" y="-206"/>
                  </a:cubicBezTo>
                  <a:cubicBezTo>
                    <a:pt x="766129" y="-206"/>
                    <a:pt x="1007168" y="235497"/>
                    <a:pt x="1007168" y="530157"/>
                  </a:cubicBezTo>
                  <a:cubicBezTo>
                    <a:pt x="1007168" y="778693"/>
                    <a:pt x="832647" y="988792"/>
                    <a:pt x="596499" y="1042540"/>
                  </a:cubicBezTo>
                  <a:close/>
                  <a:moveTo>
                    <a:pt x="596690" y="1595965"/>
                  </a:moveTo>
                  <a:lnTo>
                    <a:pt x="596690" y="1642089"/>
                  </a:lnTo>
                  <a:cubicBezTo>
                    <a:pt x="596690" y="1713816"/>
                    <a:pt x="545356" y="1765086"/>
                    <a:pt x="473502" y="1765086"/>
                  </a:cubicBezTo>
                  <a:cubicBezTo>
                    <a:pt x="406387" y="1766001"/>
                    <a:pt x="351235" y="1712336"/>
                    <a:pt x="350314" y="1645221"/>
                  </a:cubicBezTo>
                  <a:cubicBezTo>
                    <a:pt x="350301" y="1644179"/>
                    <a:pt x="350301" y="1643131"/>
                    <a:pt x="350314" y="1642089"/>
                  </a:cubicBezTo>
                  <a:lnTo>
                    <a:pt x="350314" y="1595965"/>
                  </a:lnTo>
                  <a:cubicBezTo>
                    <a:pt x="351305" y="1528386"/>
                    <a:pt x="405923" y="1473882"/>
                    <a:pt x="473502" y="1473031"/>
                  </a:cubicBezTo>
                  <a:cubicBezTo>
                    <a:pt x="540585" y="1472078"/>
                    <a:pt x="595737" y="1525686"/>
                    <a:pt x="596690" y="1592769"/>
                  </a:cubicBezTo>
                  <a:cubicBezTo>
                    <a:pt x="596703" y="1593830"/>
                    <a:pt x="596703" y="1594897"/>
                    <a:pt x="596690" y="1595965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9" name="任意多边形 43">
              <a:extLst>
                <a:ext uri="{FF2B5EF4-FFF2-40B4-BE49-F238E27FC236}">
                  <a16:creationId xmlns:a16="http://schemas.microsoft.com/office/drawing/2014/main" id="{53C9D09D-5415-2BDF-5021-10C6C97BFC7D}"/>
                </a:ext>
              </a:extLst>
            </p:cNvPr>
            <p:cNvSpPr/>
            <p:nvPr/>
          </p:nvSpPr>
          <p:spPr>
            <a:xfrm>
              <a:off x="6447837" y="2687348"/>
              <a:ext cx="549892" cy="723736"/>
            </a:xfrm>
            <a:custGeom>
              <a:avLst/>
              <a:gdLst>
                <a:gd name="connsiteX0" fmla="*/ 104936 w 485675"/>
                <a:gd name="connsiteY0" fmla="*/ 49599 h 639217"/>
                <a:gd name="connsiteX1" fmla="*/ 228188 w 485675"/>
                <a:gd name="connsiteY1" fmla="*/ 397943 h 639217"/>
                <a:gd name="connsiteX2" fmla="*/ 282126 w 485675"/>
                <a:gd name="connsiteY2" fmla="*/ 492733 h 639217"/>
                <a:gd name="connsiteX3" fmla="*/ 305252 w 485675"/>
                <a:gd name="connsiteY3" fmla="*/ 523482 h 639217"/>
                <a:gd name="connsiteX4" fmla="*/ 315544 w 485675"/>
                <a:gd name="connsiteY4" fmla="*/ 533711 h 639217"/>
                <a:gd name="connsiteX5" fmla="*/ 294959 w 485675"/>
                <a:gd name="connsiteY5" fmla="*/ 533711 h 639217"/>
                <a:gd name="connsiteX6" fmla="*/ 310398 w 485675"/>
                <a:gd name="connsiteY6" fmla="*/ 513253 h 639217"/>
                <a:gd name="connsiteX7" fmla="*/ 341210 w 485675"/>
                <a:gd name="connsiteY7" fmla="*/ 456837 h 639217"/>
                <a:gd name="connsiteX8" fmla="*/ 379711 w 485675"/>
                <a:gd name="connsiteY8" fmla="*/ 308300 h 639217"/>
                <a:gd name="connsiteX9" fmla="*/ 484982 w 485675"/>
                <a:gd name="connsiteY9" fmla="*/ 308300 h 639217"/>
                <a:gd name="connsiteX10" fmla="*/ 364272 w 485675"/>
                <a:gd name="connsiteY10" fmla="*/ 613252 h 639217"/>
                <a:gd name="connsiteX11" fmla="*/ 179395 w 485675"/>
                <a:gd name="connsiteY11" fmla="*/ 528692 h 639217"/>
                <a:gd name="connsiteX12" fmla="*/ 53602 w 485675"/>
                <a:gd name="connsiteY12" fmla="*/ 267449 h 639217"/>
                <a:gd name="connsiteX13" fmla="*/ -336 w 485675"/>
                <a:gd name="connsiteY13" fmla="*/ 49726 h 639217"/>
                <a:gd name="connsiteX14" fmla="*/ 104936 w 485675"/>
                <a:gd name="connsiteY14" fmla="*/ 49726 h 639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85675" h="639217">
                  <a:moveTo>
                    <a:pt x="104936" y="49599"/>
                  </a:moveTo>
                  <a:cubicBezTo>
                    <a:pt x="115228" y="172533"/>
                    <a:pt x="174312" y="290384"/>
                    <a:pt x="228188" y="397943"/>
                  </a:cubicBezTo>
                  <a:cubicBezTo>
                    <a:pt x="246167" y="431234"/>
                    <a:pt x="261605" y="461983"/>
                    <a:pt x="282126" y="492733"/>
                  </a:cubicBezTo>
                  <a:lnTo>
                    <a:pt x="305252" y="523482"/>
                  </a:lnTo>
                  <a:cubicBezTo>
                    <a:pt x="307793" y="528565"/>
                    <a:pt x="320626" y="536188"/>
                    <a:pt x="315544" y="533711"/>
                  </a:cubicBezTo>
                  <a:cubicBezTo>
                    <a:pt x="297564" y="541398"/>
                    <a:pt x="290131" y="541398"/>
                    <a:pt x="294959" y="533711"/>
                  </a:cubicBezTo>
                  <a:cubicBezTo>
                    <a:pt x="302647" y="528565"/>
                    <a:pt x="305252" y="521004"/>
                    <a:pt x="310398" y="513253"/>
                  </a:cubicBezTo>
                  <a:cubicBezTo>
                    <a:pt x="322596" y="495566"/>
                    <a:pt x="332951" y="476659"/>
                    <a:pt x="341210" y="456837"/>
                  </a:cubicBezTo>
                  <a:cubicBezTo>
                    <a:pt x="364145" y="410497"/>
                    <a:pt x="377233" y="359932"/>
                    <a:pt x="379711" y="308300"/>
                  </a:cubicBezTo>
                  <a:cubicBezTo>
                    <a:pt x="382252" y="241719"/>
                    <a:pt x="490129" y="241719"/>
                    <a:pt x="484982" y="308300"/>
                  </a:cubicBezTo>
                  <a:cubicBezTo>
                    <a:pt x="479837" y="410777"/>
                    <a:pt x="441336" y="541398"/>
                    <a:pt x="364272" y="613252"/>
                  </a:cubicBezTo>
                  <a:cubicBezTo>
                    <a:pt x="287208" y="685107"/>
                    <a:pt x="218149" y="590190"/>
                    <a:pt x="179395" y="528692"/>
                  </a:cubicBezTo>
                  <a:cubicBezTo>
                    <a:pt x="128061" y="446736"/>
                    <a:pt x="92102" y="357156"/>
                    <a:pt x="53602" y="267449"/>
                  </a:cubicBezTo>
                  <a:cubicBezTo>
                    <a:pt x="25185" y="197869"/>
                    <a:pt x="7014" y="124528"/>
                    <a:pt x="-336" y="49726"/>
                  </a:cubicBezTo>
                  <a:cubicBezTo>
                    <a:pt x="-5419" y="-16855"/>
                    <a:pt x="99853" y="-16855"/>
                    <a:pt x="104936" y="49726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0" name="任意多边形 44">
              <a:extLst>
                <a:ext uri="{FF2B5EF4-FFF2-40B4-BE49-F238E27FC236}">
                  <a16:creationId xmlns:a16="http://schemas.microsoft.com/office/drawing/2014/main" id="{C1A4882D-71EA-CCC9-1B79-9239D47959D1}"/>
                </a:ext>
              </a:extLst>
            </p:cNvPr>
            <p:cNvSpPr/>
            <p:nvPr/>
          </p:nvSpPr>
          <p:spPr>
            <a:xfrm>
              <a:off x="6450484" y="2821356"/>
              <a:ext cx="595677" cy="626971"/>
            </a:xfrm>
            <a:custGeom>
              <a:avLst/>
              <a:gdLst>
                <a:gd name="connsiteX0" fmla="*/ 391667 w 526113"/>
                <a:gd name="connsiteY0" fmla="*/ 53983 h 553753"/>
                <a:gd name="connsiteX1" fmla="*/ 525083 w 526113"/>
                <a:gd name="connsiteY1" fmla="*/ 215734 h 553753"/>
                <a:gd name="connsiteX2" fmla="*/ 273815 w 526113"/>
                <a:gd name="connsiteY2" fmla="*/ 552135 h 553753"/>
                <a:gd name="connsiteX3" fmla="*/ -514 w 526113"/>
                <a:gd name="connsiteY3" fmla="*/ 53983 h 553753"/>
                <a:gd name="connsiteX4" fmla="*/ 137540 w 526113"/>
                <a:gd name="connsiteY4" fmla="*/ -210 h 553753"/>
                <a:gd name="connsiteX5" fmla="*/ 299037 w 526113"/>
                <a:gd name="connsiteY5" fmla="*/ 364398 h 553753"/>
                <a:gd name="connsiteX6" fmla="*/ 391667 w 526113"/>
                <a:gd name="connsiteY6" fmla="*/ 53983 h 553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6113" h="553753">
                  <a:moveTo>
                    <a:pt x="391667" y="53983"/>
                  </a:moveTo>
                  <a:cubicBezTo>
                    <a:pt x="391667" y="53983"/>
                    <a:pt x="535248" y="69357"/>
                    <a:pt x="525083" y="215734"/>
                  </a:cubicBezTo>
                  <a:cubicBezTo>
                    <a:pt x="514791" y="364653"/>
                    <a:pt x="391667" y="572656"/>
                    <a:pt x="273815" y="552135"/>
                  </a:cubicBezTo>
                  <a:cubicBezTo>
                    <a:pt x="155837" y="529009"/>
                    <a:pt x="27630" y="187463"/>
                    <a:pt x="-514" y="53983"/>
                  </a:cubicBezTo>
                  <a:lnTo>
                    <a:pt x="137540" y="-210"/>
                  </a:lnTo>
                  <a:cubicBezTo>
                    <a:pt x="137540" y="-210"/>
                    <a:pt x="275975" y="356711"/>
                    <a:pt x="299037" y="364398"/>
                  </a:cubicBezTo>
                  <a:lnTo>
                    <a:pt x="391667" y="53983"/>
                  </a:ln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1" name="任意多边形 45">
              <a:extLst>
                <a:ext uri="{FF2B5EF4-FFF2-40B4-BE49-F238E27FC236}">
                  <a16:creationId xmlns:a16="http://schemas.microsoft.com/office/drawing/2014/main" id="{433C3E19-D155-B15A-75E9-2581CC6DE246}"/>
                </a:ext>
              </a:extLst>
            </p:cNvPr>
            <p:cNvSpPr/>
            <p:nvPr/>
          </p:nvSpPr>
          <p:spPr>
            <a:xfrm>
              <a:off x="8263601" y="2004798"/>
              <a:ext cx="273214" cy="237195"/>
            </a:xfrm>
            <a:custGeom>
              <a:avLst/>
              <a:gdLst>
                <a:gd name="connsiteX0" fmla="*/ -513 w 241308"/>
                <a:gd name="connsiteY0" fmla="*/ 130082 h 209495"/>
                <a:gd name="connsiteX1" fmla="*/ 215813 w 241308"/>
                <a:gd name="connsiteY1" fmla="*/ 56513 h 209495"/>
                <a:gd name="connsiteX2" fmla="*/ 122294 w 241308"/>
                <a:gd name="connsiteY2" fmla="*/ 208608 h 209495"/>
                <a:gd name="connsiteX3" fmla="*/ 21470 w 241308"/>
                <a:gd name="connsiteY3" fmla="*/ 130972 h 2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308" h="209495">
                  <a:moveTo>
                    <a:pt x="-513" y="130082"/>
                  </a:moveTo>
                  <a:cubicBezTo>
                    <a:pt x="-1084" y="1177"/>
                    <a:pt x="150439" y="-48188"/>
                    <a:pt x="215813" y="56513"/>
                  </a:cubicBezTo>
                  <a:cubicBezTo>
                    <a:pt x="281187" y="161213"/>
                    <a:pt x="207046" y="216104"/>
                    <a:pt x="122294" y="208608"/>
                  </a:cubicBezTo>
                  <a:cubicBezTo>
                    <a:pt x="37543" y="201111"/>
                    <a:pt x="21470" y="130972"/>
                    <a:pt x="21470" y="130972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2" name="任意多边形 46">
              <a:extLst>
                <a:ext uri="{FF2B5EF4-FFF2-40B4-BE49-F238E27FC236}">
                  <a16:creationId xmlns:a16="http://schemas.microsoft.com/office/drawing/2014/main" id="{6D160750-B9E6-49AC-3965-A0E3C81E6AF8}"/>
                </a:ext>
              </a:extLst>
            </p:cNvPr>
            <p:cNvSpPr/>
            <p:nvPr/>
          </p:nvSpPr>
          <p:spPr>
            <a:xfrm>
              <a:off x="8197929" y="2105151"/>
              <a:ext cx="197911" cy="239513"/>
            </a:xfrm>
            <a:custGeom>
              <a:avLst/>
              <a:gdLst>
                <a:gd name="connsiteX0" fmla="*/ -514 w 174799"/>
                <a:gd name="connsiteY0" fmla="*/ 24739 h 211542"/>
                <a:gd name="connsiteX1" fmla="*/ 166701 w 174799"/>
                <a:gd name="connsiteY1" fmla="*/ 92020 h 211542"/>
                <a:gd name="connsiteX2" fmla="*/ 160348 w 174799"/>
                <a:gd name="connsiteY2" fmla="*/ 211332 h 21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4799" h="211542">
                  <a:moveTo>
                    <a:pt x="-514" y="24739"/>
                  </a:moveTo>
                  <a:cubicBezTo>
                    <a:pt x="35890" y="-41461"/>
                    <a:pt x="146498" y="39161"/>
                    <a:pt x="166701" y="92020"/>
                  </a:cubicBezTo>
                  <a:cubicBezTo>
                    <a:pt x="186904" y="144878"/>
                    <a:pt x="160348" y="211332"/>
                    <a:pt x="160348" y="211332"/>
                  </a:cubicBez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3" name="任意多边形 47">
              <a:extLst>
                <a:ext uri="{FF2B5EF4-FFF2-40B4-BE49-F238E27FC236}">
                  <a16:creationId xmlns:a16="http://schemas.microsoft.com/office/drawing/2014/main" id="{7378873A-F5BB-B483-A6EC-866A678CB21F}"/>
                </a:ext>
              </a:extLst>
            </p:cNvPr>
            <p:cNvSpPr/>
            <p:nvPr/>
          </p:nvSpPr>
          <p:spPr>
            <a:xfrm>
              <a:off x="7774250" y="2086348"/>
              <a:ext cx="652587" cy="579300"/>
            </a:xfrm>
            <a:custGeom>
              <a:avLst/>
              <a:gdLst>
                <a:gd name="connsiteX0" fmla="*/ -514 w 576377"/>
                <a:gd name="connsiteY0" fmla="*/ 291788 h 511649"/>
                <a:gd name="connsiteX1" fmla="*/ 355898 w 576377"/>
                <a:gd name="connsiteY1" fmla="*/ 7992 h 511649"/>
                <a:gd name="connsiteX2" fmla="*/ 556976 w 576377"/>
                <a:gd name="connsiteY2" fmla="*/ 175842 h 511649"/>
                <a:gd name="connsiteX3" fmla="*/ 473114 w 576377"/>
                <a:gd name="connsiteY3" fmla="*/ 482701 h 511649"/>
                <a:gd name="connsiteX4" fmla="*/ -514 w 576377"/>
                <a:gd name="connsiteY4" fmla="*/ 291661 h 511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6377" h="511649">
                  <a:moveTo>
                    <a:pt x="-514" y="291788"/>
                  </a:moveTo>
                  <a:cubicBezTo>
                    <a:pt x="10667" y="33341"/>
                    <a:pt x="203739" y="-24473"/>
                    <a:pt x="355898" y="7992"/>
                  </a:cubicBezTo>
                  <a:cubicBezTo>
                    <a:pt x="508056" y="40456"/>
                    <a:pt x="556976" y="175842"/>
                    <a:pt x="556976" y="175842"/>
                  </a:cubicBezTo>
                  <a:cubicBezTo>
                    <a:pt x="556976" y="175842"/>
                    <a:pt x="635247" y="359195"/>
                    <a:pt x="473114" y="482701"/>
                  </a:cubicBezTo>
                  <a:cubicBezTo>
                    <a:pt x="310981" y="606206"/>
                    <a:pt x="-514" y="291661"/>
                    <a:pt x="-514" y="291661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4" name="任意多边形 48">
              <a:extLst>
                <a:ext uri="{FF2B5EF4-FFF2-40B4-BE49-F238E27FC236}">
                  <a16:creationId xmlns:a16="http://schemas.microsoft.com/office/drawing/2014/main" id="{6C7B91AD-EAC6-598F-1504-35290858F817}"/>
                </a:ext>
              </a:extLst>
            </p:cNvPr>
            <p:cNvSpPr/>
            <p:nvPr/>
          </p:nvSpPr>
          <p:spPr>
            <a:xfrm>
              <a:off x="7926027" y="2682959"/>
              <a:ext cx="248884" cy="276290"/>
            </a:xfrm>
            <a:custGeom>
              <a:avLst/>
              <a:gdLst>
                <a:gd name="connsiteX0" fmla="*/ 109395 w 219819"/>
                <a:gd name="connsiteY0" fmla="*/ 243815 h 244025"/>
                <a:gd name="connsiteX1" fmla="*/ 109395 w 219819"/>
                <a:gd name="connsiteY1" fmla="*/ 243815 h 244025"/>
                <a:gd name="connsiteX2" fmla="*/ -514 w 219819"/>
                <a:gd name="connsiteY2" fmla="*/ 160906 h 244025"/>
                <a:gd name="connsiteX3" fmla="*/ -514 w 219819"/>
                <a:gd name="connsiteY3" fmla="*/ -210 h 244025"/>
                <a:gd name="connsiteX4" fmla="*/ 219305 w 219819"/>
                <a:gd name="connsiteY4" fmla="*/ -210 h 244025"/>
                <a:gd name="connsiteX5" fmla="*/ 219305 w 219819"/>
                <a:gd name="connsiteY5" fmla="*/ 160017 h 244025"/>
                <a:gd name="connsiteX6" fmla="*/ 110602 w 219819"/>
                <a:gd name="connsiteY6" fmla="*/ 243815 h 244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819" h="244025">
                  <a:moveTo>
                    <a:pt x="109395" y="243815"/>
                  </a:moveTo>
                  <a:lnTo>
                    <a:pt x="109395" y="243815"/>
                  </a:lnTo>
                  <a:cubicBezTo>
                    <a:pt x="48976" y="243815"/>
                    <a:pt x="-197" y="206967"/>
                    <a:pt x="-514" y="160906"/>
                  </a:cubicBezTo>
                  <a:lnTo>
                    <a:pt x="-514" y="-210"/>
                  </a:lnTo>
                  <a:lnTo>
                    <a:pt x="219305" y="-210"/>
                  </a:lnTo>
                  <a:lnTo>
                    <a:pt x="219305" y="160017"/>
                  </a:lnTo>
                  <a:cubicBezTo>
                    <a:pt x="219305" y="206014"/>
                    <a:pt x="170958" y="243498"/>
                    <a:pt x="110602" y="243815"/>
                  </a:cubicBez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5" name="任意多边形 49">
              <a:extLst>
                <a:ext uri="{FF2B5EF4-FFF2-40B4-BE49-F238E27FC236}">
                  <a16:creationId xmlns:a16="http://schemas.microsoft.com/office/drawing/2014/main" id="{B4453B84-97C3-5622-4A88-0823081CC43B}"/>
                </a:ext>
              </a:extLst>
            </p:cNvPr>
            <p:cNvSpPr/>
            <p:nvPr/>
          </p:nvSpPr>
          <p:spPr>
            <a:xfrm>
              <a:off x="7730087" y="2415564"/>
              <a:ext cx="132524" cy="169000"/>
            </a:xfrm>
            <a:custGeom>
              <a:avLst/>
              <a:gdLst>
                <a:gd name="connsiteX0" fmla="*/ 93764 w 117048"/>
                <a:gd name="connsiteY0" fmla="*/ 41043 h 149264"/>
                <a:gd name="connsiteX1" fmla="*/ 1072 w 117048"/>
                <a:gd name="connsiteY1" fmla="*/ 45490 h 149264"/>
                <a:gd name="connsiteX2" fmla="*/ 95670 w 117048"/>
                <a:gd name="connsiteY2" fmla="*/ 138183 h 149264"/>
                <a:gd name="connsiteX3" fmla="*/ 93764 w 117048"/>
                <a:gd name="connsiteY3" fmla="*/ 41043 h 149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7048" h="149264">
                  <a:moveTo>
                    <a:pt x="93764" y="41043"/>
                  </a:moveTo>
                  <a:cubicBezTo>
                    <a:pt x="64540" y="-28842"/>
                    <a:pt x="9394" y="2098"/>
                    <a:pt x="1072" y="45490"/>
                  </a:cubicBezTo>
                  <a:cubicBezTo>
                    <a:pt x="-10936" y="108450"/>
                    <a:pt x="47640" y="175857"/>
                    <a:pt x="95670" y="138183"/>
                  </a:cubicBezTo>
                  <a:cubicBezTo>
                    <a:pt x="143700" y="100509"/>
                    <a:pt x="93764" y="41043"/>
                    <a:pt x="93764" y="41043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6" name="任意多边形 50">
              <a:extLst>
                <a:ext uri="{FF2B5EF4-FFF2-40B4-BE49-F238E27FC236}">
                  <a16:creationId xmlns:a16="http://schemas.microsoft.com/office/drawing/2014/main" id="{890CA721-FC0B-F5C5-FAFA-FD904141C8CC}"/>
                </a:ext>
              </a:extLst>
            </p:cNvPr>
            <p:cNvSpPr/>
            <p:nvPr/>
          </p:nvSpPr>
          <p:spPr>
            <a:xfrm>
              <a:off x="8248927" y="2523567"/>
              <a:ext cx="148402" cy="155616"/>
            </a:xfrm>
            <a:custGeom>
              <a:avLst/>
              <a:gdLst>
                <a:gd name="connsiteX0" fmla="*/ 44850 w 131071"/>
                <a:gd name="connsiteY0" fmla="*/ 23606 h 137443"/>
                <a:gd name="connsiteX1" fmla="*/ 129474 w 131071"/>
                <a:gd name="connsiteY1" fmla="*/ 61725 h 137443"/>
                <a:gd name="connsiteX2" fmla="*/ 7430 w 131071"/>
                <a:gd name="connsiteY2" fmla="*/ 113122 h 137443"/>
                <a:gd name="connsiteX3" fmla="*/ 44850 w 131071"/>
                <a:gd name="connsiteY3" fmla="*/ 23479 h 137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071" h="137443">
                  <a:moveTo>
                    <a:pt x="44850" y="23606"/>
                  </a:moveTo>
                  <a:cubicBezTo>
                    <a:pt x="97708" y="-30396"/>
                    <a:pt x="137734" y="18397"/>
                    <a:pt x="129474" y="61725"/>
                  </a:cubicBezTo>
                  <a:cubicBezTo>
                    <a:pt x="117466" y="124685"/>
                    <a:pt x="38115" y="165790"/>
                    <a:pt x="7430" y="113122"/>
                  </a:cubicBezTo>
                  <a:cubicBezTo>
                    <a:pt x="-23256" y="60455"/>
                    <a:pt x="44850" y="23479"/>
                    <a:pt x="44850" y="23479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7" name="任意多边形 51">
              <a:extLst>
                <a:ext uri="{FF2B5EF4-FFF2-40B4-BE49-F238E27FC236}">
                  <a16:creationId xmlns:a16="http://schemas.microsoft.com/office/drawing/2014/main" id="{EBB6F4F3-CD02-CA17-FD11-98E50295E8BE}"/>
                </a:ext>
              </a:extLst>
            </p:cNvPr>
            <p:cNvSpPr/>
            <p:nvPr/>
          </p:nvSpPr>
          <p:spPr>
            <a:xfrm>
              <a:off x="7809723" y="2240589"/>
              <a:ext cx="532212" cy="546181"/>
            </a:xfrm>
            <a:custGeom>
              <a:avLst/>
              <a:gdLst>
                <a:gd name="connsiteX0" fmla="*/ 180923 w 470060"/>
                <a:gd name="connsiteY0" fmla="*/ 478301 h 482397"/>
                <a:gd name="connsiteX1" fmla="*/ 29463 w 470060"/>
                <a:gd name="connsiteY1" fmla="*/ 77479 h 482397"/>
                <a:gd name="connsiteX2" fmla="*/ 469484 w 470060"/>
                <a:gd name="connsiteY2" fmla="*/ 161341 h 482397"/>
                <a:gd name="connsiteX3" fmla="*/ 180923 w 470060"/>
                <a:gd name="connsiteY3" fmla="*/ 478301 h 482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0060" h="482397">
                  <a:moveTo>
                    <a:pt x="180923" y="478301"/>
                  </a:moveTo>
                  <a:cubicBezTo>
                    <a:pt x="19045" y="447488"/>
                    <a:pt x="-42962" y="252065"/>
                    <a:pt x="29463" y="77479"/>
                  </a:cubicBezTo>
                  <a:cubicBezTo>
                    <a:pt x="89247" y="-66293"/>
                    <a:pt x="466880" y="5688"/>
                    <a:pt x="469484" y="161341"/>
                  </a:cubicBezTo>
                  <a:cubicBezTo>
                    <a:pt x="472788" y="350348"/>
                    <a:pt x="342929" y="509304"/>
                    <a:pt x="180923" y="47830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8" name="任意多边形 52">
              <a:extLst>
                <a:ext uri="{FF2B5EF4-FFF2-40B4-BE49-F238E27FC236}">
                  <a16:creationId xmlns:a16="http://schemas.microsoft.com/office/drawing/2014/main" id="{7ADB1631-E144-9590-6DCE-E43D3D0AD52A}"/>
                </a:ext>
              </a:extLst>
            </p:cNvPr>
            <p:cNvSpPr/>
            <p:nvPr/>
          </p:nvSpPr>
          <p:spPr>
            <a:xfrm>
              <a:off x="7789201" y="2165401"/>
              <a:ext cx="375782" cy="560573"/>
            </a:xfrm>
            <a:custGeom>
              <a:avLst/>
              <a:gdLst>
                <a:gd name="connsiteX0" fmla="*/ 331384 w 331898"/>
                <a:gd name="connsiteY0" fmla="*/ 36709 h 495109"/>
                <a:gd name="connsiteX1" fmla="*/ 61184 w 331898"/>
                <a:gd name="connsiteY1" fmla="*/ 494899 h 495109"/>
                <a:gd name="connsiteX2" fmla="*/ 61184 w 331898"/>
                <a:gd name="connsiteY2" fmla="*/ 494899 h 495109"/>
                <a:gd name="connsiteX3" fmla="*/ 42633 w 331898"/>
                <a:gd name="connsiteY3" fmla="*/ 73430 h 495109"/>
                <a:gd name="connsiteX4" fmla="*/ 331384 w 331898"/>
                <a:gd name="connsiteY4" fmla="*/ 36709 h 495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898" h="495109">
                  <a:moveTo>
                    <a:pt x="331384" y="36709"/>
                  </a:moveTo>
                  <a:cubicBezTo>
                    <a:pt x="45491" y="74002"/>
                    <a:pt x="40409" y="335308"/>
                    <a:pt x="61184" y="494899"/>
                  </a:cubicBezTo>
                  <a:lnTo>
                    <a:pt x="61184" y="494899"/>
                  </a:lnTo>
                  <a:cubicBezTo>
                    <a:pt x="61184" y="494899"/>
                    <a:pt x="-64292" y="213962"/>
                    <a:pt x="42633" y="73430"/>
                  </a:cubicBezTo>
                  <a:cubicBezTo>
                    <a:pt x="149556" y="-67102"/>
                    <a:pt x="331384" y="36709"/>
                    <a:pt x="331384" y="36709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9" name="任意多边形 53">
              <a:extLst>
                <a:ext uri="{FF2B5EF4-FFF2-40B4-BE49-F238E27FC236}">
                  <a16:creationId xmlns:a16="http://schemas.microsoft.com/office/drawing/2014/main" id="{3D4671FB-D394-FB74-BB7A-A67CCE15901B}"/>
                </a:ext>
              </a:extLst>
            </p:cNvPr>
            <p:cNvSpPr/>
            <p:nvPr/>
          </p:nvSpPr>
          <p:spPr>
            <a:xfrm>
              <a:off x="7703109" y="2838260"/>
              <a:ext cx="683282" cy="765140"/>
            </a:xfrm>
            <a:custGeom>
              <a:avLst/>
              <a:gdLst>
                <a:gd name="connsiteX0" fmla="*/ 602973 w 603487"/>
                <a:gd name="connsiteY0" fmla="*/ 61225 h 675786"/>
                <a:gd name="connsiteX1" fmla="*/ 415491 w 603487"/>
                <a:gd name="connsiteY1" fmla="*/ -210 h 675786"/>
                <a:gd name="connsiteX2" fmla="*/ 302532 w 603487"/>
                <a:gd name="connsiteY2" fmla="*/ 86828 h 675786"/>
                <a:gd name="connsiteX3" fmla="*/ 299927 w 603487"/>
                <a:gd name="connsiteY3" fmla="*/ 86828 h 675786"/>
                <a:gd name="connsiteX4" fmla="*/ 197260 w 603487"/>
                <a:gd name="connsiteY4" fmla="*/ -210 h 675786"/>
                <a:gd name="connsiteX5" fmla="*/ -514 w 603487"/>
                <a:gd name="connsiteY5" fmla="*/ 61225 h 675786"/>
                <a:gd name="connsiteX6" fmla="*/ 24898 w 603487"/>
                <a:gd name="connsiteY6" fmla="*/ 268529 h 675786"/>
                <a:gd name="connsiteX7" fmla="*/ 50311 w 603487"/>
                <a:gd name="connsiteY7" fmla="*/ 406774 h 675786"/>
                <a:gd name="connsiteX8" fmla="*/ 88811 w 603487"/>
                <a:gd name="connsiteY8" fmla="*/ 675577 h 675786"/>
                <a:gd name="connsiteX9" fmla="*/ 512504 w 603487"/>
                <a:gd name="connsiteY9" fmla="*/ 675577 h 675786"/>
                <a:gd name="connsiteX10" fmla="*/ 553609 w 603487"/>
                <a:gd name="connsiteY10" fmla="*/ 406774 h 675786"/>
                <a:gd name="connsiteX11" fmla="*/ 576735 w 603487"/>
                <a:gd name="connsiteY11" fmla="*/ 268529 h 675786"/>
                <a:gd name="connsiteX12" fmla="*/ 602147 w 603487"/>
                <a:gd name="connsiteY12" fmla="*/ 61225 h 675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03487" h="675786">
                  <a:moveTo>
                    <a:pt x="602973" y="61225"/>
                  </a:moveTo>
                  <a:lnTo>
                    <a:pt x="415491" y="-210"/>
                  </a:lnTo>
                  <a:cubicBezTo>
                    <a:pt x="400116" y="66308"/>
                    <a:pt x="315365" y="86828"/>
                    <a:pt x="302532" y="86828"/>
                  </a:cubicBezTo>
                  <a:lnTo>
                    <a:pt x="299927" y="86828"/>
                  </a:lnTo>
                  <a:cubicBezTo>
                    <a:pt x="287220" y="86828"/>
                    <a:pt x="212634" y="66308"/>
                    <a:pt x="197260" y="-210"/>
                  </a:cubicBezTo>
                  <a:lnTo>
                    <a:pt x="-514" y="61225"/>
                  </a:lnTo>
                  <a:lnTo>
                    <a:pt x="24898" y="268529"/>
                  </a:lnTo>
                  <a:cubicBezTo>
                    <a:pt x="24898" y="268529"/>
                    <a:pt x="9460" y="347880"/>
                    <a:pt x="50311" y="406774"/>
                  </a:cubicBezTo>
                  <a:cubicBezTo>
                    <a:pt x="88811" y="463063"/>
                    <a:pt x="88811" y="675577"/>
                    <a:pt x="88811" y="675577"/>
                  </a:cubicBezTo>
                  <a:lnTo>
                    <a:pt x="512504" y="675577"/>
                  </a:lnTo>
                  <a:cubicBezTo>
                    <a:pt x="512504" y="675577"/>
                    <a:pt x="512504" y="463063"/>
                    <a:pt x="553609" y="406774"/>
                  </a:cubicBezTo>
                  <a:cubicBezTo>
                    <a:pt x="592109" y="347880"/>
                    <a:pt x="576735" y="268529"/>
                    <a:pt x="576735" y="268529"/>
                  </a:cubicBezTo>
                  <a:lnTo>
                    <a:pt x="602147" y="61225"/>
                  </a:ln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0" name="任意多边形 54">
              <a:extLst>
                <a:ext uri="{FF2B5EF4-FFF2-40B4-BE49-F238E27FC236}">
                  <a16:creationId xmlns:a16="http://schemas.microsoft.com/office/drawing/2014/main" id="{69E0C0DF-A459-6EC7-6092-D60EE1AA602B}"/>
                </a:ext>
              </a:extLst>
            </p:cNvPr>
            <p:cNvSpPr/>
            <p:nvPr/>
          </p:nvSpPr>
          <p:spPr>
            <a:xfrm>
              <a:off x="7668222" y="2246131"/>
              <a:ext cx="203061" cy="147805"/>
            </a:xfrm>
            <a:custGeom>
              <a:avLst/>
              <a:gdLst>
                <a:gd name="connsiteX0" fmla="*/ -514 w 179347"/>
                <a:gd name="connsiteY0" fmla="*/ 71186 h 130544"/>
                <a:gd name="connsiteX1" fmla="*/ 171784 w 179347"/>
                <a:gd name="connsiteY1" fmla="*/ 4287 h 130544"/>
                <a:gd name="connsiteX2" fmla="*/ 43195 w 179347"/>
                <a:gd name="connsiteY2" fmla="*/ 130334 h 130544"/>
                <a:gd name="connsiteX3" fmla="*/ -514 w 179347"/>
                <a:gd name="connsiteY3" fmla="*/ 71186 h 130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9347" h="130544">
                  <a:moveTo>
                    <a:pt x="-514" y="71186"/>
                  </a:moveTo>
                  <a:cubicBezTo>
                    <a:pt x="-514" y="71186"/>
                    <a:pt x="146053" y="-21379"/>
                    <a:pt x="171784" y="4287"/>
                  </a:cubicBezTo>
                  <a:cubicBezTo>
                    <a:pt x="197196" y="27477"/>
                    <a:pt x="153804" y="73728"/>
                    <a:pt x="43195" y="130334"/>
                  </a:cubicBezTo>
                  <a:lnTo>
                    <a:pt x="-514" y="71186"/>
                  </a:ln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1" name="任意多边形 55">
              <a:extLst>
                <a:ext uri="{FF2B5EF4-FFF2-40B4-BE49-F238E27FC236}">
                  <a16:creationId xmlns:a16="http://schemas.microsoft.com/office/drawing/2014/main" id="{2577EBCD-B2B1-E6CB-7D2F-14B8E4C93095}"/>
                </a:ext>
              </a:extLst>
            </p:cNvPr>
            <p:cNvSpPr/>
            <p:nvPr/>
          </p:nvSpPr>
          <p:spPr>
            <a:xfrm>
              <a:off x="7253337" y="2273163"/>
              <a:ext cx="519616" cy="812040"/>
            </a:xfrm>
            <a:custGeom>
              <a:avLst/>
              <a:gdLst>
                <a:gd name="connsiteX0" fmla="*/ 396859 w 458935"/>
                <a:gd name="connsiteY0" fmla="*/ 560775 h 717209"/>
                <a:gd name="connsiteX1" fmla="*/ 147942 w 458935"/>
                <a:gd name="connsiteY1" fmla="*/ 358426 h 717209"/>
                <a:gd name="connsiteX2" fmla="*/ 458421 w 458935"/>
                <a:gd name="connsiteY2" fmla="*/ 107349 h 717209"/>
                <a:gd name="connsiteX3" fmla="*/ 409628 w 458935"/>
                <a:gd name="connsiteY3" fmla="*/ -210 h 717209"/>
                <a:gd name="connsiteX4" fmla="*/ 4297 w 458935"/>
                <a:gd name="connsiteY4" fmla="*/ 348134 h 717209"/>
                <a:gd name="connsiteX5" fmla="*/ 417253 w 458935"/>
                <a:gd name="connsiteY5" fmla="*/ 716999 h 717209"/>
                <a:gd name="connsiteX6" fmla="*/ 396732 w 458935"/>
                <a:gd name="connsiteY6" fmla="*/ 560775 h 717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8935" h="717209">
                  <a:moveTo>
                    <a:pt x="396859" y="560775"/>
                  </a:moveTo>
                  <a:cubicBezTo>
                    <a:pt x="396859" y="560775"/>
                    <a:pt x="158234" y="399404"/>
                    <a:pt x="147942" y="358426"/>
                  </a:cubicBezTo>
                  <a:cubicBezTo>
                    <a:pt x="137713" y="320307"/>
                    <a:pt x="458421" y="107349"/>
                    <a:pt x="458421" y="107349"/>
                  </a:cubicBezTo>
                  <a:lnTo>
                    <a:pt x="409628" y="-210"/>
                  </a:lnTo>
                  <a:cubicBezTo>
                    <a:pt x="409628" y="-210"/>
                    <a:pt x="47879" y="230346"/>
                    <a:pt x="4297" y="348134"/>
                  </a:cubicBezTo>
                  <a:cubicBezTo>
                    <a:pt x="-41891" y="465986"/>
                    <a:pt x="255691" y="696542"/>
                    <a:pt x="417253" y="716999"/>
                  </a:cubicBezTo>
                  <a:lnTo>
                    <a:pt x="396732" y="560775"/>
                  </a:ln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2" name="任意多边形 56">
              <a:extLst>
                <a:ext uri="{FF2B5EF4-FFF2-40B4-BE49-F238E27FC236}">
                  <a16:creationId xmlns:a16="http://schemas.microsoft.com/office/drawing/2014/main" id="{794524D1-6D36-456B-D237-E3539FFEA926}"/>
                </a:ext>
              </a:extLst>
            </p:cNvPr>
            <p:cNvSpPr/>
            <p:nvPr/>
          </p:nvSpPr>
          <p:spPr>
            <a:xfrm>
              <a:off x="7861504" y="4281217"/>
              <a:ext cx="152998" cy="1017478"/>
            </a:xfrm>
            <a:custGeom>
              <a:avLst/>
              <a:gdLst>
                <a:gd name="connsiteX0" fmla="*/ 126555 w 135131"/>
                <a:gd name="connsiteY0" fmla="*/ 898656 h 898656"/>
                <a:gd name="connsiteX1" fmla="*/ 0 w 135131"/>
                <a:gd name="connsiteY1" fmla="*/ 898656 h 898656"/>
                <a:gd name="connsiteX2" fmla="*/ 0 w 135131"/>
                <a:gd name="connsiteY2" fmla="*/ 0 h 898656"/>
                <a:gd name="connsiteX3" fmla="*/ 135132 w 135131"/>
                <a:gd name="connsiteY3" fmla="*/ 0 h 898656"/>
                <a:gd name="connsiteX4" fmla="*/ 126555 w 135131"/>
                <a:gd name="connsiteY4" fmla="*/ 898656 h 898656"/>
                <a:gd name="connsiteX5" fmla="*/ 126555 w 135131"/>
                <a:gd name="connsiteY5" fmla="*/ 898656 h 898656"/>
                <a:gd name="connsiteX6" fmla="*/ 126555 w 135131"/>
                <a:gd name="connsiteY6" fmla="*/ 898656 h 898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131" h="898656">
                  <a:moveTo>
                    <a:pt x="126555" y="898656"/>
                  </a:moveTo>
                  <a:lnTo>
                    <a:pt x="0" y="898656"/>
                  </a:lnTo>
                  <a:lnTo>
                    <a:pt x="0" y="0"/>
                  </a:lnTo>
                  <a:lnTo>
                    <a:pt x="135132" y="0"/>
                  </a:lnTo>
                  <a:lnTo>
                    <a:pt x="126555" y="898656"/>
                  </a:lnTo>
                  <a:lnTo>
                    <a:pt x="126555" y="898656"/>
                  </a:lnTo>
                  <a:lnTo>
                    <a:pt x="126555" y="898656"/>
                  </a:ln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3" name="任意多边形 57">
              <a:extLst>
                <a:ext uri="{FF2B5EF4-FFF2-40B4-BE49-F238E27FC236}">
                  <a16:creationId xmlns:a16="http://schemas.microsoft.com/office/drawing/2014/main" id="{2D71068C-6366-C1F8-8853-72E1AAA4AB2F}"/>
                </a:ext>
              </a:extLst>
            </p:cNvPr>
            <p:cNvSpPr/>
            <p:nvPr/>
          </p:nvSpPr>
          <p:spPr>
            <a:xfrm>
              <a:off x="7703109" y="5287978"/>
              <a:ext cx="316405" cy="123506"/>
            </a:xfrm>
            <a:custGeom>
              <a:avLst/>
              <a:gdLst>
                <a:gd name="connsiteX0" fmla="*/ 264603 w 279455"/>
                <a:gd name="connsiteY0" fmla="*/ -210 h 109083"/>
                <a:gd name="connsiteX1" fmla="*/ 138493 w 279455"/>
                <a:gd name="connsiteY1" fmla="*/ -210 h 109083"/>
                <a:gd name="connsiteX2" fmla="*/ -514 w 279455"/>
                <a:gd name="connsiteY2" fmla="*/ 96168 h 109083"/>
                <a:gd name="connsiteX3" fmla="*/ -514 w 279455"/>
                <a:gd name="connsiteY3" fmla="*/ 108874 h 109083"/>
                <a:gd name="connsiteX4" fmla="*/ 277500 w 279455"/>
                <a:gd name="connsiteY4" fmla="*/ 108874 h 109083"/>
                <a:gd name="connsiteX5" fmla="*/ 264794 w 279455"/>
                <a:gd name="connsiteY5" fmla="*/ -210 h 109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9455" h="109083">
                  <a:moveTo>
                    <a:pt x="264603" y="-210"/>
                  </a:moveTo>
                  <a:lnTo>
                    <a:pt x="138493" y="-210"/>
                  </a:lnTo>
                  <a:cubicBezTo>
                    <a:pt x="138493" y="-210"/>
                    <a:pt x="12382" y="68277"/>
                    <a:pt x="-514" y="96168"/>
                  </a:cubicBezTo>
                  <a:lnTo>
                    <a:pt x="-514" y="108874"/>
                  </a:lnTo>
                  <a:lnTo>
                    <a:pt x="277500" y="108874"/>
                  </a:lnTo>
                  <a:cubicBezTo>
                    <a:pt x="277500" y="108874"/>
                    <a:pt x="285251" y="27681"/>
                    <a:pt x="264794" y="-210"/>
                  </a:cubicBez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4" name="任意多边形 58">
              <a:extLst>
                <a:ext uri="{FF2B5EF4-FFF2-40B4-BE49-F238E27FC236}">
                  <a16:creationId xmlns:a16="http://schemas.microsoft.com/office/drawing/2014/main" id="{FD435F2D-7C3C-C816-1364-5835F5352D4D}"/>
                </a:ext>
              </a:extLst>
            </p:cNvPr>
            <p:cNvSpPr/>
            <p:nvPr/>
          </p:nvSpPr>
          <p:spPr>
            <a:xfrm>
              <a:off x="7703109" y="5411484"/>
              <a:ext cx="314126" cy="18773"/>
            </a:xfrm>
            <a:custGeom>
              <a:avLst/>
              <a:gdLst>
                <a:gd name="connsiteX0" fmla="*/ 0 w 277442"/>
                <a:gd name="connsiteY0" fmla="*/ 0 h 16581"/>
                <a:gd name="connsiteX1" fmla="*/ 277443 w 277442"/>
                <a:gd name="connsiteY1" fmla="*/ 0 h 16581"/>
                <a:gd name="connsiteX2" fmla="*/ 277443 w 277442"/>
                <a:gd name="connsiteY2" fmla="*/ 16582 h 16581"/>
                <a:gd name="connsiteX3" fmla="*/ 0 w 277442"/>
                <a:gd name="connsiteY3" fmla="*/ 16582 h 16581"/>
                <a:gd name="connsiteX4" fmla="*/ 0 w 277442"/>
                <a:gd name="connsiteY4" fmla="*/ 0 h 16581"/>
                <a:gd name="connsiteX5" fmla="*/ 0 w 277442"/>
                <a:gd name="connsiteY5" fmla="*/ 0 h 16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7442" h="16581">
                  <a:moveTo>
                    <a:pt x="0" y="0"/>
                  </a:moveTo>
                  <a:lnTo>
                    <a:pt x="277443" y="0"/>
                  </a:lnTo>
                  <a:lnTo>
                    <a:pt x="277443" y="16582"/>
                  </a:lnTo>
                  <a:lnTo>
                    <a:pt x="0" y="1658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5" name="任意多边形 59">
              <a:extLst>
                <a:ext uri="{FF2B5EF4-FFF2-40B4-BE49-F238E27FC236}">
                  <a16:creationId xmlns:a16="http://schemas.microsoft.com/office/drawing/2014/main" id="{F6CCB6E2-5CD6-B028-ABF6-2DCDCEAE440B}"/>
                </a:ext>
              </a:extLst>
            </p:cNvPr>
            <p:cNvSpPr/>
            <p:nvPr/>
          </p:nvSpPr>
          <p:spPr>
            <a:xfrm>
              <a:off x="8074926" y="4281217"/>
              <a:ext cx="154366" cy="1017478"/>
            </a:xfrm>
            <a:custGeom>
              <a:avLst/>
              <a:gdLst>
                <a:gd name="connsiteX0" fmla="*/ 8704 w 136339"/>
                <a:gd name="connsiteY0" fmla="*/ 898656 h 898656"/>
                <a:gd name="connsiteX1" fmla="*/ 136339 w 136339"/>
                <a:gd name="connsiteY1" fmla="*/ 898656 h 898656"/>
                <a:gd name="connsiteX2" fmla="*/ 136339 w 136339"/>
                <a:gd name="connsiteY2" fmla="*/ 0 h 898656"/>
                <a:gd name="connsiteX3" fmla="*/ 0 w 136339"/>
                <a:gd name="connsiteY3" fmla="*/ 0 h 898656"/>
                <a:gd name="connsiteX4" fmla="*/ 8704 w 136339"/>
                <a:gd name="connsiteY4" fmla="*/ 898656 h 898656"/>
                <a:gd name="connsiteX5" fmla="*/ 8704 w 136339"/>
                <a:gd name="connsiteY5" fmla="*/ 898656 h 898656"/>
                <a:gd name="connsiteX6" fmla="*/ 8704 w 136339"/>
                <a:gd name="connsiteY6" fmla="*/ 898656 h 898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6339" h="898656">
                  <a:moveTo>
                    <a:pt x="8704" y="898656"/>
                  </a:moveTo>
                  <a:lnTo>
                    <a:pt x="136339" y="898656"/>
                  </a:lnTo>
                  <a:lnTo>
                    <a:pt x="136339" y="0"/>
                  </a:lnTo>
                  <a:lnTo>
                    <a:pt x="0" y="0"/>
                  </a:lnTo>
                  <a:lnTo>
                    <a:pt x="8704" y="898656"/>
                  </a:lnTo>
                  <a:lnTo>
                    <a:pt x="8704" y="898656"/>
                  </a:lnTo>
                  <a:lnTo>
                    <a:pt x="8704" y="898656"/>
                  </a:ln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6" name="任意多边形 60">
              <a:extLst>
                <a:ext uri="{FF2B5EF4-FFF2-40B4-BE49-F238E27FC236}">
                  <a16:creationId xmlns:a16="http://schemas.microsoft.com/office/drawing/2014/main" id="{11EB5617-8957-1F33-0C61-CA85C517FDD3}"/>
                </a:ext>
              </a:extLst>
            </p:cNvPr>
            <p:cNvSpPr/>
            <p:nvPr/>
          </p:nvSpPr>
          <p:spPr>
            <a:xfrm>
              <a:off x="8073764" y="5287978"/>
              <a:ext cx="312627" cy="123506"/>
            </a:xfrm>
            <a:custGeom>
              <a:avLst/>
              <a:gdLst>
                <a:gd name="connsiteX0" fmla="*/ 11376 w 276118"/>
                <a:gd name="connsiteY0" fmla="*/ -210 h 109083"/>
                <a:gd name="connsiteX1" fmla="*/ 139646 w 276118"/>
                <a:gd name="connsiteY1" fmla="*/ -210 h 109083"/>
                <a:gd name="connsiteX2" fmla="*/ 275604 w 276118"/>
                <a:gd name="connsiteY2" fmla="*/ 96168 h 109083"/>
                <a:gd name="connsiteX3" fmla="*/ 275604 w 276118"/>
                <a:gd name="connsiteY3" fmla="*/ 108874 h 109083"/>
                <a:gd name="connsiteX4" fmla="*/ 1147 w 276118"/>
                <a:gd name="connsiteY4" fmla="*/ 108874 h 109083"/>
                <a:gd name="connsiteX5" fmla="*/ 11376 w 276118"/>
                <a:gd name="connsiteY5" fmla="*/ -210 h 109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6118" h="109083">
                  <a:moveTo>
                    <a:pt x="11376" y="-210"/>
                  </a:moveTo>
                  <a:lnTo>
                    <a:pt x="139646" y="-210"/>
                  </a:lnTo>
                  <a:cubicBezTo>
                    <a:pt x="139646" y="-210"/>
                    <a:pt x="262771" y="68277"/>
                    <a:pt x="275604" y="96168"/>
                  </a:cubicBezTo>
                  <a:lnTo>
                    <a:pt x="275604" y="108874"/>
                  </a:lnTo>
                  <a:lnTo>
                    <a:pt x="1147" y="108874"/>
                  </a:lnTo>
                  <a:cubicBezTo>
                    <a:pt x="1147" y="108874"/>
                    <a:pt x="-6604" y="27681"/>
                    <a:pt x="11376" y="-210"/>
                  </a:cubicBez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7" name="任意多边形 61">
              <a:extLst>
                <a:ext uri="{FF2B5EF4-FFF2-40B4-BE49-F238E27FC236}">
                  <a16:creationId xmlns:a16="http://schemas.microsoft.com/office/drawing/2014/main" id="{4EFC56C0-29B4-7774-8874-2EE412DF45CA}"/>
                </a:ext>
              </a:extLst>
            </p:cNvPr>
            <p:cNvSpPr/>
            <p:nvPr/>
          </p:nvSpPr>
          <p:spPr>
            <a:xfrm>
              <a:off x="8074926" y="5411484"/>
              <a:ext cx="311393" cy="18773"/>
            </a:xfrm>
            <a:custGeom>
              <a:avLst/>
              <a:gdLst>
                <a:gd name="connsiteX0" fmla="*/ 0 w 275028"/>
                <a:gd name="connsiteY0" fmla="*/ 0 h 16581"/>
                <a:gd name="connsiteX1" fmla="*/ 275029 w 275028"/>
                <a:gd name="connsiteY1" fmla="*/ 0 h 16581"/>
                <a:gd name="connsiteX2" fmla="*/ 275029 w 275028"/>
                <a:gd name="connsiteY2" fmla="*/ 16582 h 16581"/>
                <a:gd name="connsiteX3" fmla="*/ 0 w 275028"/>
                <a:gd name="connsiteY3" fmla="*/ 16582 h 16581"/>
                <a:gd name="connsiteX4" fmla="*/ 0 w 275028"/>
                <a:gd name="connsiteY4" fmla="*/ 0 h 16581"/>
                <a:gd name="connsiteX5" fmla="*/ 0 w 275028"/>
                <a:gd name="connsiteY5" fmla="*/ 0 h 16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5028" h="16581">
                  <a:moveTo>
                    <a:pt x="0" y="0"/>
                  </a:moveTo>
                  <a:lnTo>
                    <a:pt x="275029" y="0"/>
                  </a:lnTo>
                  <a:lnTo>
                    <a:pt x="275029" y="16582"/>
                  </a:lnTo>
                  <a:lnTo>
                    <a:pt x="0" y="1658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8" name="任意多边形 62">
              <a:extLst>
                <a:ext uri="{FF2B5EF4-FFF2-40B4-BE49-F238E27FC236}">
                  <a16:creationId xmlns:a16="http://schemas.microsoft.com/office/drawing/2014/main" id="{EF710C2F-1157-A91C-5829-838781605D3A}"/>
                </a:ext>
              </a:extLst>
            </p:cNvPr>
            <p:cNvSpPr/>
            <p:nvPr/>
          </p:nvSpPr>
          <p:spPr>
            <a:xfrm>
              <a:off x="7564855" y="3584555"/>
              <a:ext cx="961084" cy="1110846"/>
            </a:xfrm>
            <a:custGeom>
              <a:avLst/>
              <a:gdLst>
                <a:gd name="connsiteX0" fmla="*/ 635502 w 848847"/>
                <a:gd name="connsiteY0" fmla="*/ -210 h 981120"/>
                <a:gd name="connsiteX1" fmla="*/ 212380 w 848847"/>
                <a:gd name="connsiteY1" fmla="*/ -210 h 981120"/>
                <a:gd name="connsiteX2" fmla="*/ -514 w 848847"/>
                <a:gd name="connsiteY2" fmla="*/ 980910 h 981120"/>
                <a:gd name="connsiteX3" fmla="*/ 848334 w 848847"/>
                <a:gd name="connsiteY3" fmla="*/ 980910 h 981120"/>
                <a:gd name="connsiteX4" fmla="*/ 635502 w 848847"/>
                <a:gd name="connsiteY4" fmla="*/ -210 h 981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8847" h="981120">
                  <a:moveTo>
                    <a:pt x="635502" y="-210"/>
                  </a:moveTo>
                  <a:lnTo>
                    <a:pt x="212380" y="-210"/>
                  </a:lnTo>
                  <a:cubicBezTo>
                    <a:pt x="12319" y="253281"/>
                    <a:pt x="-514" y="980910"/>
                    <a:pt x="-514" y="980910"/>
                  </a:cubicBezTo>
                  <a:lnTo>
                    <a:pt x="848334" y="980910"/>
                  </a:lnTo>
                  <a:cubicBezTo>
                    <a:pt x="848334" y="980910"/>
                    <a:pt x="838104" y="253281"/>
                    <a:pt x="635502" y="-210"/>
                  </a:cubicBez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9" name="任意多边形 63">
              <a:extLst>
                <a:ext uri="{FF2B5EF4-FFF2-40B4-BE49-F238E27FC236}">
                  <a16:creationId xmlns:a16="http://schemas.microsoft.com/office/drawing/2014/main" id="{89621023-94C2-73E6-FD5F-84A1A7E1FAA8}"/>
                </a:ext>
              </a:extLst>
            </p:cNvPr>
            <p:cNvSpPr/>
            <p:nvPr/>
          </p:nvSpPr>
          <p:spPr>
            <a:xfrm>
              <a:off x="6993099" y="2948350"/>
              <a:ext cx="1467130" cy="1769867"/>
            </a:xfrm>
            <a:custGeom>
              <a:avLst/>
              <a:gdLst>
                <a:gd name="connsiteX0" fmla="*/ 927593 w 1295797"/>
                <a:gd name="connsiteY0" fmla="*/ 878849 h 1563180"/>
                <a:gd name="connsiteX1" fmla="*/ 1022891 w 1295797"/>
                <a:gd name="connsiteY1" fmla="*/ 1014617 h 1563180"/>
                <a:gd name="connsiteX2" fmla="*/ 992077 w 1295797"/>
                <a:gd name="connsiteY2" fmla="*/ 1186152 h 1563180"/>
                <a:gd name="connsiteX3" fmla="*/ 821876 w 1295797"/>
                <a:gd name="connsiteY3" fmla="*/ 1157900 h 1563180"/>
                <a:gd name="connsiteX4" fmla="*/ 820161 w 1295797"/>
                <a:gd name="connsiteY4" fmla="*/ 1155403 h 1563180"/>
                <a:gd name="connsiteX5" fmla="*/ 668447 w 1295797"/>
                <a:gd name="connsiteY5" fmla="*/ 940348 h 1563180"/>
                <a:gd name="connsiteX6" fmla="*/ 668447 w 1295797"/>
                <a:gd name="connsiteY6" fmla="*/ 935202 h 1563180"/>
                <a:gd name="connsiteX7" fmla="*/ 663300 w 1295797"/>
                <a:gd name="connsiteY7" fmla="*/ 932661 h 1563180"/>
                <a:gd name="connsiteX8" fmla="*/ 694114 w 1295797"/>
                <a:gd name="connsiteY8" fmla="*/ 761125 h 1563180"/>
                <a:gd name="connsiteX9" fmla="*/ 765968 w 1295797"/>
                <a:gd name="connsiteY9" fmla="*/ 364243 h 1563180"/>
                <a:gd name="connsiteX10" fmla="*/ 368196 w 1295797"/>
                <a:gd name="connsiteY10" fmla="*/ 297661 h 1563180"/>
                <a:gd name="connsiteX11" fmla="*/ 250154 w 1295797"/>
                <a:gd name="connsiteY11" fmla="*/ 551153 h 1563180"/>
                <a:gd name="connsiteX12" fmla="*/ 134780 w 1295797"/>
                <a:gd name="connsiteY12" fmla="*/ 686793 h 1563180"/>
                <a:gd name="connsiteX13" fmla="*/ 1364 w 1295797"/>
                <a:gd name="connsiteY13" fmla="*/ 574152 h 1563180"/>
                <a:gd name="connsiteX14" fmla="*/ 224614 w 1295797"/>
                <a:gd name="connsiteY14" fmla="*/ 95313 h 1563180"/>
                <a:gd name="connsiteX15" fmla="*/ 966156 w 1295797"/>
                <a:gd name="connsiteY15" fmla="*/ 223329 h 1563180"/>
                <a:gd name="connsiteX16" fmla="*/ 927657 w 1295797"/>
                <a:gd name="connsiteY16" fmla="*/ 878849 h 1563180"/>
                <a:gd name="connsiteX17" fmla="*/ 1245823 w 1295797"/>
                <a:gd name="connsiteY17" fmla="*/ 1332149 h 1563180"/>
                <a:gd name="connsiteX18" fmla="*/ 1271236 w 1295797"/>
                <a:gd name="connsiteY18" fmla="*/ 1367980 h 1563180"/>
                <a:gd name="connsiteX19" fmla="*/ 1242965 w 1295797"/>
                <a:gd name="connsiteY19" fmla="*/ 1542121 h 1563180"/>
                <a:gd name="connsiteX20" fmla="*/ 1068506 w 1295797"/>
                <a:gd name="connsiteY20" fmla="*/ 1511371 h 1563180"/>
                <a:gd name="connsiteX21" fmla="*/ 1043093 w 1295797"/>
                <a:gd name="connsiteY21" fmla="*/ 1473252 h 1563180"/>
                <a:gd name="connsiteX22" fmla="*/ 1073906 w 1295797"/>
                <a:gd name="connsiteY22" fmla="*/ 1301717 h 1563180"/>
                <a:gd name="connsiteX23" fmla="*/ 1242583 w 1295797"/>
                <a:gd name="connsiteY23" fmla="*/ 1327847 h 1563180"/>
                <a:gd name="connsiteX24" fmla="*/ 1245823 w 1295797"/>
                <a:gd name="connsiteY24" fmla="*/ 1332466 h 1563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95797" h="1563180">
                  <a:moveTo>
                    <a:pt x="927593" y="878849"/>
                  </a:moveTo>
                  <a:lnTo>
                    <a:pt x="1022891" y="1014617"/>
                  </a:lnTo>
                  <a:cubicBezTo>
                    <a:pt x="1063932" y="1070906"/>
                    <a:pt x="1051098" y="1145174"/>
                    <a:pt x="992077" y="1186152"/>
                  </a:cubicBezTo>
                  <a:cubicBezTo>
                    <a:pt x="937313" y="1225345"/>
                    <a:pt x="861075" y="1212696"/>
                    <a:pt x="821876" y="1157900"/>
                  </a:cubicBezTo>
                  <a:cubicBezTo>
                    <a:pt x="821305" y="1157074"/>
                    <a:pt x="820732" y="1156242"/>
                    <a:pt x="820161" y="1155403"/>
                  </a:cubicBezTo>
                  <a:lnTo>
                    <a:pt x="668447" y="940348"/>
                  </a:lnTo>
                  <a:lnTo>
                    <a:pt x="668447" y="935202"/>
                  </a:lnTo>
                  <a:cubicBezTo>
                    <a:pt x="663300" y="935202"/>
                    <a:pt x="663300" y="935202"/>
                    <a:pt x="663300" y="932661"/>
                  </a:cubicBezTo>
                  <a:cubicBezTo>
                    <a:pt x="624801" y="878849"/>
                    <a:pt x="640239" y="799244"/>
                    <a:pt x="694114" y="761125"/>
                  </a:cubicBezTo>
                  <a:cubicBezTo>
                    <a:pt x="822384" y="668941"/>
                    <a:pt x="855738" y="492259"/>
                    <a:pt x="765968" y="364243"/>
                  </a:cubicBezTo>
                  <a:cubicBezTo>
                    <a:pt x="673593" y="233621"/>
                    <a:pt x="499135" y="208018"/>
                    <a:pt x="368196" y="297661"/>
                  </a:cubicBezTo>
                  <a:cubicBezTo>
                    <a:pt x="283572" y="359096"/>
                    <a:pt x="239926" y="456491"/>
                    <a:pt x="250154" y="551153"/>
                  </a:cubicBezTo>
                  <a:cubicBezTo>
                    <a:pt x="255618" y="620421"/>
                    <a:pt x="204030" y="681056"/>
                    <a:pt x="134780" y="686793"/>
                  </a:cubicBezTo>
                  <a:cubicBezTo>
                    <a:pt x="65467" y="691939"/>
                    <a:pt x="9051" y="643274"/>
                    <a:pt x="1364" y="574152"/>
                  </a:cubicBezTo>
                  <a:cubicBezTo>
                    <a:pt x="-14456" y="386231"/>
                    <a:pt x="70486" y="204003"/>
                    <a:pt x="224614" y="95313"/>
                  </a:cubicBezTo>
                  <a:cubicBezTo>
                    <a:pt x="466035" y="-71140"/>
                    <a:pt x="799386" y="-14788"/>
                    <a:pt x="966156" y="223329"/>
                  </a:cubicBezTo>
                  <a:cubicBezTo>
                    <a:pt x="1107832" y="424058"/>
                    <a:pt x="1091822" y="696081"/>
                    <a:pt x="927657" y="878849"/>
                  </a:cubicBezTo>
                  <a:close/>
                  <a:moveTo>
                    <a:pt x="1245823" y="1332149"/>
                  </a:moveTo>
                  <a:lnTo>
                    <a:pt x="1271236" y="1367980"/>
                  </a:lnTo>
                  <a:cubicBezTo>
                    <a:pt x="1312277" y="1426874"/>
                    <a:pt x="1299444" y="1501397"/>
                    <a:pt x="1242965" y="1542121"/>
                  </a:cubicBezTo>
                  <a:cubicBezTo>
                    <a:pt x="1189089" y="1577953"/>
                    <a:pt x="1109548" y="1567533"/>
                    <a:pt x="1068506" y="1511371"/>
                  </a:cubicBezTo>
                  <a:lnTo>
                    <a:pt x="1043093" y="1473252"/>
                  </a:lnTo>
                  <a:cubicBezTo>
                    <a:pt x="1004593" y="1419505"/>
                    <a:pt x="1019968" y="1339836"/>
                    <a:pt x="1073906" y="1301717"/>
                  </a:cubicBezTo>
                  <a:cubicBezTo>
                    <a:pt x="1127718" y="1262346"/>
                    <a:pt x="1203257" y="1274049"/>
                    <a:pt x="1242583" y="1327847"/>
                  </a:cubicBezTo>
                  <a:cubicBezTo>
                    <a:pt x="1243727" y="1329359"/>
                    <a:pt x="1244806" y="1330903"/>
                    <a:pt x="1245823" y="1332466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0" name="任意多边形 64">
              <a:extLst>
                <a:ext uri="{FF2B5EF4-FFF2-40B4-BE49-F238E27FC236}">
                  <a16:creationId xmlns:a16="http://schemas.microsoft.com/office/drawing/2014/main" id="{2EBF264C-64EC-D63A-CB03-F93853642C3C}"/>
                </a:ext>
              </a:extLst>
            </p:cNvPr>
            <p:cNvSpPr/>
            <p:nvPr/>
          </p:nvSpPr>
          <p:spPr>
            <a:xfrm>
              <a:off x="8074926" y="2908035"/>
              <a:ext cx="512041" cy="826857"/>
            </a:xfrm>
            <a:custGeom>
              <a:avLst/>
              <a:gdLst>
                <a:gd name="connsiteX0" fmla="*/ 274260 w 452244"/>
                <a:gd name="connsiteY0" fmla="*/ -210 h 730296"/>
                <a:gd name="connsiteX1" fmla="*/ 451387 w 452244"/>
                <a:gd name="connsiteY1" fmla="*/ 381616 h 730296"/>
                <a:gd name="connsiteX2" fmla="*/ 43132 w 452244"/>
                <a:gd name="connsiteY2" fmla="*/ 730087 h 730296"/>
                <a:gd name="connsiteX3" fmla="*/ -514 w 452244"/>
                <a:gd name="connsiteY3" fmla="*/ 558551 h 730296"/>
                <a:gd name="connsiteX4" fmla="*/ 315302 w 452244"/>
                <a:gd name="connsiteY4" fmla="*/ 366368 h 730296"/>
                <a:gd name="connsiteX5" fmla="*/ 248594 w 452244"/>
                <a:gd name="connsiteY5" fmla="*/ 207539 h 730296"/>
                <a:gd name="connsiteX6" fmla="*/ 274007 w 452244"/>
                <a:gd name="connsiteY6" fmla="*/ -19 h 730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2244" h="730296">
                  <a:moveTo>
                    <a:pt x="274260" y="-210"/>
                  </a:moveTo>
                  <a:cubicBezTo>
                    <a:pt x="274260" y="-210"/>
                    <a:pt x="438553" y="292036"/>
                    <a:pt x="451387" y="381616"/>
                  </a:cubicBezTo>
                  <a:cubicBezTo>
                    <a:pt x="464093" y="473864"/>
                    <a:pt x="120196" y="717317"/>
                    <a:pt x="43132" y="730087"/>
                  </a:cubicBezTo>
                  <a:lnTo>
                    <a:pt x="-514" y="558551"/>
                  </a:lnTo>
                  <a:cubicBezTo>
                    <a:pt x="-514" y="558551"/>
                    <a:pt x="284489" y="425135"/>
                    <a:pt x="315302" y="366368"/>
                  </a:cubicBezTo>
                  <a:lnTo>
                    <a:pt x="248594" y="207539"/>
                  </a:lnTo>
                  <a:lnTo>
                    <a:pt x="274007" y="-19"/>
                  </a:ln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1" name="任意多边形 65">
              <a:extLst>
                <a:ext uri="{FF2B5EF4-FFF2-40B4-BE49-F238E27FC236}">
                  <a16:creationId xmlns:a16="http://schemas.microsoft.com/office/drawing/2014/main" id="{5C027203-A68E-B035-815A-C100E2DD03A3}"/>
                </a:ext>
              </a:extLst>
            </p:cNvPr>
            <p:cNvSpPr/>
            <p:nvPr/>
          </p:nvSpPr>
          <p:spPr>
            <a:xfrm>
              <a:off x="8008236" y="3573622"/>
              <a:ext cx="101648" cy="117572"/>
            </a:xfrm>
            <a:custGeom>
              <a:avLst/>
              <a:gdLst>
                <a:gd name="connsiteX0" fmla="*/ 66265 w 89777"/>
                <a:gd name="connsiteY0" fmla="*/ 362 h 103842"/>
                <a:gd name="connsiteX1" fmla="*/ 5147 w 89777"/>
                <a:gd name="connsiteY1" fmla="*/ 15800 h 103842"/>
                <a:gd name="connsiteX2" fmla="*/ 89263 w 89777"/>
                <a:gd name="connsiteY2" fmla="*/ 95596 h 103842"/>
                <a:gd name="connsiteX3" fmla="*/ 66265 w 89777"/>
                <a:gd name="connsiteY3" fmla="*/ 298 h 103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777" h="103842">
                  <a:moveTo>
                    <a:pt x="66265" y="362"/>
                  </a:moveTo>
                  <a:cubicBezTo>
                    <a:pt x="66265" y="362"/>
                    <a:pt x="15439" y="-4784"/>
                    <a:pt x="5147" y="15800"/>
                  </a:cubicBezTo>
                  <a:cubicBezTo>
                    <a:pt x="-5145" y="36384"/>
                    <a:pt x="-12705" y="131555"/>
                    <a:pt x="89263" y="95596"/>
                  </a:cubicBezTo>
                  <a:lnTo>
                    <a:pt x="66265" y="298"/>
                  </a:ln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2" name="任意多边形 67">
              <a:extLst>
                <a:ext uri="{FF2B5EF4-FFF2-40B4-BE49-F238E27FC236}">
                  <a16:creationId xmlns:a16="http://schemas.microsoft.com/office/drawing/2014/main" id="{6F7BF02D-36DD-D9F3-8D89-3C200378C9AD}"/>
                </a:ext>
              </a:extLst>
            </p:cNvPr>
            <p:cNvSpPr/>
            <p:nvPr/>
          </p:nvSpPr>
          <p:spPr>
            <a:xfrm rot="19901924">
              <a:off x="4001212" y="2597109"/>
              <a:ext cx="340051" cy="595716"/>
            </a:xfrm>
            <a:custGeom>
              <a:avLst/>
              <a:gdLst>
                <a:gd name="connsiteX0" fmla="*/ 596690 w 1007682"/>
                <a:gd name="connsiteY0" fmla="*/ 1042540 h 1765307"/>
                <a:gd name="connsiteX1" fmla="*/ 596690 w 1007682"/>
                <a:gd name="connsiteY1" fmla="*/ 1209120 h 1765307"/>
                <a:gd name="connsiteX2" fmla="*/ 479747 w 1007682"/>
                <a:gd name="connsiteY2" fmla="*/ 1332124 h 1765307"/>
                <a:gd name="connsiteX3" fmla="*/ 473502 w 1007682"/>
                <a:gd name="connsiteY3" fmla="*/ 1332118 h 1765307"/>
                <a:gd name="connsiteX4" fmla="*/ 350314 w 1007682"/>
                <a:gd name="connsiteY4" fmla="*/ 1209120 h 1765307"/>
                <a:gd name="connsiteX5" fmla="*/ 350314 w 1007682"/>
                <a:gd name="connsiteY5" fmla="*/ 945209 h 1765307"/>
                <a:gd name="connsiteX6" fmla="*/ 352855 w 1007682"/>
                <a:gd name="connsiteY6" fmla="*/ 940063 h 1765307"/>
                <a:gd name="connsiteX7" fmla="*/ 350314 w 1007682"/>
                <a:gd name="connsiteY7" fmla="*/ 934981 h 1765307"/>
                <a:gd name="connsiteX8" fmla="*/ 473502 w 1007682"/>
                <a:gd name="connsiteY8" fmla="*/ 811983 h 1765307"/>
                <a:gd name="connsiteX9" fmla="*/ 760983 w 1007682"/>
                <a:gd name="connsiteY9" fmla="*/ 530157 h 1765307"/>
                <a:gd name="connsiteX10" fmla="*/ 473502 w 1007682"/>
                <a:gd name="connsiteY10" fmla="*/ 245725 h 1765307"/>
                <a:gd name="connsiteX11" fmla="*/ 229667 w 1007682"/>
                <a:gd name="connsiteY11" fmla="*/ 384097 h 1765307"/>
                <a:gd name="connsiteX12" fmla="*/ 62134 w 1007682"/>
                <a:gd name="connsiteY12" fmla="*/ 430888 h 1765307"/>
                <a:gd name="connsiteX13" fmla="*/ 15343 w 1007682"/>
                <a:gd name="connsiteY13" fmla="*/ 263355 h 1765307"/>
                <a:gd name="connsiteX14" fmla="*/ 16645 w 1007682"/>
                <a:gd name="connsiteY14" fmla="*/ 261100 h 1765307"/>
                <a:gd name="connsiteX15" fmla="*/ 473502 w 1007682"/>
                <a:gd name="connsiteY15" fmla="*/ -206 h 1765307"/>
                <a:gd name="connsiteX16" fmla="*/ 1007168 w 1007682"/>
                <a:gd name="connsiteY16" fmla="*/ 530157 h 1765307"/>
                <a:gd name="connsiteX17" fmla="*/ 596499 w 1007682"/>
                <a:gd name="connsiteY17" fmla="*/ 1042540 h 1765307"/>
                <a:gd name="connsiteX18" fmla="*/ 596690 w 1007682"/>
                <a:gd name="connsiteY18" fmla="*/ 1595965 h 1765307"/>
                <a:gd name="connsiteX19" fmla="*/ 596690 w 1007682"/>
                <a:gd name="connsiteY19" fmla="*/ 1642089 h 1765307"/>
                <a:gd name="connsiteX20" fmla="*/ 473502 w 1007682"/>
                <a:gd name="connsiteY20" fmla="*/ 1765086 h 1765307"/>
                <a:gd name="connsiteX21" fmla="*/ 350314 w 1007682"/>
                <a:gd name="connsiteY21" fmla="*/ 1645221 h 1765307"/>
                <a:gd name="connsiteX22" fmla="*/ 350314 w 1007682"/>
                <a:gd name="connsiteY22" fmla="*/ 1642089 h 1765307"/>
                <a:gd name="connsiteX23" fmla="*/ 350314 w 1007682"/>
                <a:gd name="connsiteY23" fmla="*/ 1595965 h 1765307"/>
                <a:gd name="connsiteX24" fmla="*/ 473502 w 1007682"/>
                <a:gd name="connsiteY24" fmla="*/ 1473031 h 1765307"/>
                <a:gd name="connsiteX25" fmla="*/ 596690 w 1007682"/>
                <a:gd name="connsiteY25" fmla="*/ 1592769 h 1765307"/>
                <a:gd name="connsiteX26" fmla="*/ 596690 w 1007682"/>
                <a:gd name="connsiteY26" fmla="*/ 1595965 h 1765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07682" h="1765307">
                  <a:moveTo>
                    <a:pt x="596690" y="1042540"/>
                  </a:moveTo>
                  <a:lnTo>
                    <a:pt x="596690" y="1209120"/>
                  </a:lnTo>
                  <a:cubicBezTo>
                    <a:pt x="598361" y="1275377"/>
                    <a:pt x="546004" y="1330447"/>
                    <a:pt x="479747" y="1332124"/>
                  </a:cubicBezTo>
                  <a:cubicBezTo>
                    <a:pt x="477663" y="1332175"/>
                    <a:pt x="475579" y="1332175"/>
                    <a:pt x="473502" y="1332118"/>
                  </a:cubicBezTo>
                  <a:cubicBezTo>
                    <a:pt x="405529" y="1332156"/>
                    <a:pt x="350384" y="1277093"/>
                    <a:pt x="350314" y="1209120"/>
                  </a:cubicBezTo>
                  <a:lnTo>
                    <a:pt x="350314" y="945209"/>
                  </a:lnTo>
                  <a:cubicBezTo>
                    <a:pt x="350314" y="942668"/>
                    <a:pt x="352855" y="942668"/>
                    <a:pt x="352855" y="940063"/>
                  </a:cubicBezTo>
                  <a:cubicBezTo>
                    <a:pt x="350314" y="937522"/>
                    <a:pt x="350314" y="937522"/>
                    <a:pt x="350314" y="934981"/>
                  </a:cubicBezTo>
                  <a:cubicBezTo>
                    <a:pt x="350314" y="870941"/>
                    <a:pt x="406793" y="811983"/>
                    <a:pt x="473502" y="811983"/>
                  </a:cubicBezTo>
                  <a:cubicBezTo>
                    <a:pt x="632649" y="811983"/>
                    <a:pt x="760983" y="686445"/>
                    <a:pt x="760983" y="530157"/>
                  </a:cubicBezTo>
                  <a:cubicBezTo>
                    <a:pt x="760983" y="368723"/>
                    <a:pt x="632649" y="245725"/>
                    <a:pt x="473502" y="245725"/>
                  </a:cubicBezTo>
                  <a:cubicBezTo>
                    <a:pt x="373636" y="246094"/>
                    <a:pt x="281198" y="298552"/>
                    <a:pt x="229667" y="384097"/>
                  </a:cubicBezTo>
                  <a:cubicBezTo>
                    <a:pt x="196326" y="443283"/>
                    <a:pt x="121320" y="464230"/>
                    <a:pt x="62134" y="430888"/>
                  </a:cubicBezTo>
                  <a:cubicBezTo>
                    <a:pt x="2948" y="397547"/>
                    <a:pt x="-17999" y="322541"/>
                    <a:pt x="15343" y="263355"/>
                  </a:cubicBezTo>
                  <a:cubicBezTo>
                    <a:pt x="15769" y="262599"/>
                    <a:pt x="16201" y="261850"/>
                    <a:pt x="16645" y="261100"/>
                  </a:cubicBezTo>
                  <a:cubicBezTo>
                    <a:pt x="111346" y="98668"/>
                    <a:pt x="285480" y="-930"/>
                    <a:pt x="473502" y="-206"/>
                  </a:cubicBezTo>
                  <a:cubicBezTo>
                    <a:pt x="766129" y="-206"/>
                    <a:pt x="1007168" y="235497"/>
                    <a:pt x="1007168" y="530157"/>
                  </a:cubicBezTo>
                  <a:cubicBezTo>
                    <a:pt x="1007168" y="778693"/>
                    <a:pt x="832647" y="988792"/>
                    <a:pt x="596499" y="1042540"/>
                  </a:cubicBezTo>
                  <a:close/>
                  <a:moveTo>
                    <a:pt x="596690" y="1595965"/>
                  </a:moveTo>
                  <a:lnTo>
                    <a:pt x="596690" y="1642089"/>
                  </a:lnTo>
                  <a:cubicBezTo>
                    <a:pt x="596690" y="1713816"/>
                    <a:pt x="545356" y="1765086"/>
                    <a:pt x="473502" y="1765086"/>
                  </a:cubicBezTo>
                  <a:cubicBezTo>
                    <a:pt x="406387" y="1766001"/>
                    <a:pt x="351235" y="1712336"/>
                    <a:pt x="350314" y="1645221"/>
                  </a:cubicBezTo>
                  <a:cubicBezTo>
                    <a:pt x="350301" y="1644179"/>
                    <a:pt x="350301" y="1643131"/>
                    <a:pt x="350314" y="1642089"/>
                  </a:cubicBezTo>
                  <a:lnTo>
                    <a:pt x="350314" y="1595965"/>
                  </a:lnTo>
                  <a:cubicBezTo>
                    <a:pt x="351305" y="1528386"/>
                    <a:pt x="405923" y="1473882"/>
                    <a:pt x="473502" y="1473031"/>
                  </a:cubicBezTo>
                  <a:cubicBezTo>
                    <a:pt x="540585" y="1472078"/>
                    <a:pt x="595737" y="1525686"/>
                    <a:pt x="596690" y="1592769"/>
                  </a:cubicBezTo>
                  <a:cubicBezTo>
                    <a:pt x="596703" y="1593830"/>
                    <a:pt x="596703" y="1594897"/>
                    <a:pt x="596690" y="1595965"/>
                  </a:cubicBezTo>
                  <a:close/>
                </a:path>
              </a:pathLst>
            </a:custGeom>
            <a:solidFill>
              <a:srgbClr val="D0D4DA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pic>
        <p:nvPicPr>
          <p:cNvPr id="74" name="图片 73">
            <a:extLst>
              <a:ext uri="{FF2B5EF4-FFF2-40B4-BE49-F238E27FC236}">
                <a16:creationId xmlns:a16="http://schemas.microsoft.com/office/drawing/2014/main" id="{DC44796B-E79B-37BB-86A6-38003DEFD4D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3035" y="299594"/>
            <a:ext cx="1837445" cy="501494"/>
          </a:xfrm>
          <a:prstGeom prst="rect">
            <a:avLst/>
          </a:prstGeom>
        </p:spPr>
      </p:pic>
      <p:sp>
        <p:nvSpPr>
          <p:cNvPr id="75" name="爆炸形: 8 pt  74">
            <a:extLst>
              <a:ext uri="{FF2B5EF4-FFF2-40B4-BE49-F238E27FC236}">
                <a16:creationId xmlns:a16="http://schemas.microsoft.com/office/drawing/2014/main" id="{8CF7642E-3920-4CF8-702B-E9D95CA99AC9}"/>
              </a:ext>
            </a:extLst>
          </p:cNvPr>
          <p:cNvSpPr/>
          <p:nvPr/>
        </p:nvSpPr>
        <p:spPr bwMode="auto">
          <a:xfrm>
            <a:off x="8015819" y="3445950"/>
            <a:ext cx="3090441" cy="2187611"/>
          </a:xfrm>
          <a:prstGeom prst="irregularSeal1">
            <a:avLst/>
          </a:prstGeom>
          <a:solidFill>
            <a:schemeClr val="accent1">
              <a:lumMod val="40000"/>
              <a:lumOff val="6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zh-CN" altLang="en-US" sz="3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特色</a:t>
            </a:r>
          </a:p>
        </p:txBody>
      </p:sp>
      <p:pic>
        <p:nvPicPr>
          <p:cNvPr id="79" name="图片 78">
            <a:extLst>
              <a:ext uri="{FF2B5EF4-FFF2-40B4-BE49-F238E27FC236}">
                <a16:creationId xmlns:a16="http://schemas.microsoft.com/office/drawing/2014/main" id="{91F05C35-CDD8-A57B-1D29-1AF48E276FF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740" y="3059645"/>
            <a:ext cx="6096000" cy="3429000"/>
          </a:xfrm>
          <a:prstGeom prst="rect">
            <a:avLst/>
          </a:prstGeom>
        </p:spPr>
      </p:pic>
      <p:pic>
        <p:nvPicPr>
          <p:cNvPr id="81" name="图片 80">
            <a:extLst>
              <a:ext uri="{FF2B5EF4-FFF2-40B4-BE49-F238E27FC236}">
                <a16:creationId xmlns:a16="http://schemas.microsoft.com/office/drawing/2014/main" id="{1A3C2841-9DEF-F04E-7FCD-5D56ADBCA09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6434"/>
          <a:stretch/>
        </p:blipFill>
        <p:spPr>
          <a:xfrm>
            <a:off x="967408" y="4119028"/>
            <a:ext cx="6332664" cy="550791"/>
          </a:xfrm>
          <a:prstGeom prst="rect">
            <a:avLst/>
          </a:prstGeom>
          <a:ln w="38100">
            <a:solidFill>
              <a:srgbClr val="FF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60865215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图片 39">
            <a:extLst>
              <a:ext uri="{FF2B5EF4-FFF2-40B4-BE49-F238E27FC236}">
                <a16:creationId xmlns:a16="http://schemas.microsoft.com/office/drawing/2014/main" id="{7CB1490E-39EF-785B-93D8-3B5E023A7BD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9418" y="253211"/>
            <a:ext cx="1837445" cy="501494"/>
          </a:xfrm>
          <a:prstGeom prst="rect">
            <a:avLst/>
          </a:prstGeom>
        </p:spPr>
      </p:pic>
      <p:sp>
        <p:nvSpPr>
          <p:cNvPr id="2" name="PA_文本框 21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>
            <a:extLst>
              <a:ext uri="{FF2B5EF4-FFF2-40B4-BE49-F238E27FC236}">
                <a16:creationId xmlns:a16="http://schemas.microsoft.com/office/drawing/2014/main" id="{EB15CC80-CF2A-2BCF-9F74-8937D327667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80230" y="330214"/>
            <a:ext cx="5152913" cy="46166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zh-CN"/>
            </a:defPPr>
            <a:lvl1pPr marL="12700" marR="0" lvl="0" indent="0" fontAlgn="auto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F05A23"/>
                </a:solidFill>
                <a:effectLst/>
                <a:uLnTx/>
                <a:uFillTx/>
                <a:latin typeface="Arial"/>
                <a:ea typeface="华文楷体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  <a:lvl6pPr>
              <a:defRPr>
                <a:latin typeface="+mn-lt"/>
                <a:ea typeface="+mn-ea"/>
                <a:cs typeface="+mn-cs"/>
              </a:defRPr>
            </a:lvl6pPr>
            <a:lvl7pPr>
              <a:defRPr>
                <a:latin typeface="+mn-lt"/>
                <a:ea typeface="+mn-ea"/>
                <a:cs typeface="+mn-cs"/>
              </a:defRPr>
            </a:lvl7pPr>
            <a:lvl8pPr>
              <a:defRPr>
                <a:latin typeface="+mn-lt"/>
                <a:ea typeface="+mn-ea"/>
                <a:cs typeface="+mn-cs"/>
              </a:defRPr>
            </a:lvl8pPr>
            <a:lvl9pPr>
              <a:defRPr>
                <a:latin typeface="+mn-lt"/>
                <a:ea typeface="+mn-ea"/>
                <a:cs typeface="+mn-cs"/>
              </a:defRPr>
            </a:lvl9pPr>
          </a:lstStyle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</a:t>
            </a:r>
            <a:r>
              <a:rPr lang="en-US" altLang="zh-CN" sz="2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2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步：实用内容，激发欲望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2B23F7BC-282A-284C-1BC8-0CF3B481E51A}"/>
              </a:ext>
            </a:extLst>
          </p:cNvPr>
          <p:cNvSpPr txBox="1"/>
          <p:nvPr/>
        </p:nvSpPr>
        <p:spPr>
          <a:xfrm>
            <a:off x="280650" y="358385"/>
            <a:ext cx="6744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.1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3" name="组合 2">
            <a:extLst>
              <a:ext uri="{FF2B5EF4-FFF2-40B4-BE49-F238E27FC236}">
                <a16:creationId xmlns:a16="http://schemas.microsoft.com/office/drawing/2014/main" id="{C752E1EC-0F2F-1042-04DA-48C78849DCCA}"/>
              </a:ext>
            </a:extLst>
          </p:cNvPr>
          <p:cNvGrpSpPr/>
          <p:nvPr/>
        </p:nvGrpSpPr>
        <p:grpSpPr>
          <a:xfrm>
            <a:off x="1470727" y="2994967"/>
            <a:ext cx="4289223" cy="3083103"/>
            <a:chOff x="1438454" y="973211"/>
            <a:chExt cx="4289223" cy="4113416"/>
          </a:xfrm>
        </p:grpSpPr>
        <p:grpSp>
          <p:nvGrpSpPr>
            <p:cNvPr id="4" name="组合 3">
              <a:extLst>
                <a:ext uri="{FF2B5EF4-FFF2-40B4-BE49-F238E27FC236}">
                  <a16:creationId xmlns:a16="http://schemas.microsoft.com/office/drawing/2014/main" id="{3F899809-BDA9-7829-F268-529532E8FED5}"/>
                </a:ext>
              </a:extLst>
            </p:cNvPr>
            <p:cNvGrpSpPr/>
            <p:nvPr/>
          </p:nvGrpSpPr>
          <p:grpSpPr>
            <a:xfrm>
              <a:off x="1438454" y="973211"/>
              <a:ext cx="4289223" cy="4113416"/>
              <a:chOff x="8456385" y="2378530"/>
              <a:chExt cx="3062515" cy="3052114"/>
            </a:xfrm>
          </p:grpSpPr>
          <p:sp>
            <p:nvSpPr>
              <p:cNvPr id="8" name="矩形: 圆角 7">
                <a:extLst>
                  <a:ext uri="{FF2B5EF4-FFF2-40B4-BE49-F238E27FC236}">
                    <a16:creationId xmlns:a16="http://schemas.microsoft.com/office/drawing/2014/main" id="{D45F7D3B-0234-98AE-627F-173CF43E9CC8}"/>
                  </a:ext>
                </a:extLst>
              </p:cNvPr>
              <p:cNvSpPr/>
              <p:nvPr/>
            </p:nvSpPr>
            <p:spPr>
              <a:xfrm>
                <a:off x="8456385" y="2757714"/>
                <a:ext cx="3062515" cy="2672930"/>
              </a:xfrm>
              <a:prstGeom prst="roundRect">
                <a:avLst>
                  <a:gd name="adj" fmla="val 1648"/>
                </a:avLst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9" name="任意多边形: 形状 8">
                <a:extLst>
                  <a:ext uri="{FF2B5EF4-FFF2-40B4-BE49-F238E27FC236}">
                    <a16:creationId xmlns:a16="http://schemas.microsoft.com/office/drawing/2014/main" id="{044BF28C-6459-D4FD-7783-96268DE522DD}"/>
                  </a:ext>
                </a:extLst>
              </p:cNvPr>
              <p:cNvSpPr/>
              <p:nvPr/>
            </p:nvSpPr>
            <p:spPr>
              <a:xfrm>
                <a:off x="8594271" y="2378530"/>
                <a:ext cx="2786743" cy="825199"/>
              </a:xfrm>
              <a:custGeom>
                <a:avLst/>
                <a:gdLst>
                  <a:gd name="connsiteX0" fmla="*/ 116162 w 2786743"/>
                  <a:gd name="connsiteY0" fmla="*/ 0 h 825199"/>
                  <a:gd name="connsiteX1" fmla="*/ 2670581 w 2786743"/>
                  <a:gd name="connsiteY1" fmla="*/ 0 h 825199"/>
                  <a:gd name="connsiteX2" fmla="*/ 2786743 w 2786743"/>
                  <a:gd name="connsiteY2" fmla="*/ 116162 h 825199"/>
                  <a:gd name="connsiteX3" fmla="*/ 2786743 w 2786743"/>
                  <a:gd name="connsiteY3" fmla="*/ 580798 h 825199"/>
                  <a:gd name="connsiteX4" fmla="*/ 2670581 w 2786743"/>
                  <a:gd name="connsiteY4" fmla="*/ 696960 h 825199"/>
                  <a:gd name="connsiteX5" fmla="*/ 384895 w 2786743"/>
                  <a:gd name="connsiteY5" fmla="*/ 696960 h 825199"/>
                  <a:gd name="connsiteX6" fmla="*/ 312412 w 2786743"/>
                  <a:gd name="connsiteY6" fmla="*/ 825199 h 825199"/>
                  <a:gd name="connsiteX7" fmla="*/ 239929 w 2786743"/>
                  <a:gd name="connsiteY7" fmla="*/ 696960 h 825199"/>
                  <a:gd name="connsiteX8" fmla="*/ 116162 w 2786743"/>
                  <a:gd name="connsiteY8" fmla="*/ 696960 h 825199"/>
                  <a:gd name="connsiteX9" fmla="*/ 0 w 2786743"/>
                  <a:gd name="connsiteY9" fmla="*/ 580798 h 825199"/>
                  <a:gd name="connsiteX10" fmla="*/ 0 w 2786743"/>
                  <a:gd name="connsiteY10" fmla="*/ 116162 h 825199"/>
                  <a:gd name="connsiteX11" fmla="*/ 116162 w 2786743"/>
                  <a:gd name="connsiteY11" fmla="*/ 0 h 825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786743" h="825199">
                    <a:moveTo>
                      <a:pt x="116162" y="0"/>
                    </a:moveTo>
                    <a:lnTo>
                      <a:pt x="2670581" y="0"/>
                    </a:lnTo>
                    <a:cubicBezTo>
                      <a:pt x="2734736" y="0"/>
                      <a:pt x="2786743" y="52007"/>
                      <a:pt x="2786743" y="116162"/>
                    </a:cubicBezTo>
                    <a:lnTo>
                      <a:pt x="2786743" y="580798"/>
                    </a:lnTo>
                    <a:cubicBezTo>
                      <a:pt x="2786743" y="644953"/>
                      <a:pt x="2734736" y="696960"/>
                      <a:pt x="2670581" y="696960"/>
                    </a:cubicBezTo>
                    <a:lnTo>
                      <a:pt x="384895" y="696960"/>
                    </a:lnTo>
                    <a:lnTo>
                      <a:pt x="312412" y="825199"/>
                    </a:lnTo>
                    <a:lnTo>
                      <a:pt x="239929" y="696960"/>
                    </a:lnTo>
                    <a:lnTo>
                      <a:pt x="116162" y="696960"/>
                    </a:lnTo>
                    <a:cubicBezTo>
                      <a:pt x="52007" y="696960"/>
                      <a:pt x="0" y="644953"/>
                      <a:pt x="0" y="580798"/>
                    </a:cubicBezTo>
                    <a:lnTo>
                      <a:pt x="0" y="116162"/>
                    </a:lnTo>
                    <a:cubicBezTo>
                      <a:pt x="0" y="52007"/>
                      <a:pt x="52007" y="0"/>
                      <a:pt x="116162" y="0"/>
                    </a:cubicBezTo>
                    <a:close/>
                  </a:path>
                </a:pathLst>
              </a:custGeom>
              <a:solidFill>
                <a:srgbClr val="FDE6DE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 anchorCtr="1">
                <a:normAutofit/>
              </a:bodyPr>
              <a:lstStyle/>
              <a:p>
                <a:pPr algn="ctr"/>
                <a:r>
                  <a:rPr lang="zh-CN" altLang="en-US" b="1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产品特色</a:t>
                </a:r>
              </a:p>
            </p:txBody>
          </p:sp>
          <p:sp>
            <p:nvSpPr>
              <p:cNvPr id="10" name="文本框 9">
                <a:extLst>
                  <a:ext uri="{FF2B5EF4-FFF2-40B4-BE49-F238E27FC236}">
                    <a16:creationId xmlns:a16="http://schemas.microsoft.com/office/drawing/2014/main" id="{E54A6ABE-F1FA-B980-3212-22CB573BAA93}"/>
                  </a:ext>
                </a:extLst>
              </p:cNvPr>
              <p:cNvSpPr txBox="1"/>
              <p:nvPr/>
            </p:nvSpPr>
            <p:spPr>
              <a:xfrm>
                <a:off x="8594269" y="3324225"/>
                <a:ext cx="2786743" cy="1885949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 anchorCtr="0">
                <a:normAutofit/>
              </a:bodyPr>
              <a:lstStyle/>
              <a:p>
                <a:pPr>
                  <a:lnSpc>
                    <a:spcPct val="120000"/>
                  </a:lnSpc>
                </a:pPr>
                <a:endPara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6" name="文本框 5">
              <a:extLst>
                <a:ext uri="{FF2B5EF4-FFF2-40B4-BE49-F238E27FC236}">
                  <a16:creationId xmlns:a16="http://schemas.microsoft.com/office/drawing/2014/main" id="{1112831C-9EBC-22C6-6601-4CB188ECB25E}"/>
                </a:ext>
              </a:extLst>
            </p:cNvPr>
            <p:cNvSpPr txBox="1"/>
            <p:nvPr/>
          </p:nvSpPr>
          <p:spPr>
            <a:xfrm>
              <a:off x="1754177" y="2387190"/>
              <a:ext cx="3785384" cy="92333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zh-CN" altLang="en-US" b="0" i="0" dirty="0">
                  <a:solidFill>
                    <a:srgbClr val="333333"/>
                  </a:solidFill>
                  <a:effectLst/>
                  <a:highlight>
                    <a:srgbClr val="FFFFFF"/>
                  </a:highlight>
                  <a:latin typeface="微软雅黑" panose="020B0503020204020204" pitchFamily="34" charset="-122"/>
                  <a:ea typeface="微软雅黑" panose="020B0503020204020204" pitchFamily="34" charset="-122"/>
                </a:rPr>
                <a:t>产品特色</a:t>
              </a:r>
              <a:r>
                <a:rPr lang="en-US" altLang="zh-CN" b="0" i="0" dirty="0">
                  <a:solidFill>
                    <a:srgbClr val="333333"/>
                  </a:solidFill>
                  <a:effectLst/>
                  <a:highlight>
                    <a:srgbClr val="FFFFFF"/>
                  </a:highlight>
                  <a:latin typeface="微软雅黑" panose="020B0503020204020204" pitchFamily="34" charset="-122"/>
                  <a:ea typeface="微软雅黑" panose="020B0503020204020204" pitchFamily="34" charset="-122"/>
                </a:rPr>
                <a:t>(product features) </a:t>
              </a:r>
              <a:r>
                <a:rPr lang="zh-CN" altLang="en-US" b="0" i="0" dirty="0">
                  <a:solidFill>
                    <a:srgbClr val="333333"/>
                  </a:solidFill>
                  <a:effectLst/>
                  <a:highlight>
                    <a:srgbClr val="FFFFFF"/>
                  </a:highlight>
                  <a:latin typeface="微软雅黑" panose="020B0503020204020204" pitchFamily="34" charset="-122"/>
                  <a:ea typeface="微软雅黑" panose="020B0503020204020204" pitchFamily="34" charset="-122"/>
                </a:rPr>
                <a:t>是指产品</a:t>
              </a:r>
              <a:r>
                <a:rPr lang="zh-CN" altLang="en-US" b="1" i="0" u="sng" dirty="0">
                  <a:solidFill>
                    <a:srgbClr val="333333"/>
                  </a:solidFill>
                  <a:effectLst/>
                  <a:highlight>
                    <a:srgbClr val="FFFFFF"/>
                  </a:highlight>
                  <a:latin typeface="微软雅黑" panose="020B0503020204020204" pitchFamily="34" charset="-122"/>
                  <a:ea typeface="微软雅黑" panose="020B0503020204020204" pitchFamily="34" charset="-122"/>
                </a:rPr>
                <a:t>基本功能的某些增补</a:t>
              </a:r>
              <a:r>
                <a:rPr lang="zh-CN" altLang="en-US" b="0" i="0" dirty="0">
                  <a:solidFill>
                    <a:srgbClr val="333333"/>
                  </a:solidFill>
                  <a:effectLst/>
                  <a:highlight>
                    <a:srgbClr val="FFFFFF"/>
                  </a:highlight>
                  <a:latin typeface="微软雅黑" panose="020B0503020204020204" pitchFamily="34" charset="-122"/>
                  <a:ea typeface="微软雅黑" panose="020B0503020204020204" pitchFamily="34" charset="-122"/>
                </a:rPr>
                <a:t>，它也是产品差异化的一个常用工具</a:t>
              </a:r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" name="文本框 6">
              <a:extLst>
                <a:ext uri="{FF2B5EF4-FFF2-40B4-BE49-F238E27FC236}">
                  <a16:creationId xmlns:a16="http://schemas.microsoft.com/office/drawing/2014/main" id="{A21558F9-37DC-0F7F-10B5-46D2D4436B82}"/>
                </a:ext>
              </a:extLst>
            </p:cNvPr>
            <p:cNvSpPr txBox="1"/>
            <p:nvPr/>
          </p:nvSpPr>
          <p:spPr>
            <a:xfrm>
              <a:off x="1690370" y="3900704"/>
              <a:ext cx="3785384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zh-CN" altLang="en-US" b="1" i="0" dirty="0">
                  <a:solidFill>
                    <a:srgbClr val="F05A23"/>
                  </a:solidFill>
                  <a:effectLst/>
                  <a:highlight>
                    <a:srgbClr val="FFFFFF"/>
                  </a:highlight>
                  <a:latin typeface="微软雅黑" panose="020B0503020204020204" pitchFamily="34" charset="-122"/>
                  <a:ea typeface="微软雅黑" panose="020B0503020204020204" pitchFamily="34" charset="-122"/>
                </a:rPr>
                <a:t>产品视角：</a:t>
              </a:r>
              <a:endParaRPr lang="en-US" altLang="zh-CN" b="1" i="0" dirty="0">
                <a:solidFill>
                  <a:srgbClr val="F05A23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b="1" i="0" dirty="0">
                  <a:solidFill>
                    <a:srgbClr val="333333"/>
                  </a:solidFill>
                  <a:effectLst/>
                  <a:highlight>
                    <a:srgbClr val="FFFFFF"/>
                  </a:highlight>
                  <a:latin typeface="微软雅黑" panose="020B0503020204020204" pitchFamily="34" charset="-122"/>
                  <a:ea typeface="微软雅黑" panose="020B0503020204020204" pitchFamily="34" charset="-122"/>
                </a:rPr>
                <a:t>我们产品跟别人不一样的地方</a:t>
              </a:r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1" name="组合 10">
            <a:extLst>
              <a:ext uri="{FF2B5EF4-FFF2-40B4-BE49-F238E27FC236}">
                <a16:creationId xmlns:a16="http://schemas.microsoft.com/office/drawing/2014/main" id="{6DA20721-7CD9-8A56-9F40-F19A2F52C6D8}"/>
              </a:ext>
            </a:extLst>
          </p:cNvPr>
          <p:cNvGrpSpPr/>
          <p:nvPr/>
        </p:nvGrpSpPr>
        <p:grpSpPr>
          <a:xfrm>
            <a:off x="6496596" y="2994967"/>
            <a:ext cx="4289223" cy="3083103"/>
            <a:chOff x="1438454" y="973211"/>
            <a:chExt cx="4289223" cy="4113416"/>
          </a:xfrm>
        </p:grpSpPr>
        <p:grpSp>
          <p:nvGrpSpPr>
            <p:cNvPr id="12" name="组合 11">
              <a:extLst>
                <a:ext uri="{FF2B5EF4-FFF2-40B4-BE49-F238E27FC236}">
                  <a16:creationId xmlns:a16="http://schemas.microsoft.com/office/drawing/2014/main" id="{33D69E69-6AD8-B5BF-398B-99E53FBCED39}"/>
                </a:ext>
              </a:extLst>
            </p:cNvPr>
            <p:cNvGrpSpPr/>
            <p:nvPr/>
          </p:nvGrpSpPr>
          <p:grpSpPr>
            <a:xfrm>
              <a:off x="1438454" y="973211"/>
              <a:ext cx="4289223" cy="4113416"/>
              <a:chOff x="8456385" y="2378530"/>
              <a:chExt cx="3062515" cy="3052114"/>
            </a:xfrm>
          </p:grpSpPr>
          <p:sp>
            <p:nvSpPr>
              <p:cNvPr id="15" name="矩形: 圆角 14">
                <a:extLst>
                  <a:ext uri="{FF2B5EF4-FFF2-40B4-BE49-F238E27FC236}">
                    <a16:creationId xmlns:a16="http://schemas.microsoft.com/office/drawing/2014/main" id="{95C2054F-CABA-8DF7-025A-3591D182B22D}"/>
                  </a:ext>
                </a:extLst>
              </p:cNvPr>
              <p:cNvSpPr/>
              <p:nvPr/>
            </p:nvSpPr>
            <p:spPr>
              <a:xfrm>
                <a:off x="8456385" y="2757714"/>
                <a:ext cx="3062515" cy="2672930"/>
              </a:xfrm>
              <a:prstGeom prst="roundRect">
                <a:avLst>
                  <a:gd name="adj" fmla="val 1648"/>
                </a:avLst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6" name="任意多边形: 形状 15">
                <a:extLst>
                  <a:ext uri="{FF2B5EF4-FFF2-40B4-BE49-F238E27FC236}">
                    <a16:creationId xmlns:a16="http://schemas.microsoft.com/office/drawing/2014/main" id="{98697A5D-492C-6045-C885-45744EB4941B}"/>
                  </a:ext>
                </a:extLst>
              </p:cNvPr>
              <p:cNvSpPr/>
              <p:nvPr/>
            </p:nvSpPr>
            <p:spPr>
              <a:xfrm>
                <a:off x="8594271" y="2378530"/>
                <a:ext cx="2786743" cy="825199"/>
              </a:xfrm>
              <a:custGeom>
                <a:avLst/>
                <a:gdLst>
                  <a:gd name="connsiteX0" fmla="*/ 116162 w 2786743"/>
                  <a:gd name="connsiteY0" fmla="*/ 0 h 825199"/>
                  <a:gd name="connsiteX1" fmla="*/ 2670581 w 2786743"/>
                  <a:gd name="connsiteY1" fmla="*/ 0 h 825199"/>
                  <a:gd name="connsiteX2" fmla="*/ 2786743 w 2786743"/>
                  <a:gd name="connsiteY2" fmla="*/ 116162 h 825199"/>
                  <a:gd name="connsiteX3" fmla="*/ 2786743 w 2786743"/>
                  <a:gd name="connsiteY3" fmla="*/ 580798 h 825199"/>
                  <a:gd name="connsiteX4" fmla="*/ 2670581 w 2786743"/>
                  <a:gd name="connsiteY4" fmla="*/ 696960 h 825199"/>
                  <a:gd name="connsiteX5" fmla="*/ 384895 w 2786743"/>
                  <a:gd name="connsiteY5" fmla="*/ 696960 h 825199"/>
                  <a:gd name="connsiteX6" fmla="*/ 312412 w 2786743"/>
                  <a:gd name="connsiteY6" fmla="*/ 825199 h 825199"/>
                  <a:gd name="connsiteX7" fmla="*/ 239929 w 2786743"/>
                  <a:gd name="connsiteY7" fmla="*/ 696960 h 825199"/>
                  <a:gd name="connsiteX8" fmla="*/ 116162 w 2786743"/>
                  <a:gd name="connsiteY8" fmla="*/ 696960 h 825199"/>
                  <a:gd name="connsiteX9" fmla="*/ 0 w 2786743"/>
                  <a:gd name="connsiteY9" fmla="*/ 580798 h 825199"/>
                  <a:gd name="connsiteX10" fmla="*/ 0 w 2786743"/>
                  <a:gd name="connsiteY10" fmla="*/ 116162 h 825199"/>
                  <a:gd name="connsiteX11" fmla="*/ 116162 w 2786743"/>
                  <a:gd name="connsiteY11" fmla="*/ 0 h 825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786743" h="825199">
                    <a:moveTo>
                      <a:pt x="116162" y="0"/>
                    </a:moveTo>
                    <a:lnTo>
                      <a:pt x="2670581" y="0"/>
                    </a:lnTo>
                    <a:cubicBezTo>
                      <a:pt x="2734736" y="0"/>
                      <a:pt x="2786743" y="52007"/>
                      <a:pt x="2786743" y="116162"/>
                    </a:cubicBezTo>
                    <a:lnTo>
                      <a:pt x="2786743" y="580798"/>
                    </a:lnTo>
                    <a:cubicBezTo>
                      <a:pt x="2786743" y="644953"/>
                      <a:pt x="2734736" y="696960"/>
                      <a:pt x="2670581" y="696960"/>
                    </a:cubicBezTo>
                    <a:lnTo>
                      <a:pt x="384895" y="696960"/>
                    </a:lnTo>
                    <a:lnTo>
                      <a:pt x="312412" y="825199"/>
                    </a:lnTo>
                    <a:lnTo>
                      <a:pt x="239929" y="696960"/>
                    </a:lnTo>
                    <a:lnTo>
                      <a:pt x="116162" y="696960"/>
                    </a:lnTo>
                    <a:cubicBezTo>
                      <a:pt x="52007" y="696960"/>
                      <a:pt x="0" y="644953"/>
                      <a:pt x="0" y="580798"/>
                    </a:cubicBezTo>
                    <a:lnTo>
                      <a:pt x="0" y="116162"/>
                    </a:lnTo>
                    <a:cubicBezTo>
                      <a:pt x="0" y="52007"/>
                      <a:pt x="52007" y="0"/>
                      <a:pt x="116162" y="0"/>
                    </a:cubicBezTo>
                    <a:close/>
                  </a:path>
                </a:pathLst>
              </a:custGeom>
              <a:solidFill>
                <a:srgbClr val="FDE6DE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 anchorCtr="1">
                <a:normAutofit/>
              </a:bodyPr>
              <a:lstStyle/>
              <a:p>
                <a:pPr algn="ctr"/>
                <a:r>
                  <a:rPr lang="zh-CN" altLang="en-US" b="1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产品卖点</a:t>
                </a:r>
              </a:p>
            </p:txBody>
          </p:sp>
          <p:sp>
            <p:nvSpPr>
              <p:cNvPr id="21" name="文本框 20">
                <a:extLst>
                  <a:ext uri="{FF2B5EF4-FFF2-40B4-BE49-F238E27FC236}">
                    <a16:creationId xmlns:a16="http://schemas.microsoft.com/office/drawing/2014/main" id="{2384DAB9-2B9B-8C41-A84E-98B4E4210B20}"/>
                  </a:ext>
                </a:extLst>
              </p:cNvPr>
              <p:cNvSpPr txBox="1"/>
              <p:nvPr/>
            </p:nvSpPr>
            <p:spPr>
              <a:xfrm>
                <a:off x="8594269" y="3324225"/>
                <a:ext cx="2786743" cy="1885949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 anchorCtr="0">
                <a:normAutofit/>
              </a:bodyPr>
              <a:lstStyle/>
              <a:p>
                <a:pPr>
                  <a:lnSpc>
                    <a:spcPct val="120000"/>
                  </a:lnSpc>
                </a:pPr>
                <a:endPara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CD0030E3-FD3D-BE34-4ED8-FD9FCCCB160D}"/>
                </a:ext>
              </a:extLst>
            </p:cNvPr>
            <p:cNvSpPr txBox="1"/>
            <p:nvPr/>
          </p:nvSpPr>
          <p:spPr>
            <a:xfrm>
              <a:off x="1690370" y="2629341"/>
              <a:ext cx="3785384" cy="49275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b="0" i="0" dirty="0">
                  <a:solidFill>
                    <a:srgbClr val="333333"/>
                  </a:solidFill>
                  <a:effectLst/>
                  <a:highlight>
                    <a:srgbClr val="FFFFFF"/>
                  </a:highlight>
                  <a:latin typeface="微软雅黑" panose="020B0503020204020204" pitchFamily="34" charset="-122"/>
                  <a:ea typeface="微软雅黑" panose="020B0503020204020204" pitchFamily="34" charset="-122"/>
                </a:rPr>
                <a:t>产品卖点</a:t>
              </a:r>
              <a:r>
                <a:rPr lang="en-US" altLang="zh-CN" b="0" i="0" dirty="0">
                  <a:solidFill>
                    <a:srgbClr val="333333"/>
                  </a:solidFill>
                  <a:effectLst/>
                  <a:highlight>
                    <a:srgbClr val="FFFFFF"/>
                  </a:highlight>
                  <a:latin typeface="微软雅黑" panose="020B0503020204020204" pitchFamily="34" charset="-122"/>
                  <a:ea typeface="微软雅黑" panose="020B0503020204020204" pitchFamily="34" charset="-122"/>
                </a:rPr>
                <a:t>=</a:t>
              </a:r>
              <a:r>
                <a:rPr lang="zh-CN" altLang="en-US" b="0" i="0" dirty="0">
                  <a:solidFill>
                    <a:srgbClr val="333333"/>
                  </a:solidFill>
                  <a:effectLst/>
                  <a:highlight>
                    <a:srgbClr val="FFFFFF"/>
                  </a:highlight>
                  <a:latin typeface="微软雅黑" panose="020B0503020204020204" pitchFamily="34" charset="-122"/>
                  <a:ea typeface="微软雅黑" panose="020B0503020204020204" pitchFamily="34" charset="-122"/>
                </a:rPr>
                <a:t>产品特色</a:t>
              </a:r>
              <a:r>
                <a:rPr lang="en-US" altLang="zh-CN" b="0" i="0" dirty="0">
                  <a:solidFill>
                    <a:srgbClr val="333333"/>
                  </a:solidFill>
                  <a:effectLst/>
                  <a:highlight>
                    <a:srgbClr val="FFFFFF"/>
                  </a:highlight>
                  <a:latin typeface="微软雅黑" panose="020B0503020204020204" pitchFamily="34" charset="-122"/>
                  <a:ea typeface="微软雅黑" panose="020B0503020204020204" pitchFamily="34" charset="-122"/>
                </a:rPr>
                <a:t>+</a:t>
              </a:r>
              <a:r>
                <a:rPr lang="zh-CN" altLang="en-US" b="0" i="0" dirty="0">
                  <a:solidFill>
                    <a:srgbClr val="333333"/>
                  </a:solidFill>
                  <a:effectLst/>
                  <a:highlight>
                    <a:srgbClr val="FFFFFF"/>
                  </a:highlight>
                  <a:latin typeface="微软雅黑" panose="020B0503020204020204" pitchFamily="34" charset="-122"/>
                  <a:ea typeface="微软雅黑" panose="020B0503020204020204" pitchFamily="34" charset="-122"/>
                </a:rPr>
                <a:t>用户需求</a:t>
              </a:r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" name="文本框 13">
              <a:extLst>
                <a:ext uri="{FF2B5EF4-FFF2-40B4-BE49-F238E27FC236}">
                  <a16:creationId xmlns:a16="http://schemas.microsoft.com/office/drawing/2014/main" id="{F7070B15-7E22-7C0A-2E7C-9BF81F790575}"/>
                </a:ext>
              </a:extLst>
            </p:cNvPr>
            <p:cNvSpPr txBox="1"/>
            <p:nvPr/>
          </p:nvSpPr>
          <p:spPr>
            <a:xfrm>
              <a:off x="1690370" y="3553065"/>
              <a:ext cx="3785384" cy="92333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zh-CN" altLang="en-US" b="1" i="0" dirty="0">
                  <a:solidFill>
                    <a:srgbClr val="F05A23"/>
                  </a:solidFill>
                  <a:effectLst/>
                  <a:highlight>
                    <a:srgbClr val="FFFFFF"/>
                  </a:highlight>
                  <a:latin typeface="微软雅黑" panose="020B0503020204020204" pitchFamily="34" charset="-122"/>
                  <a:ea typeface="微软雅黑" panose="020B0503020204020204" pitchFamily="34" charset="-122"/>
                </a:rPr>
                <a:t>用户视角：</a:t>
              </a:r>
              <a:endParaRPr lang="en-US" altLang="zh-CN" b="1" i="0" dirty="0">
                <a:solidFill>
                  <a:srgbClr val="F05A23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b="1" i="0" dirty="0">
                  <a:solidFill>
                    <a:srgbClr val="333333"/>
                  </a:solidFill>
                  <a:effectLst/>
                  <a:highlight>
                    <a:srgbClr val="FFFFFF"/>
                  </a:highlight>
                  <a:latin typeface="微软雅黑" panose="020B0503020204020204" pitchFamily="34" charset="-122"/>
                  <a:ea typeface="微软雅黑" panose="020B0503020204020204" pitchFamily="34" charset="-122"/>
                </a:rPr>
                <a:t>对用户有用、解决用户问题、用户买账的产品特色才是产品卖点</a:t>
              </a:r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22" name="矩形 21">
            <a:extLst>
              <a:ext uri="{FF2B5EF4-FFF2-40B4-BE49-F238E27FC236}">
                <a16:creationId xmlns:a16="http://schemas.microsoft.com/office/drawing/2014/main" id="{CAF0F73B-EC17-623A-F9B1-A3C03D7FE761}"/>
              </a:ext>
            </a:extLst>
          </p:cNvPr>
          <p:cNvSpPr>
            <a:spLocks/>
          </p:cNvSpPr>
          <p:nvPr/>
        </p:nvSpPr>
        <p:spPr>
          <a:xfrm>
            <a:off x="835442" y="1797755"/>
            <a:ext cx="10858500" cy="553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b" anchorCtr="0">
            <a:normAutofit/>
          </a:bodyPr>
          <a:lstStyle/>
          <a:p>
            <a:pPr algn="ctr">
              <a:buSzPct val="25000"/>
            </a:pPr>
            <a:r>
              <a:rPr lang="zh-CN" altLang="en-US" sz="2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特色和卖点最大的区别在于，一个是</a:t>
            </a:r>
            <a:r>
              <a:rPr lang="zh-CN" altLang="en-US" sz="3000" b="1" dirty="0">
                <a:solidFill>
                  <a:srgbClr val="F05A2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品视角</a:t>
            </a:r>
            <a:r>
              <a:rPr lang="zh-CN" altLang="en-US" sz="2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一个是</a:t>
            </a:r>
            <a:r>
              <a:rPr lang="zh-CN" altLang="en-US" sz="3000" b="1" dirty="0">
                <a:solidFill>
                  <a:srgbClr val="F05A2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户视角</a:t>
            </a:r>
            <a:endParaRPr lang="en-US" altLang="zh-CN" sz="3000" b="1" dirty="0">
              <a:solidFill>
                <a:srgbClr val="F05A2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11405870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图片 39">
            <a:extLst>
              <a:ext uri="{FF2B5EF4-FFF2-40B4-BE49-F238E27FC236}">
                <a16:creationId xmlns:a16="http://schemas.microsoft.com/office/drawing/2014/main" id="{7CB1490E-39EF-785B-93D8-3B5E023A7BD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9418" y="253211"/>
            <a:ext cx="1837445" cy="501494"/>
          </a:xfrm>
          <a:prstGeom prst="rect">
            <a:avLst/>
          </a:prstGeom>
        </p:spPr>
      </p:pic>
      <p:sp>
        <p:nvSpPr>
          <p:cNvPr id="2" name="PA_文本框 21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>
            <a:extLst>
              <a:ext uri="{FF2B5EF4-FFF2-40B4-BE49-F238E27FC236}">
                <a16:creationId xmlns:a16="http://schemas.microsoft.com/office/drawing/2014/main" id="{EB15CC80-CF2A-2BCF-9F74-8937D327667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80230" y="330214"/>
            <a:ext cx="5152913" cy="46166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zh-CN"/>
            </a:defPPr>
            <a:lvl1pPr marL="12700" marR="0" lvl="0" indent="0" fontAlgn="auto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F05A23"/>
                </a:solidFill>
                <a:effectLst/>
                <a:uLnTx/>
                <a:uFillTx/>
                <a:latin typeface="Arial"/>
                <a:ea typeface="华文楷体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  <a:lvl6pPr>
              <a:defRPr>
                <a:latin typeface="+mn-lt"/>
                <a:ea typeface="+mn-ea"/>
                <a:cs typeface="+mn-cs"/>
              </a:defRPr>
            </a:lvl6pPr>
            <a:lvl7pPr>
              <a:defRPr>
                <a:latin typeface="+mn-lt"/>
                <a:ea typeface="+mn-ea"/>
                <a:cs typeface="+mn-cs"/>
              </a:defRPr>
            </a:lvl7pPr>
            <a:lvl8pPr>
              <a:defRPr>
                <a:latin typeface="+mn-lt"/>
                <a:ea typeface="+mn-ea"/>
                <a:cs typeface="+mn-cs"/>
              </a:defRPr>
            </a:lvl8pPr>
            <a:lvl9pPr>
              <a:defRPr>
                <a:latin typeface="+mn-lt"/>
                <a:ea typeface="+mn-ea"/>
                <a:cs typeface="+mn-cs"/>
              </a:defRPr>
            </a:lvl9pPr>
          </a:lstStyle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</a:t>
            </a:r>
            <a:r>
              <a:rPr lang="en-US" altLang="zh-CN" sz="2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2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步：实用内容，激发欲望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2B23F7BC-282A-284C-1BC8-0CF3B481E51A}"/>
              </a:ext>
            </a:extLst>
          </p:cNvPr>
          <p:cNvSpPr txBox="1"/>
          <p:nvPr/>
        </p:nvSpPr>
        <p:spPr>
          <a:xfrm>
            <a:off x="280650" y="358385"/>
            <a:ext cx="6744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.1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CAF0F73B-EC17-623A-F9B1-A3C03D7FE761}"/>
              </a:ext>
            </a:extLst>
          </p:cNvPr>
          <p:cNvSpPr>
            <a:spLocks/>
          </p:cNvSpPr>
          <p:nvPr/>
        </p:nvSpPr>
        <p:spPr>
          <a:xfrm>
            <a:off x="835442" y="1797755"/>
            <a:ext cx="10858500" cy="553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b" anchorCtr="0">
            <a:normAutofit/>
          </a:bodyPr>
          <a:lstStyle/>
          <a:p>
            <a:pPr algn="ctr">
              <a:buSzPct val="25000"/>
            </a:pPr>
            <a:r>
              <a:rPr lang="en-US" altLang="zh-CN" sz="2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2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句式，把产品</a:t>
            </a:r>
            <a:r>
              <a:rPr lang="zh-CN" altLang="en-US" sz="3000" b="1" dirty="0">
                <a:solidFill>
                  <a:srgbClr val="F05A2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特色转为卖点</a:t>
            </a:r>
          </a:p>
        </p:txBody>
      </p:sp>
      <p:grpSp>
        <p:nvGrpSpPr>
          <p:cNvPr id="23" name="组合 22">
            <a:extLst>
              <a:ext uri="{FF2B5EF4-FFF2-40B4-BE49-F238E27FC236}">
                <a16:creationId xmlns:a16="http://schemas.microsoft.com/office/drawing/2014/main" id="{1238CED5-2560-8E7E-66B6-9DA5B47C7335}"/>
              </a:ext>
            </a:extLst>
          </p:cNvPr>
          <p:cNvGrpSpPr/>
          <p:nvPr/>
        </p:nvGrpSpPr>
        <p:grpSpPr>
          <a:xfrm>
            <a:off x="1281444" y="2769304"/>
            <a:ext cx="9703397" cy="3181671"/>
            <a:chOff x="1136139" y="3317944"/>
            <a:chExt cx="9703397" cy="3181671"/>
          </a:xfrm>
        </p:grpSpPr>
        <p:sp>
          <p:nvSpPr>
            <p:cNvPr id="17" name="矩形: 对角圆角 16">
              <a:extLst>
                <a:ext uri="{FF2B5EF4-FFF2-40B4-BE49-F238E27FC236}">
                  <a16:creationId xmlns:a16="http://schemas.microsoft.com/office/drawing/2014/main" id="{57F29F24-1B6B-D08C-77E1-5ABE4DB3D57D}"/>
                </a:ext>
              </a:extLst>
            </p:cNvPr>
            <p:cNvSpPr/>
            <p:nvPr/>
          </p:nvSpPr>
          <p:spPr>
            <a:xfrm>
              <a:off x="1136139" y="3317944"/>
              <a:ext cx="9703397" cy="3181671"/>
            </a:xfrm>
            <a:prstGeom prst="round2DiagRect">
              <a:avLst/>
            </a:prstGeom>
            <a:solidFill>
              <a:srgbClr val="FDE6DE">
                <a:alpha val="52000"/>
              </a:srgbClr>
            </a:solidFill>
            <a:ln w="12700" cap="flat">
              <a:solidFill>
                <a:schemeClr val="accent1"/>
              </a:solidFill>
              <a:prstDash val="solid"/>
              <a:miter/>
            </a:ln>
            <a:effectLst/>
          </p:spPr>
          <p:txBody>
            <a:bodyPr rtlCol="0" anchor="ctr"/>
            <a:lstStyle/>
            <a:p>
              <a:endPara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6CF01A7A-B2E7-A8DC-26A3-82B4DAFF92B9}"/>
                </a:ext>
              </a:extLst>
            </p:cNvPr>
            <p:cNvSpPr/>
            <p:nvPr/>
          </p:nvSpPr>
          <p:spPr>
            <a:xfrm>
              <a:off x="1270758" y="3476701"/>
              <a:ext cx="8662405" cy="77826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08000" tIns="108000" rIns="108000" bIns="108000" rtlCol="0" anchor="t" anchorCtr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kumimoji="1" lang="zh-CN" altLang="en-US" sz="2800" b="1" u="sng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由于</a:t>
              </a:r>
              <a:r>
                <a:rPr kumimoji="1" lang="en-US" altLang="zh-CN" sz="2800" b="1" u="sng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……</a:t>
              </a:r>
              <a:r>
                <a:rPr kumimoji="1" lang="zh-CN" altLang="en-US" sz="2800" b="1" u="sng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（产品特色），意味着</a:t>
              </a:r>
              <a:r>
                <a:rPr kumimoji="1" lang="en-US" altLang="zh-CN" sz="2800" b="1" u="sng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……</a:t>
              </a:r>
              <a:r>
                <a:rPr kumimoji="1" lang="zh-CN" altLang="en-US" sz="2800" b="1" u="sng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（用户需求）</a:t>
              </a:r>
              <a:endParaRPr kumimoji="1" lang="en-US" altLang="zh-CN" sz="2800" b="1" u="sng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" name="文本框 19">
              <a:extLst>
                <a:ext uri="{FF2B5EF4-FFF2-40B4-BE49-F238E27FC236}">
                  <a16:creationId xmlns:a16="http://schemas.microsoft.com/office/drawing/2014/main" id="{0FA6682C-28B5-2311-4C1E-4C84FF236864}"/>
                </a:ext>
              </a:extLst>
            </p:cNvPr>
            <p:cNvSpPr txBox="1"/>
            <p:nvPr/>
          </p:nvSpPr>
          <p:spPr>
            <a:xfrm>
              <a:off x="1136141" y="4520537"/>
              <a:ext cx="9509759" cy="152862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indent="-285750">
                <a:lnSpc>
                  <a:spcPts val="2800"/>
                </a:lnSpc>
                <a:buFont typeface="Wingdings" panose="05000000000000000000" pitchFamily="2" charset="2"/>
                <a:buChar char="Ø"/>
              </a:pPr>
              <a:r>
                <a:rPr lang="zh-CN" altLang="en-US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因为</a:t>
              </a:r>
              <a:r>
                <a:rPr lang="en-US" altLang="zh-CN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one</a:t>
              </a:r>
              <a:r>
                <a:rPr lang="zh-CN" altLang="en-US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平安的</a:t>
              </a:r>
              <a:r>
                <a:rPr lang="zh-CN" altLang="en-US" dirty="0">
                  <a:solidFill>
                    <a:srgbClr val="F05A23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线上元宇宙</a:t>
              </a:r>
              <a:r>
                <a:rPr lang="zh-CN" altLang="en-US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特征，意味着代理人</a:t>
              </a:r>
              <a:r>
                <a:rPr lang="zh-CN" altLang="en-US" dirty="0">
                  <a:solidFill>
                    <a:srgbClr val="F3774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不用去线下展厅，也能带客户参观</a:t>
              </a:r>
              <a:endParaRPr lang="en-US" altLang="zh-CN" dirty="0">
                <a:solidFill>
                  <a:srgbClr val="F3774B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285750" indent="-285750">
                <a:lnSpc>
                  <a:spcPts val="2800"/>
                </a:lnSpc>
                <a:buFont typeface="Wingdings" panose="05000000000000000000" pitchFamily="2" charset="2"/>
                <a:buChar char="Ø"/>
              </a:pPr>
              <a:r>
                <a:rPr lang="zh-CN" altLang="en-US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因为</a:t>
              </a:r>
              <a:r>
                <a:rPr lang="en-US" altLang="zh-CN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one</a:t>
              </a:r>
              <a:r>
                <a:rPr lang="zh-CN" altLang="en-US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平安有互动剧情演绎，意味着</a:t>
              </a:r>
              <a:r>
                <a:rPr lang="zh-CN" altLang="en-US" dirty="0">
                  <a:solidFill>
                    <a:srgbClr val="F05A23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不用客户去脑补，直观能感受</a:t>
              </a:r>
              <a:endParaRPr lang="en-US" altLang="zh-CN" dirty="0">
                <a:solidFill>
                  <a:srgbClr val="F05A23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285750" indent="-285750">
                <a:lnSpc>
                  <a:spcPts val="2800"/>
                </a:lnSpc>
                <a:buFont typeface="Wingdings" panose="05000000000000000000" pitchFamily="2" charset="2"/>
                <a:buChar char="Ø"/>
              </a:pPr>
              <a:r>
                <a:rPr lang="zh-CN" altLang="en-US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因为</a:t>
              </a:r>
              <a:r>
                <a:rPr lang="en-US" altLang="zh-CN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one</a:t>
              </a:r>
              <a:r>
                <a:rPr lang="zh-CN" altLang="en-US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平安有数字人辅助讲解，意味着当但代理人讲不清楚的时候可以直接用数字人辅助，他</a:t>
              </a:r>
              <a:r>
                <a:rPr lang="zh-CN" altLang="en-US" dirty="0">
                  <a:solidFill>
                    <a:srgbClr val="F05A23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不用去记忆复杂内容，也能清晰讲解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7683966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图片 39">
            <a:extLst>
              <a:ext uri="{FF2B5EF4-FFF2-40B4-BE49-F238E27FC236}">
                <a16:creationId xmlns:a16="http://schemas.microsoft.com/office/drawing/2014/main" id="{7CB1490E-39EF-785B-93D8-3B5E023A7BD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9418" y="253211"/>
            <a:ext cx="1837445" cy="501494"/>
          </a:xfrm>
          <a:prstGeom prst="rect">
            <a:avLst/>
          </a:prstGeom>
        </p:spPr>
      </p:pic>
      <p:sp>
        <p:nvSpPr>
          <p:cNvPr id="2" name="PA_文本框 21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>
            <a:extLst>
              <a:ext uri="{FF2B5EF4-FFF2-40B4-BE49-F238E27FC236}">
                <a16:creationId xmlns:a16="http://schemas.microsoft.com/office/drawing/2014/main" id="{EB15CC80-CF2A-2BCF-9F74-8937D327667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80230" y="330214"/>
            <a:ext cx="5152913" cy="46166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zh-CN"/>
            </a:defPPr>
            <a:lvl1pPr marL="12700" marR="0" lvl="0" indent="0" fontAlgn="auto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F05A23"/>
                </a:solidFill>
                <a:effectLst/>
                <a:uLnTx/>
                <a:uFillTx/>
                <a:latin typeface="Arial"/>
                <a:ea typeface="华文楷体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  <a:lvl6pPr>
              <a:defRPr>
                <a:latin typeface="+mn-lt"/>
                <a:ea typeface="+mn-ea"/>
                <a:cs typeface="+mn-cs"/>
              </a:defRPr>
            </a:lvl6pPr>
            <a:lvl7pPr>
              <a:defRPr>
                <a:latin typeface="+mn-lt"/>
                <a:ea typeface="+mn-ea"/>
                <a:cs typeface="+mn-cs"/>
              </a:defRPr>
            </a:lvl7pPr>
            <a:lvl8pPr>
              <a:defRPr>
                <a:latin typeface="+mn-lt"/>
                <a:ea typeface="+mn-ea"/>
                <a:cs typeface="+mn-cs"/>
              </a:defRPr>
            </a:lvl8pPr>
            <a:lvl9pPr>
              <a:defRPr>
                <a:latin typeface="+mn-lt"/>
                <a:ea typeface="+mn-ea"/>
                <a:cs typeface="+mn-cs"/>
              </a:defRPr>
            </a:lvl9pPr>
          </a:lstStyle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</a:t>
            </a:r>
            <a:r>
              <a:rPr lang="en-US" altLang="zh-CN" sz="2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2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步：实用内容，激发欲望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2B23F7BC-282A-284C-1BC8-0CF3B481E51A}"/>
              </a:ext>
            </a:extLst>
          </p:cNvPr>
          <p:cNvSpPr txBox="1"/>
          <p:nvPr/>
        </p:nvSpPr>
        <p:spPr>
          <a:xfrm>
            <a:off x="280650" y="358385"/>
            <a:ext cx="6744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.2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箭头: 下 2">
            <a:extLst>
              <a:ext uri="{FF2B5EF4-FFF2-40B4-BE49-F238E27FC236}">
                <a16:creationId xmlns:a16="http://schemas.microsoft.com/office/drawing/2014/main" id="{0F671687-8451-89FD-4D4D-42766CF1DB0D}"/>
              </a:ext>
            </a:extLst>
          </p:cNvPr>
          <p:cNvSpPr/>
          <p:nvPr/>
        </p:nvSpPr>
        <p:spPr>
          <a:xfrm flipV="1">
            <a:off x="5682044" y="4504668"/>
            <a:ext cx="622240" cy="537686"/>
          </a:xfrm>
          <a:prstGeom prst="downArrow">
            <a:avLst/>
          </a:prstGeom>
          <a:gradFill>
            <a:gsLst>
              <a:gs pos="0">
                <a:schemeClr val="accent1">
                  <a:lumMod val="5000"/>
                  <a:lumOff val="95000"/>
                  <a:alpha val="0"/>
                </a:schemeClr>
              </a:gs>
              <a:gs pos="8800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FF8DF2F6-12D4-40B7-F50A-8C2A268B5A23}"/>
              </a:ext>
            </a:extLst>
          </p:cNvPr>
          <p:cNvSpPr txBox="1">
            <a:spLocks/>
          </p:cNvSpPr>
          <p:nvPr/>
        </p:nvSpPr>
        <p:spPr>
          <a:xfrm>
            <a:off x="3471947" y="1702437"/>
            <a:ext cx="5015724" cy="547650"/>
          </a:xfrm>
          <a:prstGeom prst="snip2DiagRect">
            <a:avLst/>
          </a:prstGeom>
          <a:solidFill>
            <a:schemeClr val="accent1"/>
          </a:solidFill>
          <a:ln w="25400">
            <a:noFill/>
          </a:ln>
        </p:spPr>
        <p:txBody>
          <a:bodyPr wrap="square" lIns="91440" tIns="45720" rIns="91440" bIns="45720" rtlCol="0" anchor="ctr" anchorCtr="0">
            <a:normAutofit lnSpcReduction="10000"/>
          </a:bodyPr>
          <a:lstStyle/>
          <a:p>
            <a:pPr algn="ctr"/>
            <a:r>
              <a:rPr kumimoji="1" lang="zh-CN" altLang="en-US" sz="24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调整后：用户视角的产品卖点</a:t>
            </a:r>
          </a:p>
        </p:txBody>
      </p:sp>
      <p:cxnSp>
        <p:nvCxnSpPr>
          <p:cNvPr id="6" name="直接箭头连接符 5">
            <a:extLst>
              <a:ext uri="{FF2B5EF4-FFF2-40B4-BE49-F238E27FC236}">
                <a16:creationId xmlns:a16="http://schemas.microsoft.com/office/drawing/2014/main" id="{EFBA7E5A-78FC-3BD3-ADDB-3277C6AAC4BE}"/>
              </a:ext>
            </a:extLst>
          </p:cNvPr>
          <p:cNvCxnSpPr>
            <a:cxnSpLocks/>
          </p:cNvCxnSpPr>
          <p:nvPr/>
        </p:nvCxnSpPr>
        <p:spPr>
          <a:xfrm>
            <a:off x="5979810" y="2237111"/>
            <a:ext cx="0" cy="209623"/>
          </a:xfrm>
          <a:prstGeom prst="straightConnector1">
            <a:avLst/>
          </a:prstGeom>
          <a:ln w="9525">
            <a:solidFill>
              <a:schemeClr val="accent1">
                <a:alpha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接箭头连接符 6">
            <a:extLst>
              <a:ext uri="{FF2B5EF4-FFF2-40B4-BE49-F238E27FC236}">
                <a16:creationId xmlns:a16="http://schemas.microsoft.com/office/drawing/2014/main" id="{C7F27D28-5615-5135-2A11-13004FB3E240}"/>
              </a:ext>
            </a:extLst>
          </p:cNvPr>
          <p:cNvCxnSpPr>
            <a:cxnSpLocks/>
          </p:cNvCxnSpPr>
          <p:nvPr/>
        </p:nvCxnSpPr>
        <p:spPr>
          <a:xfrm flipH="1" flipV="1">
            <a:off x="2396663" y="2446735"/>
            <a:ext cx="7193001" cy="35450"/>
          </a:xfrm>
          <a:prstGeom prst="straightConnector1">
            <a:avLst/>
          </a:prstGeom>
          <a:ln w="9525">
            <a:solidFill>
              <a:schemeClr val="accent1">
                <a:alpha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直接箭头连接符 7">
            <a:extLst>
              <a:ext uri="{FF2B5EF4-FFF2-40B4-BE49-F238E27FC236}">
                <a16:creationId xmlns:a16="http://schemas.microsoft.com/office/drawing/2014/main" id="{04D7628C-D41B-86B8-4784-27ACE7A68822}"/>
              </a:ext>
            </a:extLst>
          </p:cNvPr>
          <p:cNvCxnSpPr>
            <a:cxnSpLocks/>
          </p:cNvCxnSpPr>
          <p:nvPr/>
        </p:nvCxnSpPr>
        <p:spPr>
          <a:xfrm>
            <a:off x="2396668" y="2459446"/>
            <a:ext cx="4" cy="245074"/>
          </a:xfrm>
          <a:prstGeom prst="straightConnector1">
            <a:avLst/>
          </a:prstGeom>
          <a:ln w="9525">
            <a:solidFill>
              <a:schemeClr val="accent1">
                <a:alpha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箭头连接符 8">
            <a:extLst>
              <a:ext uri="{FF2B5EF4-FFF2-40B4-BE49-F238E27FC236}">
                <a16:creationId xmlns:a16="http://schemas.microsoft.com/office/drawing/2014/main" id="{0B31DE16-4159-3041-EB37-135FBD3E5576}"/>
              </a:ext>
            </a:extLst>
          </p:cNvPr>
          <p:cNvCxnSpPr>
            <a:cxnSpLocks/>
          </p:cNvCxnSpPr>
          <p:nvPr/>
        </p:nvCxnSpPr>
        <p:spPr>
          <a:xfrm>
            <a:off x="5979809" y="2459446"/>
            <a:ext cx="4" cy="245074"/>
          </a:xfrm>
          <a:prstGeom prst="straightConnector1">
            <a:avLst/>
          </a:prstGeom>
          <a:ln w="9525">
            <a:solidFill>
              <a:schemeClr val="accent1">
                <a:alpha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箭头连接符 9">
            <a:extLst>
              <a:ext uri="{FF2B5EF4-FFF2-40B4-BE49-F238E27FC236}">
                <a16:creationId xmlns:a16="http://schemas.microsoft.com/office/drawing/2014/main" id="{F36C39C2-CF89-DE76-5563-7DA17F66F49E}"/>
              </a:ext>
            </a:extLst>
          </p:cNvPr>
          <p:cNvCxnSpPr>
            <a:cxnSpLocks/>
          </p:cNvCxnSpPr>
          <p:nvPr/>
        </p:nvCxnSpPr>
        <p:spPr>
          <a:xfrm>
            <a:off x="9590409" y="2459446"/>
            <a:ext cx="4" cy="245074"/>
          </a:xfrm>
          <a:prstGeom prst="straightConnector1">
            <a:avLst/>
          </a:prstGeom>
          <a:ln w="9525">
            <a:solidFill>
              <a:schemeClr val="accent1">
                <a:alpha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组合 10">
            <a:extLst>
              <a:ext uri="{FF2B5EF4-FFF2-40B4-BE49-F238E27FC236}">
                <a16:creationId xmlns:a16="http://schemas.microsoft.com/office/drawing/2014/main" id="{5A136E9F-4363-81D0-D8B5-68A60C5F3340}"/>
              </a:ext>
            </a:extLst>
          </p:cNvPr>
          <p:cNvGrpSpPr/>
          <p:nvPr/>
        </p:nvGrpSpPr>
        <p:grpSpPr>
          <a:xfrm>
            <a:off x="852160" y="2718676"/>
            <a:ext cx="3089017" cy="1531043"/>
            <a:chOff x="714006" y="2167444"/>
            <a:chExt cx="2392974" cy="1162718"/>
          </a:xfrm>
        </p:grpSpPr>
        <p:sp>
          <p:nvSpPr>
            <p:cNvPr id="12" name="矩形: 圆角 11">
              <a:extLst>
                <a:ext uri="{FF2B5EF4-FFF2-40B4-BE49-F238E27FC236}">
                  <a16:creationId xmlns:a16="http://schemas.microsoft.com/office/drawing/2014/main" id="{5263272B-91F4-1942-EE02-FB4895F406D6}"/>
                </a:ext>
              </a:extLst>
            </p:cNvPr>
            <p:cNvSpPr/>
            <p:nvPr/>
          </p:nvSpPr>
          <p:spPr>
            <a:xfrm>
              <a:off x="714016" y="2167444"/>
              <a:ext cx="2392956" cy="1162718"/>
            </a:xfrm>
            <a:prstGeom prst="roundRect">
              <a:avLst>
                <a:gd name="adj" fmla="val 4796"/>
              </a:avLst>
            </a:prstGeom>
            <a:noFill/>
            <a:ln>
              <a:solidFill>
                <a:schemeClr val="accent1">
                  <a:alpha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" name="矩形 12">
              <a:extLst>
                <a:ext uri="{FF2B5EF4-FFF2-40B4-BE49-F238E27FC236}">
                  <a16:creationId xmlns:a16="http://schemas.microsoft.com/office/drawing/2014/main" id="{595A2B7D-ED63-884D-18EA-E6A2DB216136}"/>
                </a:ext>
              </a:extLst>
            </p:cNvPr>
            <p:cNvSpPr>
              <a:spLocks/>
            </p:cNvSpPr>
            <p:nvPr/>
          </p:nvSpPr>
          <p:spPr>
            <a:xfrm>
              <a:off x="714008" y="2167444"/>
              <a:ext cx="2392972" cy="40287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b" anchorCtr="1">
              <a:normAutofit/>
            </a:bodyPr>
            <a:lstStyle/>
            <a:p>
              <a:pPr algn="ctr"/>
              <a:endParaRPr kumimoji="1" lang="en-US" altLang="zh-CN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" name="矩形 13">
              <a:extLst>
                <a:ext uri="{FF2B5EF4-FFF2-40B4-BE49-F238E27FC236}">
                  <a16:creationId xmlns:a16="http://schemas.microsoft.com/office/drawing/2014/main" id="{7B986EA3-0EC0-5E4E-E3DD-081EA0EA511F}"/>
                </a:ext>
              </a:extLst>
            </p:cNvPr>
            <p:cNvSpPr>
              <a:spLocks/>
            </p:cNvSpPr>
            <p:nvPr/>
          </p:nvSpPr>
          <p:spPr>
            <a:xfrm flipH="1">
              <a:off x="714006" y="2683128"/>
              <a:ext cx="2392970" cy="6114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 anchorCtr="1">
              <a:normAutofit/>
            </a:bodyPr>
            <a:lstStyle/>
            <a:p>
              <a:pPr algn="ctr">
                <a:lnSpc>
                  <a:spcPct val="120000"/>
                </a:lnSpc>
              </a:pPr>
              <a:r>
                <a:rPr kumimoji="1" lang="zh-CN" altLang="en-US" sz="16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场景化销售，远程、面见都能用</a:t>
              </a:r>
            </a:p>
          </p:txBody>
        </p:sp>
      </p:grpSp>
      <p:grpSp>
        <p:nvGrpSpPr>
          <p:cNvPr id="15" name="组合 14">
            <a:extLst>
              <a:ext uri="{FF2B5EF4-FFF2-40B4-BE49-F238E27FC236}">
                <a16:creationId xmlns:a16="http://schemas.microsoft.com/office/drawing/2014/main" id="{15A3F17B-AB7D-BD53-5B68-9007D5744250}"/>
              </a:ext>
            </a:extLst>
          </p:cNvPr>
          <p:cNvGrpSpPr/>
          <p:nvPr/>
        </p:nvGrpSpPr>
        <p:grpSpPr>
          <a:xfrm>
            <a:off x="4448665" y="2718676"/>
            <a:ext cx="3089014" cy="1531043"/>
            <a:chOff x="3500117" y="2167444"/>
            <a:chExt cx="2392972" cy="1162718"/>
          </a:xfrm>
        </p:grpSpPr>
        <p:sp>
          <p:nvSpPr>
            <p:cNvPr id="16" name="矩形: 圆角 15">
              <a:extLst>
                <a:ext uri="{FF2B5EF4-FFF2-40B4-BE49-F238E27FC236}">
                  <a16:creationId xmlns:a16="http://schemas.microsoft.com/office/drawing/2014/main" id="{8928C593-251C-4FE7-B2A3-58EB7F684F2A}"/>
                </a:ext>
              </a:extLst>
            </p:cNvPr>
            <p:cNvSpPr/>
            <p:nvPr/>
          </p:nvSpPr>
          <p:spPr>
            <a:xfrm>
              <a:off x="3500125" y="2167444"/>
              <a:ext cx="2392956" cy="1162718"/>
            </a:xfrm>
            <a:prstGeom prst="roundRect">
              <a:avLst>
                <a:gd name="adj" fmla="val 4796"/>
              </a:avLst>
            </a:prstGeom>
            <a:noFill/>
            <a:ln>
              <a:solidFill>
                <a:schemeClr val="accent2">
                  <a:alpha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9" name="矩形 18">
              <a:extLst>
                <a:ext uri="{FF2B5EF4-FFF2-40B4-BE49-F238E27FC236}">
                  <a16:creationId xmlns:a16="http://schemas.microsoft.com/office/drawing/2014/main" id="{BF26573C-2864-4A16-A64D-0BBED7FBEA9D}"/>
                </a:ext>
              </a:extLst>
            </p:cNvPr>
            <p:cNvSpPr>
              <a:spLocks/>
            </p:cNvSpPr>
            <p:nvPr/>
          </p:nvSpPr>
          <p:spPr>
            <a:xfrm>
              <a:off x="3500117" y="2167444"/>
              <a:ext cx="2392972" cy="40287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b" anchorCtr="1">
              <a:normAutofit/>
            </a:bodyPr>
            <a:lstStyle/>
            <a:p>
              <a:pPr algn="ctr"/>
              <a:r>
                <a:rPr kumimoji="1" lang="zh-CN" altLang="en-US" b="1" u="sng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客户看的见、可感知</a:t>
              </a:r>
              <a:endParaRPr kumimoji="1" lang="en-US" altLang="zh-CN" b="1" u="sng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" name="矩形 20">
              <a:extLst>
                <a:ext uri="{FF2B5EF4-FFF2-40B4-BE49-F238E27FC236}">
                  <a16:creationId xmlns:a16="http://schemas.microsoft.com/office/drawing/2014/main" id="{E8E72180-1851-DD59-41D9-9522177BAEDD}"/>
                </a:ext>
              </a:extLst>
            </p:cNvPr>
            <p:cNvSpPr>
              <a:spLocks/>
            </p:cNvSpPr>
            <p:nvPr/>
          </p:nvSpPr>
          <p:spPr>
            <a:xfrm flipH="1">
              <a:off x="3500118" y="2610956"/>
              <a:ext cx="2392970" cy="6835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 anchorCtr="1">
              <a:normAutofit/>
            </a:bodyPr>
            <a:lstStyle/>
            <a:p>
              <a:pPr algn="ctr">
                <a:lnSpc>
                  <a:spcPct val="120000"/>
                </a:lnSpc>
              </a:pPr>
              <a:r>
                <a:rPr kumimoji="1" lang="sv-SE" altLang="zh-CN" sz="16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3D</a:t>
              </a:r>
              <a:r>
                <a:rPr kumimoji="1" lang="zh-CN" altLang="en-US" sz="16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视觉冲击</a:t>
              </a:r>
              <a:r>
                <a:rPr kumimoji="1" lang="en-US" altLang="zh-CN" sz="16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+</a:t>
              </a:r>
              <a:r>
                <a:rPr kumimoji="1" lang="zh-CN" altLang="en-US" sz="16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互动剧情演绎，内容直观无需客户脑补</a:t>
              </a:r>
              <a:endParaRPr kumimoji="1" lang="pt-BR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4" name="组合 23">
            <a:extLst>
              <a:ext uri="{FF2B5EF4-FFF2-40B4-BE49-F238E27FC236}">
                <a16:creationId xmlns:a16="http://schemas.microsoft.com/office/drawing/2014/main" id="{E03D423D-295F-1081-171D-0A3BE5A924F1}"/>
              </a:ext>
            </a:extLst>
          </p:cNvPr>
          <p:cNvGrpSpPr/>
          <p:nvPr/>
        </p:nvGrpSpPr>
        <p:grpSpPr>
          <a:xfrm>
            <a:off x="8045168" y="2718676"/>
            <a:ext cx="3088993" cy="1531043"/>
            <a:chOff x="6286226" y="2167444"/>
            <a:chExt cx="2392956" cy="1162718"/>
          </a:xfrm>
        </p:grpSpPr>
        <p:sp>
          <p:nvSpPr>
            <p:cNvPr id="25" name="矩形: 圆角 24">
              <a:extLst>
                <a:ext uri="{FF2B5EF4-FFF2-40B4-BE49-F238E27FC236}">
                  <a16:creationId xmlns:a16="http://schemas.microsoft.com/office/drawing/2014/main" id="{2EC5F296-9218-0633-4288-2EED83343A66}"/>
                </a:ext>
              </a:extLst>
            </p:cNvPr>
            <p:cNvSpPr/>
            <p:nvPr/>
          </p:nvSpPr>
          <p:spPr>
            <a:xfrm>
              <a:off x="6286226" y="2167444"/>
              <a:ext cx="2392956" cy="1162718"/>
            </a:xfrm>
            <a:prstGeom prst="roundRect">
              <a:avLst>
                <a:gd name="adj" fmla="val 4796"/>
              </a:avLst>
            </a:prstGeom>
            <a:noFill/>
            <a:ln>
              <a:solidFill>
                <a:schemeClr val="accent1">
                  <a:alpha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6" name="矩形 25">
              <a:extLst>
                <a:ext uri="{FF2B5EF4-FFF2-40B4-BE49-F238E27FC236}">
                  <a16:creationId xmlns:a16="http://schemas.microsoft.com/office/drawing/2014/main" id="{A37C6DE6-F007-27E8-7773-C0DEDCBD9512}"/>
                </a:ext>
              </a:extLst>
            </p:cNvPr>
            <p:cNvSpPr>
              <a:spLocks/>
            </p:cNvSpPr>
            <p:nvPr/>
          </p:nvSpPr>
          <p:spPr>
            <a:xfrm>
              <a:off x="6341935" y="2167444"/>
              <a:ext cx="2281538" cy="40287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b" anchorCtr="1">
              <a:normAutofit/>
            </a:bodyPr>
            <a:lstStyle/>
            <a:p>
              <a:pPr algn="ctr"/>
              <a:r>
                <a:rPr kumimoji="1" lang="zh-CN" altLang="en-US" b="1" u="sng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海量信息不愁记、不愁讲</a:t>
              </a:r>
              <a:endParaRPr kumimoji="1" lang="en-US" altLang="zh-CN" b="1" u="sng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7" name="矩形 26">
              <a:extLst>
                <a:ext uri="{FF2B5EF4-FFF2-40B4-BE49-F238E27FC236}">
                  <a16:creationId xmlns:a16="http://schemas.microsoft.com/office/drawing/2014/main" id="{8FD2D036-4683-D551-3AE4-CEBB55FE8023}"/>
                </a:ext>
              </a:extLst>
            </p:cNvPr>
            <p:cNvSpPr>
              <a:spLocks/>
            </p:cNvSpPr>
            <p:nvPr/>
          </p:nvSpPr>
          <p:spPr>
            <a:xfrm flipH="1">
              <a:off x="6341935" y="2610954"/>
              <a:ext cx="2281538" cy="68359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 anchorCtr="1">
              <a:normAutofit/>
            </a:bodyPr>
            <a:lstStyle/>
            <a:p>
              <a:pPr algn="ctr">
                <a:lnSpc>
                  <a:spcPct val="120000"/>
                </a:lnSpc>
              </a:pPr>
              <a:r>
                <a:rPr kumimoji="1" lang="zh-CN" altLang="en-US" sz="16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关键内容数字人辅助讲解，不忘词、不误传</a:t>
              </a:r>
              <a:endParaRPr kumimoji="1"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8" name="组合 27">
            <a:extLst>
              <a:ext uri="{FF2B5EF4-FFF2-40B4-BE49-F238E27FC236}">
                <a16:creationId xmlns:a16="http://schemas.microsoft.com/office/drawing/2014/main" id="{9C90FCAC-C29B-C6F1-66FB-DFF53DEAEE08}"/>
              </a:ext>
            </a:extLst>
          </p:cNvPr>
          <p:cNvGrpSpPr/>
          <p:nvPr/>
        </p:nvGrpSpPr>
        <p:grpSpPr>
          <a:xfrm>
            <a:off x="852161" y="5068017"/>
            <a:ext cx="10281999" cy="1318727"/>
            <a:chOff x="1768249" y="1314941"/>
            <a:chExt cx="7965182" cy="2203479"/>
          </a:xfrm>
        </p:grpSpPr>
        <p:sp>
          <p:nvSpPr>
            <p:cNvPr id="29" name="文本框 28">
              <a:extLst>
                <a:ext uri="{FF2B5EF4-FFF2-40B4-BE49-F238E27FC236}">
                  <a16:creationId xmlns:a16="http://schemas.microsoft.com/office/drawing/2014/main" id="{12A9C8FF-4E85-DF69-10B3-6D322BE7B123}"/>
                </a:ext>
              </a:extLst>
            </p:cNvPr>
            <p:cNvSpPr txBox="1">
              <a:spLocks/>
            </p:cNvSpPr>
            <p:nvPr/>
          </p:nvSpPr>
          <p:spPr>
            <a:xfrm>
              <a:off x="3946025" y="1314941"/>
              <a:ext cx="3885540" cy="675047"/>
            </a:xfrm>
            <a:prstGeom prst="snip2DiagRect">
              <a:avLst/>
            </a:prstGeom>
            <a:solidFill>
              <a:schemeClr val="bg1">
                <a:lumMod val="85000"/>
              </a:schemeClr>
            </a:solidFill>
            <a:ln w="25400">
              <a:noFill/>
            </a:ln>
          </p:spPr>
          <p:txBody>
            <a:bodyPr wrap="square" lIns="91440" tIns="45720" rIns="91440" bIns="45720" rtlCol="0" anchor="ctr" anchorCtr="0">
              <a:normAutofit fontScale="85000" lnSpcReduction="20000"/>
            </a:bodyPr>
            <a:lstStyle/>
            <a:p>
              <a:pPr algn="ctr"/>
              <a:r>
                <a:rPr kumimoji="1" lang="zh-CN" altLang="en-US" sz="2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调整前：产品视角的产品特色</a:t>
              </a:r>
            </a:p>
          </p:txBody>
        </p:sp>
        <p:cxnSp>
          <p:nvCxnSpPr>
            <p:cNvPr id="30" name="直接箭头连接符 29">
              <a:extLst>
                <a:ext uri="{FF2B5EF4-FFF2-40B4-BE49-F238E27FC236}">
                  <a16:creationId xmlns:a16="http://schemas.microsoft.com/office/drawing/2014/main" id="{C5A9F2C8-62E6-B284-C12B-4EF9208D8B06}"/>
                </a:ext>
              </a:extLst>
            </p:cNvPr>
            <p:cNvCxnSpPr>
              <a:cxnSpLocks/>
            </p:cNvCxnSpPr>
            <p:nvPr/>
          </p:nvCxnSpPr>
          <p:spPr>
            <a:xfrm>
              <a:off x="5740501" y="1989988"/>
              <a:ext cx="0" cy="159194"/>
            </a:xfrm>
            <a:prstGeom prst="straightConnector1">
              <a:avLst/>
            </a:prstGeom>
            <a:ln w="9525">
              <a:solidFill>
                <a:schemeClr val="accent1">
                  <a:alpha val="50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直接箭头连接符 30">
              <a:extLst>
                <a:ext uri="{FF2B5EF4-FFF2-40B4-BE49-F238E27FC236}">
                  <a16:creationId xmlns:a16="http://schemas.microsoft.com/office/drawing/2014/main" id="{C0D0A77A-B096-E6D8-79E2-8F100239641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964738" y="2149182"/>
              <a:ext cx="5572215" cy="26922"/>
            </a:xfrm>
            <a:prstGeom prst="straightConnector1">
              <a:avLst/>
            </a:prstGeom>
            <a:ln w="9525">
              <a:solidFill>
                <a:schemeClr val="accent1">
                  <a:alpha val="50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直接箭头连接符 31">
              <a:extLst>
                <a:ext uri="{FF2B5EF4-FFF2-40B4-BE49-F238E27FC236}">
                  <a16:creationId xmlns:a16="http://schemas.microsoft.com/office/drawing/2014/main" id="{82E5A64D-D720-43BA-8402-D87769E4AA28}"/>
                </a:ext>
              </a:extLst>
            </p:cNvPr>
            <p:cNvCxnSpPr>
              <a:cxnSpLocks/>
            </p:cNvCxnSpPr>
            <p:nvPr/>
          </p:nvCxnSpPr>
          <p:spPr>
            <a:xfrm>
              <a:off x="2964742" y="2158835"/>
              <a:ext cx="3" cy="186116"/>
            </a:xfrm>
            <a:prstGeom prst="straightConnector1">
              <a:avLst/>
            </a:prstGeom>
            <a:ln w="9525">
              <a:solidFill>
                <a:schemeClr val="accent1">
                  <a:alpha val="50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直接箭头连接符 32">
              <a:extLst>
                <a:ext uri="{FF2B5EF4-FFF2-40B4-BE49-F238E27FC236}">
                  <a16:creationId xmlns:a16="http://schemas.microsoft.com/office/drawing/2014/main" id="{6D421106-A874-EBC9-45E4-6966E9E87568}"/>
                </a:ext>
              </a:extLst>
            </p:cNvPr>
            <p:cNvCxnSpPr>
              <a:cxnSpLocks/>
            </p:cNvCxnSpPr>
            <p:nvPr/>
          </p:nvCxnSpPr>
          <p:spPr>
            <a:xfrm>
              <a:off x="5740500" y="2158835"/>
              <a:ext cx="3" cy="186116"/>
            </a:xfrm>
            <a:prstGeom prst="straightConnector1">
              <a:avLst/>
            </a:prstGeom>
            <a:ln w="9525">
              <a:solidFill>
                <a:schemeClr val="accent1">
                  <a:alpha val="50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直接箭头连接符 33">
              <a:extLst>
                <a:ext uri="{FF2B5EF4-FFF2-40B4-BE49-F238E27FC236}">
                  <a16:creationId xmlns:a16="http://schemas.microsoft.com/office/drawing/2014/main" id="{3E96B073-927E-BE3D-9634-5774C5A8683D}"/>
                </a:ext>
              </a:extLst>
            </p:cNvPr>
            <p:cNvCxnSpPr>
              <a:cxnSpLocks/>
            </p:cNvCxnSpPr>
            <p:nvPr/>
          </p:nvCxnSpPr>
          <p:spPr>
            <a:xfrm>
              <a:off x="8537530" y="2158835"/>
              <a:ext cx="3" cy="186116"/>
            </a:xfrm>
            <a:prstGeom prst="straightConnector1">
              <a:avLst/>
            </a:prstGeom>
            <a:ln w="9525">
              <a:solidFill>
                <a:schemeClr val="accent1">
                  <a:alpha val="50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5" name="组合 34">
              <a:extLst>
                <a:ext uri="{FF2B5EF4-FFF2-40B4-BE49-F238E27FC236}">
                  <a16:creationId xmlns:a16="http://schemas.microsoft.com/office/drawing/2014/main" id="{F4BED207-54FA-483C-7442-C04B556ED127}"/>
                </a:ext>
              </a:extLst>
            </p:cNvPr>
            <p:cNvGrpSpPr/>
            <p:nvPr/>
          </p:nvGrpSpPr>
          <p:grpSpPr>
            <a:xfrm>
              <a:off x="1768249" y="2355702"/>
              <a:ext cx="2392972" cy="1162718"/>
              <a:chOff x="714000" y="2167444"/>
              <a:chExt cx="2392972" cy="1162718"/>
            </a:xfrm>
          </p:grpSpPr>
          <p:sp>
            <p:nvSpPr>
              <p:cNvPr id="43" name="矩形: 圆角 42">
                <a:extLst>
                  <a:ext uri="{FF2B5EF4-FFF2-40B4-BE49-F238E27FC236}">
                    <a16:creationId xmlns:a16="http://schemas.microsoft.com/office/drawing/2014/main" id="{EB708D97-C2C6-7B05-392D-771F0BF29891}"/>
                  </a:ext>
                </a:extLst>
              </p:cNvPr>
              <p:cNvSpPr/>
              <p:nvPr/>
            </p:nvSpPr>
            <p:spPr>
              <a:xfrm>
                <a:off x="714016" y="2167444"/>
                <a:ext cx="2392956" cy="1162718"/>
              </a:xfrm>
              <a:prstGeom prst="roundRect">
                <a:avLst>
                  <a:gd name="adj" fmla="val 4796"/>
                </a:avLst>
              </a:prstGeom>
              <a:noFill/>
              <a:ln>
                <a:solidFill>
                  <a:schemeClr val="accent1"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4" name="矩形 43">
                <a:extLst>
                  <a:ext uri="{FF2B5EF4-FFF2-40B4-BE49-F238E27FC236}">
                    <a16:creationId xmlns:a16="http://schemas.microsoft.com/office/drawing/2014/main" id="{E6DA3522-78D9-EB35-2C2E-30D9A3CD68B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4000" y="2611601"/>
                <a:ext cx="2392972" cy="40287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b" anchorCtr="1">
                <a:noAutofit/>
              </a:bodyPr>
              <a:lstStyle/>
              <a:p>
                <a:pPr algn="ctr"/>
                <a:r>
                  <a:rPr kumimoji="1" lang="zh-CN" altLang="en-US" b="1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线上元宇宙空间</a:t>
                </a:r>
                <a:endParaRPr kumimoji="1" lang="en-US" altLang="zh-CN" b="1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36" name="组合 35">
              <a:extLst>
                <a:ext uri="{FF2B5EF4-FFF2-40B4-BE49-F238E27FC236}">
                  <a16:creationId xmlns:a16="http://schemas.microsoft.com/office/drawing/2014/main" id="{1D1368C7-2188-7FD1-4715-8822FF60713D}"/>
                </a:ext>
              </a:extLst>
            </p:cNvPr>
            <p:cNvGrpSpPr/>
            <p:nvPr/>
          </p:nvGrpSpPr>
          <p:grpSpPr>
            <a:xfrm>
              <a:off x="4554374" y="2355702"/>
              <a:ext cx="2409264" cy="1162718"/>
              <a:chOff x="3500125" y="2167444"/>
              <a:chExt cx="2409264" cy="1162718"/>
            </a:xfrm>
          </p:grpSpPr>
          <p:sp>
            <p:nvSpPr>
              <p:cNvPr id="41" name="矩形: 圆角 40">
                <a:extLst>
                  <a:ext uri="{FF2B5EF4-FFF2-40B4-BE49-F238E27FC236}">
                    <a16:creationId xmlns:a16="http://schemas.microsoft.com/office/drawing/2014/main" id="{9AA3A72D-8999-437F-24D2-793A203693B2}"/>
                  </a:ext>
                </a:extLst>
              </p:cNvPr>
              <p:cNvSpPr/>
              <p:nvPr/>
            </p:nvSpPr>
            <p:spPr>
              <a:xfrm>
                <a:off x="3500125" y="2167444"/>
                <a:ext cx="2392956" cy="1162718"/>
              </a:xfrm>
              <a:prstGeom prst="roundRect">
                <a:avLst>
                  <a:gd name="adj" fmla="val 4796"/>
                </a:avLst>
              </a:prstGeom>
              <a:noFill/>
              <a:ln>
                <a:solidFill>
                  <a:schemeClr val="accent2"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2" name="矩形 41">
                <a:extLst>
                  <a:ext uri="{FF2B5EF4-FFF2-40B4-BE49-F238E27FC236}">
                    <a16:creationId xmlns:a16="http://schemas.microsoft.com/office/drawing/2014/main" id="{5BEE5FEB-D8EE-12DB-D9D2-8A7F410FB53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516417" y="2584812"/>
                <a:ext cx="2392972" cy="40287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b" anchorCtr="1">
                <a:noAutofit/>
              </a:bodyPr>
              <a:lstStyle/>
              <a:p>
                <a:pPr algn="ctr"/>
                <a:r>
                  <a:rPr kumimoji="1" lang="zh-CN" altLang="en-US" b="1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互动剧情内容</a:t>
                </a:r>
                <a:endParaRPr kumimoji="1" lang="en-US" altLang="zh-CN" b="1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37" name="组合 36">
              <a:extLst>
                <a:ext uri="{FF2B5EF4-FFF2-40B4-BE49-F238E27FC236}">
                  <a16:creationId xmlns:a16="http://schemas.microsoft.com/office/drawing/2014/main" id="{B261D4BB-6BD1-0899-2458-03BEF97B7A8C}"/>
                </a:ext>
              </a:extLst>
            </p:cNvPr>
            <p:cNvGrpSpPr/>
            <p:nvPr/>
          </p:nvGrpSpPr>
          <p:grpSpPr>
            <a:xfrm>
              <a:off x="7340475" y="2355702"/>
              <a:ext cx="2392956" cy="1162718"/>
              <a:chOff x="6286226" y="2167444"/>
              <a:chExt cx="2392956" cy="1162718"/>
            </a:xfrm>
          </p:grpSpPr>
          <p:sp>
            <p:nvSpPr>
              <p:cNvPr id="38" name="矩形: 圆角 37">
                <a:extLst>
                  <a:ext uri="{FF2B5EF4-FFF2-40B4-BE49-F238E27FC236}">
                    <a16:creationId xmlns:a16="http://schemas.microsoft.com/office/drawing/2014/main" id="{325EE615-829C-A418-818C-40775E88EBD1}"/>
                  </a:ext>
                </a:extLst>
              </p:cNvPr>
              <p:cNvSpPr/>
              <p:nvPr/>
            </p:nvSpPr>
            <p:spPr>
              <a:xfrm>
                <a:off x="6286226" y="2167444"/>
                <a:ext cx="2392956" cy="1162718"/>
              </a:xfrm>
              <a:prstGeom prst="roundRect">
                <a:avLst>
                  <a:gd name="adj" fmla="val 4796"/>
                </a:avLst>
              </a:prstGeom>
              <a:noFill/>
              <a:ln>
                <a:solidFill>
                  <a:schemeClr val="accent1"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9" name="矩形 38">
                <a:extLst>
                  <a:ext uri="{FF2B5EF4-FFF2-40B4-BE49-F238E27FC236}">
                    <a16:creationId xmlns:a16="http://schemas.microsoft.com/office/drawing/2014/main" id="{0FA4008E-A50E-D8CF-B144-48B567A46E3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302534" y="2584812"/>
                <a:ext cx="2376648" cy="40287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b" anchorCtr="1">
                <a:noAutofit/>
              </a:bodyPr>
              <a:lstStyle/>
              <a:p>
                <a:pPr algn="ctr"/>
                <a:r>
                  <a:rPr kumimoji="1" lang="zh-CN" altLang="en-US" b="1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数字人引导讲解</a:t>
                </a:r>
                <a:endParaRPr kumimoji="1" lang="en-US" altLang="zh-CN" b="1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  <p:sp>
        <p:nvSpPr>
          <p:cNvPr id="45" name="矩形 44">
            <a:extLst>
              <a:ext uri="{FF2B5EF4-FFF2-40B4-BE49-F238E27FC236}">
                <a16:creationId xmlns:a16="http://schemas.microsoft.com/office/drawing/2014/main" id="{0A4D54CA-14BD-2F09-7A50-CBCEC9CE70F0}"/>
              </a:ext>
            </a:extLst>
          </p:cNvPr>
          <p:cNvSpPr>
            <a:spLocks/>
          </p:cNvSpPr>
          <p:nvPr/>
        </p:nvSpPr>
        <p:spPr>
          <a:xfrm>
            <a:off x="852151" y="2763592"/>
            <a:ext cx="3089014" cy="5803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45720" rIns="36000" bIns="45720" rtlCol="0" anchor="ctr" anchorCtr="1">
            <a:normAutofit/>
          </a:bodyPr>
          <a:lstStyle/>
          <a:p>
            <a:pPr algn="ctr"/>
            <a:r>
              <a:rPr kumimoji="1" lang="zh-CN" altLang="en-US" b="1" u="sng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四大展厅、随时用、轻松用</a:t>
            </a:r>
            <a:endParaRPr kumimoji="1" lang="en-US" altLang="zh-CN" b="1" u="sng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0115203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A_文本框 21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>
            <a:extLst>
              <a:ext uri="{FF2B5EF4-FFF2-40B4-BE49-F238E27FC236}">
                <a16:creationId xmlns:a16="http://schemas.microsoft.com/office/drawing/2014/main" id="{EB15CC80-CF2A-2BCF-9F74-8937D327667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80230" y="330214"/>
            <a:ext cx="5152913" cy="46166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zh-CN"/>
            </a:defPPr>
            <a:lvl1pPr marL="12700" marR="0" lvl="0" indent="0" fontAlgn="auto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F05A23"/>
                </a:solidFill>
                <a:effectLst/>
                <a:uLnTx/>
                <a:uFillTx/>
                <a:latin typeface="Arial"/>
                <a:ea typeface="华文楷体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  <a:lvl6pPr>
              <a:defRPr>
                <a:latin typeface="+mn-lt"/>
                <a:ea typeface="+mn-ea"/>
                <a:cs typeface="+mn-cs"/>
              </a:defRPr>
            </a:lvl6pPr>
            <a:lvl7pPr>
              <a:defRPr>
                <a:latin typeface="+mn-lt"/>
                <a:ea typeface="+mn-ea"/>
                <a:cs typeface="+mn-cs"/>
              </a:defRPr>
            </a:lvl7pPr>
            <a:lvl8pPr>
              <a:defRPr>
                <a:latin typeface="+mn-lt"/>
                <a:ea typeface="+mn-ea"/>
                <a:cs typeface="+mn-cs"/>
              </a:defRPr>
            </a:lvl8pPr>
            <a:lvl9pPr>
              <a:defRPr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zh-CN" altLang="en-US" sz="2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你是不是遇到过？</a:t>
            </a:r>
          </a:p>
        </p:txBody>
      </p:sp>
      <p:sp>
        <p:nvSpPr>
          <p:cNvPr id="6" name="标题 24">
            <a:extLst>
              <a:ext uri="{FF2B5EF4-FFF2-40B4-BE49-F238E27FC236}">
                <a16:creationId xmlns:a16="http://schemas.microsoft.com/office/drawing/2014/main" id="{446ED8A4-5DD8-3695-EE44-E04F5E6A25D7}"/>
              </a:ext>
            </a:extLst>
          </p:cNvPr>
          <p:cNvSpPr txBox="1">
            <a:spLocks/>
          </p:cNvSpPr>
          <p:nvPr/>
        </p:nvSpPr>
        <p:spPr>
          <a:xfrm>
            <a:off x="1987243" y="2513946"/>
            <a:ext cx="8019786" cy="2284087"/>
          </a:xfr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50000"/>
              </a:lnSpc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一个标题，改几十次，</a:t>
            </a:r>
            <a:r>
              <a:rPr lang="zh-CN" altLang="en-US" sz="3000" dirty="0">
                <a:solidFill>
                  <a:srgbClr val="F05A2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耗时几天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领导始终不满意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algn="ctr">
              <a:lnSpc>
                <a:spcPct val="150000"/>
              </a:lnSpc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觉得内容写的</a:t>
            </a:r>
            <a:r>
              <a:rPr lang="zh-CN" altLang="en-US" sz="3000" dirty="0">
                <a:solidFill>
                  <a:srgbClr val="F05A2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很好</a:t>
            </a:r>
            <a:r>
              <a:rPr lang="zh-CN" altLang="en-US" sz="3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发出去却</a:t>
            </a:r>
            <a:r>
              <a:rPr lang="zh-CN" altLang="en-US" sz="3000" dirty="0">
                <a:solidFill>
                  <a:srgbClr val="F05A2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没几个人看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？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algn="ctr">
              <a:lnSpc>
                <a:spcPct val="150000"/>
              </a:lnSpc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……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algn="ctr">
              <a:lnSpc>
                <a:spcPct val="150000"/>
              </a:lnSpc>
            </a:pPr>
            <a:endParaRPr lang="zh-CN" altLang="en-US" sz="3200" b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zh-CN" altLang="en-US" sz="3000" b="0" dirty="0">
              <a:solidFill>
                <a:srgbClr val="F05A2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椭圆 6">
            <a:extLst>
              <a:ext uri="{FF2B5EF4-FFF2-40B4-BE49-F238E27FC236}">
                <a16:creationId xmlns:a16="http://schemas.microsoft.com/office/drawing/2014/main" id="{66BCB131-459A-9E5E-36D0-A5D78439EB9F}"/>
              </a:ext>
            </a:extLst>
          </p:cNvPr>
          <p:cNvSpPr/>
          <p:nvPr/>
        </p:nvSpPr>
        <p:spPr>
          <a:xfrm>
            <a:off x="6809950" y="5066728"/>
            <a:ext cx="2266278" cy="121561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3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低转化</a:t>
            </a:r>
          </a:p>
        </p:txBody>
      </p:sp>
      <p:sp>
        <p:nvSpPr>
          <p:cNvPr id="8" name="椭圆 7">
            <a:extLst>
              <a:ext uri="{FF2B5EF4-FFF2-40B4-BE49-F238E27FC236}">
                <a16:creationId xmlns:a16="http://schemas.microsoft.com/office/drawing/2014/main" id="{06D1E4CE-5453-DC0C-801F-62C4118C47C5}"/>
              </a:ext>
            </a:extLst>
          </p:cNvPr>
          <p:cNvSpPr/>
          <p:nvPr/>
        </p:nvSpPr>
        <p:spPr>
          <a:xfrm>
            <a:off x="3556686" y="5066728"/>
            <a:ext cx="2266278" cy="121561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3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高耗时</a:t>
            </a:r>
          </a:p>
        </p:txBody>
      </p:sp>
    </p:spTree>
    <p:extLst>
      <p:ext uri="{BB962C8B-B14F-4D97-AF65-F5344CB8AC3E}">
        <p14:creationId xmlns:p14="http://schemas.microsoft.com/office/powerpoint/2010/main" val="61094298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图片 39">
            <a:extLst>
              <a:ext uri="{FF2B5EF4-FFF2-40B4-BE49-F238E27FC236}">
                <a16:creationId xmlns:a16="http://schemas.microsoft.com/office/drawing/2014/main" id="{7CB1490E-39EF-785B-93D8-3B5E023A7BD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9418" y="253211"/>
            <a:ext cx="1837445" cy="501494"/>
          </a:xfrm>
          <a:prstGeom prst="rect">
            <a:avLst/>
          </a:prstGeom>
        </p:spPr>
      </p:pic>
      <p:sp>
        <p:nvSpPr>
          <p:cNvPr id="2" name="PA_文本框 21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>
            <a:extLst>
              <a:ext uri="{FF2B5EF4-FFF2-40B4-BE49-F238E27FC236}">
                <a16:creationId xmlns:a16="http://schemas.microsoft.com/office/drawing/2014/main" id="{EB15CC80-CF2A-2BCF-9F74-8937D327667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80230" y="330214"/>
            <a:ext cx="5152913" cy="46166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zh-CN"/>
            </a:defPPr>
            <a:lvl1pPr marL="12700" marR="0" lvl="0" indent="0" fontAlgn="auto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F05A23"/>
                </a:solidFill>
                <a:effectLst/>
                <a:uLnTx/>
                <a:uFillTx/>
                <a:latin typeface="Arial"/>
                <a:ea typeface="华文楷体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  <a:lvl6pPr>
              <a:defRPr>
                <a:latin typeface="+mn-lt"/>
                <a:ea typeface="+mn-ea"/>
                <a:cs typeface="+mn-cs"/>
              </a:defRPr>
            </a:lvl6pPr>
            <a:lvl7pPr>
              <a:defRPr>
                <a:latin typeface="+mn-lt"/>
                <a:ea typeface="+mn-ea"/>
                <a:cs typeface="+mn-cs"/>
              </a:defRPr>
            </a:lvl7pPr>
            <a:lvl8pPr>
              <a:defRPr>
                <a:latin typeface="+mn-lt"/>
                <a:ea typeface="+mn-ea"/>
                <a:cs typeface="+mn-cs"/>
              </a:defRPr>
            </a:lvl8pPr>
            <a:lvl9pPr>
              <a:defRPr>
                <a:latin typeface="+mn-lt"/>
                <a:ea typeface="+mn-ea"/>
                <a:cs typeface="+mn-cs"/>
              </a:defRPr>
            </a:lvl9pPr>
          </a:lstStyle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</a:t>
            </a:r>
            <a:r>
              <a:rPr lang="en-US" altLang="zh-CN" sz="2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2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步：实用内容，激发欲望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2B23F7BC-282A-284C-1BC8-0CF3B481E51A}"/>
              </a:ext>
            </a:extLst>
          </p:cNvPr>
          <p:cNvSpPr txBox="1"/>
          <p:nvPr/>
        </p:nvSpPr>
        <p:spPr>
          <a:xfrm>
            <a:off x="280650" y="358385"/>
            <a:ext cx="6744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.1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9F5C16C6-B703-498C-9283-D707971F5C47}"/>
              </a:ext>
            </a:extLst>
          </p:cNvPr>
          <p:cNvSpPr>
            <a:spLocks/>
          </p:cNvSpPr>
          <p:nvPr/>
        </p:nvSpPr>
        <p:spPr>
          <a:xfrm>
            <a:off x="726556" y="1129273"/>
            <a:ext cx="10858500" cy="553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b" anchorCtr="0">
            <a:normAutofit/>
          </a:bodyPr>
          <a:lstStyle/>
          <a:p>
            <a:pPr algn="ctr">
              <a:buSzPct val="25000"/>
            </a:pPr>
            <a:r>
              <a:rPr lang="en-US" altLang="zh-CN" sz="2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NFABE</a:t>
            </a:r>
            <a:r>
              <a:rPr lang="zh-CN" altLang="en-US" sz="2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法则，</a:t>
            </a:r>
            <a:r>
              <a:rPr lang="en-US" altLang="zh-CN" sz="2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zh-CN" altLang="en-US" sz="2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提问快速找到产品</a:t>
            </a:r>
            <a:r>
              <a:rPr lang="zh-CN" altLang="en-US" sz="3000" b="1" dirty="0">
                <a:solidFill>
                  <a:srgbClr val="F05A2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卖点</a:t>
            </a:r>
          </a:p>
        </p:txBody>
      </p:sp>
      <p:graphicFrame>
        <p:nvGraphicFramePr>
          <p:cNvPr id="18" name="表格 17">
            <a:extLst>
              <a:ext uri="{FF2B5EF4-FFF2-40B4-BE49-F238E27FC236}">
                <a16:creationId xmlns:a16="http://schemas.microsoft.com/office/drawing/2014/main" id="{4A46DE7E-D91B-2B16-5141-8D3C182694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650042"/>
              </p:ext>
            </p:extLst>
          </p:nvPr>
        </p:nvGraphicFramePr>
        <p:xfrm>
          <a:off x="957566" y="1682522"/>
          <a:ext cx="10351153" cy="5029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82979">
                  <a:extLst>
                    <a:ext uri="{9D8B030D-6E8A-4147-A177-3AD203B41FA5}">
                      <a16:colId xmlns:a16="http://schemas.microsoft.com/office/drawing/2014/main" val="123992678"/>
                    </a:ext>
                  </a:extLst>
                </a:gridCol>
                <a:gridCol w="2056117">
                  <a:extLst>
                    <a:ext uri="{9D8B030D-6E8A-4147-A177-3AD203B41FA5}">
                      <a16:colId xmlns:a16="http://schemas.microsoft.com/office/drawing/2014/main" val="2056935902"/>
                    </a:ext>
                  </a:extLst>
                </a:gridCol>
                <a:gridCol w="5112057">
                  <a:extLst>
                    <a:ext uri="{9D8B030D-6E8A-4147-A177-3AD203B41FA5}">
                      <a16:colId xmlns:a16="http://schemas.microsoft.com/office/drawing/2014/main" val="2649354788"/>
                    </a:ext>
                  </a:extLst>
                </a:gridCol>
              </a:tblGrid>
              <a:tr h="334631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提问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目的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举例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92972948"/>
                  </a:ext>
                </a:extLst>
              </a:tr>
              <a:tr h="772290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概念</a:t>
                      </a:r>
                      <a:r>
                        <a:rPr lang="en-US" altLang="zh-CN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Name)</a:t>
                      </a:r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：产品的核心概念是什么？</a:t>
                      </a:r>
                    </a:p>
                  </a:txBody>
                  <a:tcPr anchor="ctr">
                    <a:solidFill>
                      <a:srgbClr val="FCEAE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品具象化</a:t>
                      </a:r>
                      <a:endParaRPr lang="en-US" altLang="zh-CN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让用户记住你</a:t>
                      </a:r>
                    </a:p>
                  </a:txBody>
                  <a:tcPr anchor="ctr">
                    <a:solidFill>
                      <a:srgbClr val="FCEAE8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Wingdings" panose="05000000000000000000" pitchFamily="2" charset="2"/>
                        <a:buChar char="Ø"/>
                      </a:pPr>
                      <a:r>
                        <a:rPr lang="en-US" altLang="zh-CN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KG</a:t>
                      </a:r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颈椎按摩仪，一个随叫随到的老中医</a:t>
                      </a:r>
                      <a:endParaRPr lang="en-US" altLang="zh-CN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285750" indent="-285750" algn="l">
                        <a:buFont typeface="Wingdings" panose="05000000000000000000" pitchFamily="2" charset="2"/>
                        <a:buChar char="Ø"/>
                      </a:pPr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听听专家说，全国接种医生都在用户免疫宝典</a:t>
                      </a:r>
                      <a:endParaRPr lang="en-US" altLang="zh-CN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285750" indent="-285750" algn="l">
                        <a:buFont typeface="Wingdings" panose="05000000000000000000" pitchFamily="2" charset="2"/>
                        <a:buChar char="Ø"/>
                      </a:pPr>
                      <a:r>
                        <a:rPr lang="en-US" altLang="zh-CN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I</a:t>
                      </a:r>
                      <a:r>
                        <a:rPr lang="zh-CN" altLang="en-US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跟拍，平安代理人都爱用的短视频拍摄工具</a:t>
                      </a:r>
                    </a:p>
                  </a:txBody>
                  <a:tcPr anchor="ctr">
                    <a:solidFill>
                      <a:srgbClr val="FCEA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4464336"/>
                  </a:ext>
                </a:extLst>
              </a:tr>
              <a:tr h="540603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特征</a:t>
                      </a:r>
                      <a:r>
                        <a:rPr lang="en-US" altLang="zh-CN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Feature)</a:t>
                      </a:r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：产品的特征是什么？</a:t>
                      </a:r>
                    </a:p>
                  </a:txBody>
                  <a:tcPr anchor="ctr">
                    <a:solidFill>
                      <a:srgbClr val="FCEAE8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提炼产品特色</a:t>
                      </a:r>
                      <a:endParaRPr lang="en-US" altLang="zh-CN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产品视角）</a:t>
                      </a:r>
                    </a:p>
                  </a:txBody>
                  <a:tcPr anchor="ctr">
                    <a:solidFill>
                      <a:srgbClr val="FCEAE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000</a:t>
                      </a:r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多款跟拍模板、一键跟拍</a:t>
                      </a:r>
                      <a:endParaRPr lang="en-US" altLang="zh-CN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台词字幕、滤镜道具</a:t>
                      </a:r>
                      <a:r>
                        <a:rPr lang="en-US" altLang="zh-CN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……</a:t>
                      </a:r>
                      <a:endParaRPr lang="zh-CN" altLang="en-US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solidFill>
                      <a:srgbClr val="FCEA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3636790"/>
                  </a:ext>
                </a:extLst>
              </a:tr>
              <a:tr h="540603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优势</a:t>
                      </a:r>
                      <a:r>
                        <a:rPr lang="en-US" altLang="zh-CN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Advantage)</a:t>
                      </a:r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：产品的优势是什么？</a:t>
                      </a:r>
                    </a:p>
                  </a:txBody>
                  <a:tcPr anchor="ctr">
                    <a:solidFill>
                      <a:srgbClr val="FCEAE8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zh-CN" altLang="en-US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rgbClr val="F9D1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专业合规的内容</a:t>
                      </a:r>
                    </a:p>
                  </a:txBody>
                  <a:tcPr anchor="ctr">
                    <a:solidFill>
                      <a:srgbClr val="FCEA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7185472"/>
                  </a:ext>
                </a:extLst>
              </a:tr>
              <a:tr h="540603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利益点</a:t>
                      </a:r>
                      <a:r>
                        <a:rPr lang="en-US" altLang="zh-CN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Benefit)</a:t>
                      </a:r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：产品能给别人带来什么好处？</a:t>
                      </a:r>
                    </a:p>
                  </a:txBody>
                  <a:tcPr anchor="ctr">
                    <a:solidFill>
                      <a:srgbClr val="FCEAE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转化用户视角</a:t>
                      </a:r>
                    </a:p>
                  </a:txBody>
                  <a:tcPr anchor="ctr">
                    <a:solidFill>
                      <a:srgbClr val="FCEAE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不用担心内容创作、不用担心不会操作、不用担心记不住台词、不用担心出境太丑</a:t>
                      </a:r>
                      <a:r>
                        <a:rPr lang="en-US" altLang="zh-CN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……</a:t>
                      </a:r>
                      <a:endParaRPr lang="zh-CN" altLang="en-US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solidFill>
                      <a:srgbClr val="FCEA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3078474"/>
                  </a:ext>
                </a:extLst>
              </a:tr>
              <a:tr h="54060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证据</a:t>
                      </a:r>
                      <a:r>
                        <a:rPr lang="en-US" altLang="zh-CN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Evidence)</a:t>
                      </a:r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：说得那么好听，你有什么证据证明呢？</a:t>
                      </a:r>
                    </a:p>
                  </a:txBody>
                  <a:tcPr anchor="ctr">
                    <a:solidFill>
                      <a:srgbClr val="FCEAE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让用户信服</a:t>
                      </a:r>
                    </a:p>
                  </a:txBody>
                  <a:tcPr anchor="ctr">
                    <a:solidFill>
                      <a:srgbClr val="FCEAE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用过的代理人好评率</a:t>
                      </a:r>
                      <a:r>
                        <a:rPr lang="en-US" altLang="zh-CN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8%</a:t>
                      </a:r>
                      <a:endParaRPr lang="zh-CN" altLang="en-US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solidFill>
                      <a:srgbClr val="FCEA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0386439"/>
                  </a:ext>
                </a:extLst>
              </a:tr>
              <a:tr h="100397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罗列产品卖点</a:t>
                      </a:r>
                    </a:p>
                  </a:txBody>
                  <a:tcPr anchor="ctr">
                    <a:solidFill>
                      <a:srgbClr val="F9D1CC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solidFill>
                      <a:srgbClr val="F9D1CC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、素材无忧，</a:t>
                      </a:r>
                      <a:r>
                        <a:rPr lang="en-US" altLang="zh-CN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000</a:t>
                      </a:r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专业合规内容任你选</a:t>
                      </a:r>
                      <a:endParaRPr lang="en-US" altLang="zh-CN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l"/>
                      <a:r>
                        <a:rPr lang="en-US" altLang="zh-CN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、操作无忧，一键跟拍，</a:t>
                      </a:r>
                      <a:r>
                        <a:rPr lang="en-US" altLang="zh-CN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分钟出片</a:t>
                      </a:r>
                      <a:endParaRPr lang="en-US" altLang="zh-CN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l"/>
                      <a:r>
                        <a:rPr lang="en-US" altLang="zh-CN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、台词无忧，字幕提示，无惧忘词</a:t>
                      </a:r>
                      <a:endParaRPr lang="en-US" altLang="zh-CN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l"/>
                      <a:r>
                        <a:rPr lang="en-US" altLang="zh-CN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</a:t>
                      </a:r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、效果无忧，自动美颜，道具加持</a:t>
                      </a:r>
                    </a:p>
                  </a:txBody>
                  <a:tcPr anchor="ctr">
                    <a:solidFill>
                      <a:srgbClr val="F9D1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057819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6880620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>
            <a:extLst>
              <a:ext uri="{FF2B5EF4-FFF2-40B4-BE49-F238E27FC236}">
                <a16:creationId xmlns:a16="http://schemas.microsoft.com/office/drawing/2014/main" id="{C8174D71-B2DD-3E28-56E3-C955B5E818A2}"/>
              </a:ext>
            </a:extLst>
          </p:cNvPr>
          <p:cNvSpPr/>
          <p:nvPr/>
        </p:nvSpPr>
        <p:spPr>
          <a:xfrm>
            <a:off x="1678193" y="4937759"/>
            <a:ext cx="8702936" cy="1172177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36000" tIns="108000" rIns="36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endParaRPr lang="zh-CN" altLang="en-US" sz="1100" b="1" kern="0">
              <a:solidFill>
                <a:prstClr val="black"/>
              </a:solidFill>
              <a:latin typeface="Arial"/>
              <a:ea typeface="华文楷体"/>
              <a:sym typeface="Arial" panose="020B0604020202020204" pitchFamily="34" charset="0"/>
            </a:endParaRPr>
          </a:p>
        </p:txBody>
      </p:sp>
      <p:pic>
        <p:nvPicPr>
          <p:cNvPr id="40" name="图片 39">
            <a:extLst>
              <a:ext uri="{FF2B5EF4-FFF2-40B4-BE49-F238E27FC236}">
                <a16:creationId xmlns:a16="http://schemas.microsoft.com/office/drawing/2014/main" id="{7CB1490E-39EF-785B-93D8-3B5E023A7BD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9418" y="253211"/>
            <a:ext cx="1837445" cy="501494"/>
          </a:xfrm>
          <a:prstGeom prst="rect">
            <a:avLst/>
          </a:prstGeom>
        </p:spPr>
      </p:pic>
      <p:sp>
        <p:nvSpPr>
          <p:cNvPr id="2" name="PA_文本框 21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>
            <a:extLst>
              <a:ext uri="{FF2B5EF4-FFF2-40B4-BE49-F238E27FC236}">
                <a16:creationId xmlns:a16="http://schemas.microsoft.com/office/drawing/2014/main" id="{EB15CC80-CF2A-2BCF-9F74-8937D327667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80230" y="330214"/>
            <a:ext cx="5152913" cy="46166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zh-CN"/>
            </a:defPPr>
            <a:lvl1pPr marL="12700" marR="0" lvl="0" indent="0" fontAlgn="auto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F05A23"/>
                </a:solidFill>
                <a:effectLst/>
                <a:uLnTx/>
                <a:uFillTx/>
                <a:latin typeface="Arial"/>
                <a:ea typeface="华文楷体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  <a:lvl6pPr>
              <a:defRPr>
                <a:latin typeface="+mn-lt"/>
                <a:ea typeface="+mn-ea"/>
                <a:cs typeface="+mn-cs"/>
              </a:defRPr>
            </a:lvl6pPr>
            <a:lvl7pPr>
              <a:defRPr>
                <a:latin typeface="+mn-lt"/>
                <a:ea typeface="+mn-ea"/>
                <a:cs typeface="+mn-cs"/>
              </a:defRPr>
            </a:lvl7pPr>
            <a:lvl8pPr>
              <a:defRPr>
                <a:latin typeface="+mn-lt"/>
                <a:ea typeface="+mn-ea"/>
                <a:cs typeface="+mn-cs"/>
              </a:defRPr>
            </a:lvl8pPr>
            <a:lvl9pPr>
              <a:defRPr>
                <a:latin typeface="+mn-lt"/>
                <a:ea typeface="+mn-ea"/>
                <a:cs typeface="+mn-cs"/>
              </a:defRPr>
            </a:lvl9pPr>
          </a:lstStyle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</a:t>
            </a:r>
            <a:r>
              <a:rPr lang="en-US" altLang="zh-CN" sz="2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2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步：行动指引，敦促转化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2B23F7BC-282A-284C-1BC8-0CF3B481E51A}"/>
              </a:ext>
            </a:extLst>
          </p:cNvPr>
          <p:cNvSpPr txBox="1"/>
          <p:nvPr/>
        </p:nvSpPr>
        <p:spPr>
          <a:xfrm>
            <a:off x="280650" y="358385"/>
            <a:ext cx="6744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.</a:t>
            </a:r>
            <a:r>
              <a:rPr lang="en-US" altLang="zh-CN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2CAF5BC4-CA41-F81C-E7BA-6AC3E90515A5}"/>
              </a:ext>
            </a:extLst>
          </p:cNvPr>
          <p:cNvSpPr/>
          <p:nvPr/>
        </p:nvSpPr>
        <p:spPr>
          <a:xfrm>
            <a:off x="1678194" y="1350313"/>
            <a:ext cx="8702936" cy="674389"/>
          </a:xfrm>
          <a:prstGeom prst="rect">
            <a:avLst/>
          </a:prstGeom>
        </p:spPr>
        <p:txBody>
          <a:bodyPr anchor="b" anchorCtr="0">
            <a:noAutofit/>
          </a:bodyPr>
          <a:lstStyle/>
          <a:p>
            <a:pPr algn="ctr">
              <a:buSzPct val="25000"/>
            </a:pP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把话说出来，转化率</a:t>
            </a:r>
            <a:r>
              <a:rPr lang="zh-CN" altLang="en-US" sz="3000" b="1" dirty="0">
                <a:solidFill>
                  <a:srgbClr val="F05A2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提升</a:t>
            </a:r>
            <a:r>
              <a:rPr lang="en-US" altLang="zh-CN" sz="3000" b="1" dirty="0">
                <a:solidFill>
                  <a:srgbClr val="F05A2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0%</a:t>
            </a: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DBB7DCD3-09B7-D17E-E60C-CED84149CB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6822" y="2609175"/>
            <a:ext cx="4061894" cy="1467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矩形 5">
            <a:extLst>
              <a:ext uri="{FF2B5EF4-FFF2-40B4-BE49-F238E27FC236}">
                <a16:creationId xmlns:a16="http://schemas.microsoft.com/office/drawing/2014/main" id="{666982DB-CD01-7391-2FFB-29F24E744523}"/>
              </a:ext>
            </a:extLst>
          </p:cNvPr>
          <p:cNvSpPr>
            <a:spLocks/>
          </p:cNvSpPr>
          <p:nvPr/>
        </p:nvSpPr>
        <p:spPr>
          <a:xfrm flipH="1">
            <a:off x="1492117" y="2609175"/>
            <a:ext cx="5915807" cy="14675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 anchorCtr="1">
            <a:noAutofit/>
          </a:bodyPr>
          <a:lstStyle/>
          <a:p>
            <a:pPr marL="285750" indent="-285750">
              <a:lnSpc>
                <a:spcPct val="120000"/>
              </a:lnSpc>
              <a:buFont typeface="Wingdings" panose="05000000000000000000" pitchFamily="2" charset="2"/>
              <a:buChar char="Ø"/>
            </a:pPr>
            <a:r>
              <a:rPr kumimoji="1"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文案引导（</a:t>
            </a:r>
            <a:r>
              <a:rPr kumimoji="1" lang="en-US" altLang="zh-CN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ush</a:t>
            </a:r>
            <a:r>
              <a:rPr kumimoji="1"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类）：</a:t>
            </a:r>
            <a:r>
              <a:rPr kumimoji="1" lang="zh-CN" alt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查看、立即报名、立即领取、去拜访</a:t>
            </a:r>
            <a:r>
              <a:rPr kumimoji="1"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……</a:t>
            </a:r>
            <a:r>
              <a:rPr kumimoji="1" lang="zh-CN" alt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有时候文案本身很有吸引力了，为避免太长也可以不用）</a:t>
            </a:r>
            <a:endParaRPr kumimoji="1" lang="en-US" altLang="zh-CN" sz="1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20000"/>
              </a:lnSpc>
              <a:buFont typeface="Wingdings" panose="05000000000000000000" pitchFamily="2" charset="2"/>
              <a:buChar char="Ø"/>
            </a:pPr>
            <a:endParaRPr kumimoji="1" lang="en-US" altLang="zh-CN" sz="1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20000"/>
              </a:lnSpc>
              <a:buFont typeface="Wingdings" panose="05000000000000000000" pitchFamily="2" charset="2"/>
              <a:buChar char="Ø"/>
            </a:pPr>
            <a:r>
              <a:rPr kumimoji="1"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亮眼的按钮（海报类）：</a:t>
            </a:r>
            <a:r>
              <a:rPr kumimoji="1" lang="zh-CN" alt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动效、鲜亮颜色</a:t>
            </a:r>
            <a:r>
              <a:rPr kumimoji="1"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……</a:t>
            </a:r>
            <a:endParaRPr kumimoji="1" lang="zh-CN" altLang="en-US" sz="1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矩形: 圆角 8">
            <a:extLst>
              <a:ext uri="{FF2B5EF4-FFF2-40B4-BE49-F238E27FC236}">
                <a16:creationId xmlns:a16="http://schemas.microsoft.com/office/drawing/2014/main" id="{FBEB0106-072A-6821-507A-F21A37574A91}"/>
              </a:ext>
            </a:extLst>
          </p:cNvPr>
          <p:cNvSpPr/>
          <p:nvPr/>
        </p:nvSpPr>
        <p:spPr>
          <a:xfrm>
            <a:off x="1810871" y="4677935"/>
            <a:ext cx="1398494" cy="519648"/>
          </a:xfrm>
          <a:prstGeom prst="roundRect">
            <a:avLst/>
          </a:prstGeom>
          <a:solidFill>
            <a:srgbClr val="FCEAE8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rmAutofit/>
          </a:bodyPr>
          <a:lstStyle/>
          <a:p>
            <a:pPr algn="ctr"/>
            <a:r>
              <a:rPr kumimoji="1"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感受一下</a:t>
            </a:r>
            <a:endParaRPr kumimoji="1" lang="en-US" altLang="zh-CN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17686DDE-0311-FAA1-E1A0-67631068ABAC}"/>
              </a:ext>
            </a:extLst>
          </p:cNvPr>
          <p:cNvSpPr txBox="1"/>
          <p:nvPr/>
        </p:nvSpPr>
        <p:spPr>
          <a:xfrm>
            <a:off x="1860564" y="5339181"/>
            <a:ext cx="609420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重疾理念导入，就用动态冰山图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重疾理念导入，就用动态冰山图，抢先体验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&gt;&gt;</a:t>
            </a:r>
          </a:p>
        </p:txBody>
      </p:sp>
    </p:spTree>
    <p:extLst>
      <p:ext uri="{BB962C8B-B14F-4D97-AF65-F5344CB8AC3E}">
        <p14:creationId xmlns:p14="http://schemas.microsoft.com/office/powerpoint/2010/main" val="123289113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图片 39">
            <a:extLst>
              <a:ext uri="{FF2B5EF4-FFF2-40B4-BE49-F238E27FC236}">
                <a16:creationId xmlns:a16="http://schemas.microsoft.com/office/drawing/2014/main" id="{7CB1490E-39EF-785B-93D8-3B5E023A7BD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9418" y="253211"/>
            <a:ext cx="1837445" cy="501494"/>
          </a:xfrm>
          <a:prstGeom prst="rect">
            <a:avLst/>
          </a:prstGeom>
        </p:spPr>
      </p:pic>
      <p:sp>
        <p:nvSpPr>
          <p:cNvPr id="2" name="PA_文本框 21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>
            <a:extLst>
              <a:ext uri="{FF2B5EF4-FFF2-40B4-BE49-F238E27FC236}">
                <a16:creationId xmlns:a16="http://schemas.microsoft.com/office/drawing/2014/main" id="{EB15CC80-CF2A-2BCF-9F74-8937D327667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80230" y="330214"/>
            <a:ext cx="5152913" cy="46166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zh-CN"/>
            </a:defPPr>
            <a:lvl1pPr marL="12700" marR="0" lvl="0" indent="0" fontAlgn="auto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F05A23"/>
                </a:solidFill>
                <a:effectLst/>
                <a:uLnTx/>
                <a:uFillTx/>
                <a:latin typeface="Arial"/>
                <a:ea typeface="华文楷体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  <a:lvl6pPr>
              <a:defRPr>
                <a:latin typeface="+mn-lt"/>
                <a:ea typeface="+mn-ea"/>
                <a:cs typeface="+mn-cs"/>
              </a:defRPr>
            </a:lvl6pPr>
            <a:lvl7pPr>
              <a:defRPr>
                <a:latin typeface="+mn-lt"/>
                <a:ea typeface="+mn-ea"/>
                <a:cs typeface="+mn-cs"/>
              </a:defRPr>
            </a:lvl7pPr>
            <a:lvl8pPr>
              <a:defRPr>
                <a:latin typeface="+mn-lt"/>
                <a:ea typeface="+mn-ea"/>
                <a:cs typeface="+mn-cs"/>
              </a:defRPr>
            </a:lvl8pPr>
            <a:lvl9pPr>
              <a:defRPr>
                <a:latin typeface="+mn-lt"/>
                <a:ea typeface="+mn-ea"/>
                <a:cs typeface="+mn-cs"/>
              </a:defRPr>
            </a:lvl9pPr>
          </a:lstStyle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</a:t>
            </a:r>
            <a:r>
              <a:rPr lang="en-US" altLang="zh-CN" sz="2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2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步：行动指引，敦促转化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2B23F7BC-282A-284C-1BC8-0CF3B481E51A}"/>
              </a:ext>
            </a:extLst>
          </p:cNvPr>
          <p:cNvSpPr txBox="1"/>
          <p:nvPr/>
        </p:nvSpPr>
        <p:spPr>
          <a:xfrm>
            <a:off x="280650" y="358385"/>
            <a:ext cx="6744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.</a:t>
            </a:r>
            <a:r>
              <a:rPr lang="en-US" altLang="zh-CN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2CAF5BC4-CA41-F81C-E7BA-6AC3E90515A5}"/>
              </a:ext>
            </a:extLst>
          </p:cNvPr>
          <p:cNvSpPr/>
          <p:nvPr/>
        </p:nvSpPr>
        <p:spPr>
          <a:xfrm>
            <a:off x="1554904" y="2079778"/>
            <a:ext cx="8702936" cy="674389"/>
          </a:xfrm>
          <a:prstGeom prst="rect">
            <a:avLst/>
          </a:prstGeom>
        </p:spPr>
        <p:txBody>
          <a:bodyPr anchor="b" anchorCtr="0">
            <a:noAutofit/>
          </a:bodyPr>
          <a:lstStyle/>
          <a:p>
            <a:pPr algn="ctr">
              <a:buSzPct val="25000"/>
            </a:pP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营造紧迫感，不给用户</a:t>
            </a:r>
            <a:r>
              <a:rPr lang="zh-CN" altLang="en-US" sz="3000" b="1" dirty="0">
                <a:solidFill>
                  <a:srgbClr val="F05A2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拖延空间</a:t>
            </a:r>
            <a:endParaRPr lang="en-US" altLang="zh-CN" sz="3000" b="1" dirty="0">
              <a:solidFill>
                <a:srgbClr val="F05A2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666982DB-CD01-7391-2FFB-29F24E744523}"/>
              </a:ext>
            </a:extLst>
          </p:cNvPr>
          <p:cNvSpPr>
            <a:spLocks/>
          </p:cNvSpPr>
          <p:nvPr/>
        </p:nvSpPr>
        <p:spPr>
          <a:xfrm flipH="1">
            <a:off x="3175239" y="3308304"/>
            <a:ext cx="5915807" cy="14675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 anchorCtr="1">
            <a:noAutofit/>
          </a:bodyPr>
          <a:lstStyle/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kumimoji="1"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时间限制：</a:t>
            </a:r>
            <a:r>
              <a:rPr kumimoji="1" lang="zh-CN" alt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最后</a:t>
            </a:r>
            <a:r>
              <a:rPr kumimoji="1"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kumimoji="1" lang="zh-CN" alt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天</a:t>
            </a:r>
            <a:r>
              <a:rPr kumimoji="1"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| </a:t>
            </a:r>
            <a:r>
              <a:rPr kumimoji="1" lang="zh-CN" alt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完成拜访客户，领</a:t>
            </a:r>
            <a:r>
              <a:rPr kumimoji="1"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0</a:t>
            </a:r>
            <a:r>
              <a:rPr kumimoji="1" lang="zh-CN" alt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元拜访津贴</a:t>
            </a:r>
            <a:endParaRPr kumimoji="1" lang="en-US" altLang="zh-CN" sz="1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kumimoji="1"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量限制：</a:t>
            </a:r>
            <a:r>
              <a:rPr kumimoji="1" lang="zh-CN" alt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最后</a:t>
            </a:r>
            <a:r>
              <a:rPr kumimoji="1"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5</a:t>
            </a:r>
            <a:r>
              <a:rPr kumimoji="1" lang="zh-CN" alt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份</a:t>
            </a:r>
            <a:r>
              <a:rPr kumimoji="1"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| </a:t>
            </a:r>
            <a:r>
              <a:rPr kumimoji="1" lang="zh-CN" alt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完成拜访客户，领</a:t>
            </a:r>
            <a:r>
              <a:rPr kumimoji="1"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0</a:t>
            </a:r>
            <a:r>
              <a:rPr kumimoji="1" lang="zh-CN" alt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元拜访津贴</a:t>
            </a:r>
          </a:p>
        </p:txBody>
      </p:sp>
    </p:spTree>
    <p:extLst>
      <p:ext uri="{BB962C8B-B14F-4D97-AF65-F5344CB8AC3E}">
        <p14:creationId xmlns:p14="http://schemas.microsoft.com/office/powerpoint/2010/main" val="355356384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>
            <a:extLst>
              <a:ext uri="{FF2B5EF4-FFF2-40B4-BE49-F238E27FC236}">
                <a16:creationId xmlns:a16="http://schemas.microsoft.com/office/drawing/2014/main" id="{4D5A4E2A-6542-B202-49C1-485C7E1E850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4505"/>
          <a:stretch/>
        </p:blipFill>
        <p:spPr>
          <a:xfrm>
            <a:off x="-25400" y="0"/>
            <a:ext cx="12217400" cy="6966857"/>
          </a:xfrm>
          <a:prstGeom prst="rect">
            <a:avLst/>
          </a:prstGeom>
        </p:spPr>
      </p:pic>
      <p:sp>
        <p:nvSpPr>
          <p:cNvPr id="9" name="e7d195523061f1c0" descr="e7d195523061f1c0d318120d6aeaf1b6ccceb6ba3da59c0775C5DE19DDDEBC09ED96DBD9900D9848D623ECAD1D4904B78047D0015C22C8BE97228BE8B5BFF08FE7A3AE04126DA07312A96C0F69F9BAB71A8D4487C13BBD21E178D4F88753BF1C0AA2D476514934E2BFA1BCD92238D9398A04F1D9D25610EF52C0143E775B4548A6233544C90E9CB7" hidden="1">
            <a:extLst>
              <a:ext uri="{FF2B5EF4-FFF2-40B4-BE49-F238E27FC236}">
                <a16:creationId xmlns:a16="http://schemas.microsoft.com/office/drawing/2014/main" id="{4E552777-4412-4D28-87F1-58AB7948412F}"/>
              </a:ext>
            </a:extLst>
          </p:cNvPr>
          <p:cNvSpPr txBox="1"/>
          <p:nvPr/>
        </p:nvSpPr>
        <p:spPr>
          <a:xfrm>
            <a:off x="-355600" y="1803400"/>
            <a:ext cx="26225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华文楷体"/>
                <a:cs typeface="+mn-cs"/>
              </a:rPr>
              <a:t>e7d195523061f1c0d318120d6aeaf1b6ccceb6ba3da59c0775C5DE19DDDEBC09ED96DBD9900D9848D623ECAD1D4904B78047D0015C22C8BE97228BE8B5BFF08FE7A3AE04126DA07312A96C0F69F9BAB71A8D4487C13BBD21E178D4F88753BF1C0AA2D476514934E2BFA1BCD92238D9398A04F1D9D25610EF52C0143E775B4548A6233544C90E9CB7</a:t>
            </a:r>
            <a:endParaRPr kumimoji="0" lang="zh-CN" altLang="en-US" sz="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华文楷体"/>
              <a:cs typeface="+mn-cs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3062C623-795E-B76A-9679-0DA6E0A79431}"/>
              </a:ext>
            </a:extLst>
          </p:cNvPr>
          <p:cNvSpPr/>
          <p:nvPr/>
        </p:nvSpPr>
        <p:spPr>
          <a:xfrm rot="10800000">
            <a:off x="-3" y="-1"/>
            <a:ext cx="12242799" cy="7017657"/>
          </a:xfrm>
          <a:prstGeom prst="rect">
            <a:avLst/>
          </a:prstGeom>
          <a:solidFill>
            <a:srgbClr val="000000">
              <a:alpha val="7098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1" name="object 3">
            <a:extLst>
              <a:ext uri="{FF2B5EF4-FFF2-40B4-BE49-F238E27FC236}">
                <a16:creationId xmlns:a16="http://schemas.microsoft.com/office/drawing/2014/main" id="{313048AF-CD66-8E26-5B09-BE628937EA26}"/>
              </a:ext>
            </a:extLst>
          </p:cNvPr>
          <p:cNvSpPr txBox="1">
            <a:spLocks/>
          </p:cNvSpPr>
          <p:nvPr/>
        </p:nvSpPr>
        <p:spPr>
          <a:xfrm>
            <a:off x="2476496" y="2547220"/>
            <a:ext cx="7289799" cy="1763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 marR="0" lvl="0" indent="0" algn="ctr" defTabSz="914400" rtl="0" eaLnBrk="1" fontAlgn="auto" latinLnBrk="0" hangingPunct="1">
              <a:lnSpc>
                <a:spcPct val="15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4000" dirty="0">
                <a:solidFill>
                  <a:srgbClr val="FE8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走完</a:t>
            </a:r>
            <a:r>
              <a:rPr lang="en-US" altLang="zh-CN" sz="4000" dirty="0">
                <a:solidFill>
                  <a:srgbClr val="FE8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4000" dirty="0">
                <a:solidFill>
                  <a:srgbClr val="FE8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步</a:t>
            </a:r>
            <a:endParaRPr lang="en-US" altLang="zh-CN" sz="4000" dirty="0">
              <a:solidFill>
                <a:srgbClr val="FE8637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2700" marR="0" lvl="0" indent="0" algn="ctr" defTabSz="914400" rtl="0" eaLnBrk="1" fontAlgn="auto" latinLnBrk="0" hangingPunct="1">
              <a:lnSpc>
                <a:spcPct val="15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4000" dirty="0">
                <a:solidFill>
                  <a:srgbClr val="FE8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可以开启高转化文案创作之旅啦！</a:t>
            </a:r>
            <a:endParaRPr kumimoji="0" lang="zh-CN" altLang="en-US" sz="4000" b="1" i="0" u="none" strike="noStrike" kern="1200" cap="none" spc="0" normalizeH="0" baseline="0" noProof="0" dirty="0">
              <a:ln>
                <a:noFill/>
              </a:ln>
              <a:solidFill>
                <a:srgbClr val="FE8637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20711307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图片 39">
            <a:extLst>
              <a:ext uri="{FF2B5EF4-FFF2-40B4-BE49-F238E27FC236}">
                <a16:creationId xmlns:a16="http://schemas.microsoft.com/office/drawing/2014/main" id="{7CB1490E-39EF-785B-93D8-3B5E023A7BD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9418" y="253211"/>
            <a:ext cx="1837445" cy="501494"/>
          </a:xfrm>
          <a:prstGeom prst="rect">
            <a:avLst/>
          </a:prstGeom>
        </p:spPr>
      </p:pic>
      <p:sp>
        <p:nvSpPr>
          <p:cNvPr id="2" name="PA_文本框 21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>
            <a:extLst>
              <a:ext uri="{FF2B5EF4-FFF2-40B4-BE49-F238E27FC236}">
                <a16:creationId xmlns:a16="http://schemas.microsoft.com/office/drawing/2014/main" id="{EB15CC80-CF2A-2BCF-9F74-8937D327667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80230" y="330214"/>
            <a:ext cx="5893181" cy="46166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zh-CN"/>
            </a:defPPr>
            <a:lvl1pPr marL="12700" marR="0" lvl="0" indent="0" fontAlgn="auto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F05A23"/>
                </a:solidFill>
                <a:effectLst/>
                <a:uLnTx/>
                <a:uFillTx/>
                <a:latin typeface="Arial"/>
                <a:ea typeface="华文楷体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  <a:lvl6pPr>
              <a:defRPr>
                <a:latin typeface="+mn-lt"/>
                <a:ea typeface="+mn-ea"/>
                <a:cs typeface="+mn-cs"/>
              </a:defRPr>
            </a:lvl6pPr>
            <a:lvl7pPr>
              <a:defRPr>
                <a:latin typeface="+mn-lt"/>
                <a:ea typeface="+mn-ea"/>
                <a:cs typeface="+mn-cs"/>
              </a:defRPr>
            </a:lvl7pPr>
            <a:lvl8pPr>
              <a:defRPr>
                <a:latin typeface="+mn-lt"/>
                <a:ea typeface="+mn-ea"/>
                <a:cs typeface="+mn-cs"/>
              </a:defRPr>
            </a:lvl8pPr>
            <a:lvl9pPr>
              <a:defRPr>
                <a:latin typeface="+mn-lt"/>
                <a:ea typeface="+mn-ea"/>
                <a:cs typeface="+mn-cs"/>
              </a:defRPr>
            </a:lvl9pPr>
          </a:lstStyle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2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原则，不偏离主道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2B23F7BC-282A-284C-1BC8-0CF3B481E51A}"/>
              </a:ext>
            </a:extLst>
          </p:cNvPr>
          <p:cNvSpPr txBox="1"/>
          <p:nvPr/>
        </p:nvSpPr>
        <p:spPr>
          <a:xfrm>
            <a:off x="280650" y="358385"/>
            <a:ext cx="6744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.2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2CAF5BC4-CA41-F81C-E7BA-6AC3E90515A5}"/>
              </a:ext>
            </a:extLst>
          </p:cNvPr>
          <p:cNvSpPr/>
          <p:nvPr/>
        </p:nvSpPr>
        <p:spPr>
          <a:xfrm>
            <a:off x="1709016" y="1083185"/>
            <a:ext cx="8702936" cy="674389"/>
          </a:xfrm>
          <a:prstGeom prst="rect">
            <a:avLst/>
          </a:prstGeom>
        </p:spPr>
        <p:txBody>
          <a:bodyPr anchor="b" anchorCtr="0">
            <a:noAutofit/>
          </a:bodyPr>
          <a:lstStyle/>
          <a:p>
            <a:pPr algn="ctr">
              <a:buSzPct val="25000"/>
            </a:pP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以</a:t>
            </a:r>
            <a:r>
              <a:rPr lang="zh-CN" altLang="en-US" sz="3000" b="1" dirty="0">
                <a:solidFill>
                  <a:srgbClr val="F05A2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户为中心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才能写出高转化文案</a:t>
            </a:r>
            <a:endParaRPr lang="en-US" altLang="zh-CN" sz="3000" b="1" dirty="0">
              <a:solidFill>
                <a:srgbClr val="F3774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18" name="表格 17">
            <a:extLst>
              <a:ext uri="{FF2B5EF4-FFF2-40B4-BE49-F238E27FC236}">
                <a16:creationId xmlns:a16="http://schemas.microsoft.com/office/drawing/2014/main" id="{4A46DE7E-D91B-2B16-5141-8D3C182694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5870285"/>
              </p:ext>
            </p:extLst>
          </p:nvPr>
        </p:nvGraphicFramePr>
        <p:xfrm>
          <a:off x="1876288" y="1918828"/>
          <a:ext cx="8991852" cy="47823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50362">
                  <a:extLst>
                    <a:ext uri="{9D8B030D-6E8A-4147-A177-3AD203B41FA5}">
                      <a16:colId xmlns:a16="http://schemas.microsoft.com/office/drawing/2014/main" val="123992678"/>
                    </a:ext>
                  </a:extLst>
                </a:gridCol>
                <a:gridCol w="5541490">
                  <a:extLst>
                    <a:ext uri="{9D8B030D-6E8A-4147-A177-3AD203B41FA5}">
                      <a16:colId xmlns:a16="http://schemas.microsoft.com/office/drawing/2014/main" val="2649354788"/>
                    </a:ext>
                  </a:extLst>
                </a:gridCol>
              </a:tblGrid>
              <a:tr h="334631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提问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举例（智能拜访助手）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92972948"/>
                  </a:ext>
                </a:extLst>
              </a:tr>
              <a:tr h="592176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你的用户是谁？</a:t>
                      </a:r>
                    </a:p>
                  </a:txBody>
                  <a:tcPr anchor="ctr">
                    <a:solidFill>
                      <a:srgbClr val="FCEAE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Wingdings" panose="05000000000000000000" pitchFamily="2" charset="2"/>
                        <a:buNone/>
                      </a:pPr>
                      <a:r>
                        <a:rPr lang="zh-CN" altLang="en-US" sz="1800" kern="120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所有平安在职代理人</a:t>
                      </a:r>
                    </a:p>
                  </a:txBody>
                  <a:tcPr anchor="ctr">
                    <a:solidFill>
                      <a:srgbClr val="FCEA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4464336"/>
                  </a:ext>
                </a:extLst>
              </a:tr>
              <a:tr h="540603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他遇到了什么问题？</a:t>
                      </a:r>
                    </a:p>
                  </a:txBody>
                  <a:tcPr anchor="ctr">
                    <a:solidFill>
                      <a:srgbClr val="FCEAE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很多场景无法面见客户（疫情、夜间、异地</a:t>
                      </a:r>
                      <a:r>
                        <a:rPr lang="en-US" altLang="zh-CN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……</a:t>
                      </a:r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</a:t>
                      </a:r>
                    </a:p>
                  </a:txBody>
                  <a:tcPr anchor="ctr">
                    <a:solidFill>
                      <a:srgbClr val="FCEA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3636790"/>
                  </a:ext>
                </a:extLst>
              </a:tr>
              <a:tr h="540603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他在寻求什么解决方案？有哪些尝试</a:t>
                      </a:r>
                    </a:p>
                  </a:txBody>
                  <a:tcPr anchor="ctr">
                    <a:solidFill>
                      <a:srgbClr val="FCEAE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电话</a:t>
                      </a:r>
                      <a:r>
                        <a:rPr lang="en-US" altLang="zh-CN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微信、腾讯会议</a:t>
                      </a:r>
                    </a:p>
                  </a:txBody>
                  <a:tcPr anchor="ctr">
                    <a:solidFill>
                      <a:srgbClr val="FCEA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7185472"/>
                  </a:ext>
                </a:extLst>
              </a:tr>
              <a:tr h="540603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最终，他为什么要用我们的产品呢？</a:t>
                      </a:r>
                    </a:p>
                  </a:txBody>
                  <a:tcPr anchor="ctr">
                    <a:solidFill>
                      <a:srgbClr val="FCEAE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客户看不到素材，讲解成本高。公司的素材不能直接用</a:t>
                      </a:r>
                    </a:p>
                  </a:txBody>
                  <a:tcPr anchor="ctr">
                    <a:solidFill>
                      <a:srgbClr val="FCEA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3078474"/>
                  </a:ext>
                </a:extLst>
              </a:tr>
              <a:tr h="54060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使用产品后对他有什么好处？</a:t>
                      </a:r>
                    </a:p>
                  </a:txBody>
                  <a:tcPr anchor="ctr">
                    <a:solidFill>
                      <a:srgbClr val="FCEAE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、不用见面也可以实现拜访</a:t>
                      </a:r>
                      <a:endParaRPr lang="en-US" altLang="zh-CN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en-US" altLang="zh-CN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、相比微信、腾讯会议，拜访助手可以同步给客户演示材料，边讲边标记</a:t>
                      </a:r>
                      <a:endParaRPr lang="en-US" altLang="zh-CN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en-US" altLang="zh-CN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、拜访助手上还有近万份官方素材，节省了材料制作成本</a:t>
                      </a:r>
                    </a:p>
                  </a:txBody>
                  <a:tcPr anchor="ctr">
                    <a:solidFill>
                      <a:srgbClr val="FCEA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40603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b="1" dirty="0">
                          <a:solidFill>
                            <a:srgbClr val="F3774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至于背后用了什么技术、具体怎么实现的，对于代理人来说他们看不懂、也不关注</a:t>
                      </a:r>
                    </a:p>
                  </a:txBody>
                  <a:tcPr anchor="ctr">
                    <a:solidFill>
                      <a:srgbClr val="FCEAE8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solidFill>
                      <a:srgbClr val="FCEA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1733795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图片 39">
            <a:extLst>
              <a:ext uri="{FF2B5EF4-FFF2-40B4-BE49-F238E27FC236}">
                <a16:creationId xmlns:a16="http://schemas.microsoft.com/office/drawing/2014/main" id="{7CB1490E-39EF-785B-93D8-3B5E023A7BD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9418" y="253211"/>
            <a:ext cx="1837445" cy="501494"/>
          </a:xfrm>
          <a:prstGeom prst="rect">
            <a:avLst/>
          </a:prstGeom>
        </p:spPr>
      </p:pic>
      <p:sp>
        <p:nvSpPr>
          <p:cNvPr id="2" name="PA_文本框 21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>
            <a:extLst>
              <a:ext uri="{FF2B5EF4-FFF2-40B4-BE49-F238E27FC236}">
                <a16:creationId xmlns:a16="http://schemas.microsoft.com/office/drawing/2014/main" id="{EB15CC80-CF2A-2BCF-9F74-8937D327667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80230" y="330214"/>
            <a:ext cx="5152913" cy="46166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zh-CN"/>
            </a:defPPr>
            <a:lvl1pPr marL="12700" marR="0" lvl="0" indent="0" fontAlgn="auto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F05A23"/>
                </a:solidFill>
                <a:effectLst/>
                <a:uLnTx/>
                <a:uFillTx/>
                <a:latin typeface="Arial"/>
                <a:ea typeface="华文楷体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  <a:lvl6pPr>
              <a:defRPr>
                <a:latin typeface="+mn-lt"/>
                <a:ea typeface="+mn-ea"/>
                <a:cs typeface="+mn-cs"/>
              </a:defRPr>
            </a:lvl6pPr>
            <a:lvl7pPr>
              <a:defRPr>
                <a:latin typeface="+mn-lt"/>
                <a:ea typeface="+mn-ea"/>
                <a:cs typeface="+mn-cs"/>
              </a:defRPr>
            </a:lvl7pPr>
            <a:lvl8pPr>
              <a:defRPr>
                <a:latin typeface="+mn-lt"/>
                <a:ea typeface="+mn-ea"/>
                <a:cs typeface="+mn-cs"/>
              </a:defRPr>
            </a:lvl8pPr>
            <a:lvl9pPr>
              <a:defRPr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altLang="zh-CN" sz="2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2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原则，不偏离主道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2B23F7BC-282A-284C-1BC8-0CF3B481E51A}"/>
              </a:ext>
            </a:extLst>
          </p:cNvPr>
          <p:cNvSpPr txBox="1"/>
          <p:nvPr/>
        </p:nvSpPr>
        <p:spPr>
          <a:xfrm>
            <a:off x="280650" y="358385"/>
            <a:ext cx="6744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.2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2CAF5BC4-CA41-F81C-E7BA-6AC3E90515A5}"/>
              </a:ext>
            </a:extLst>
          </p:cNvPr>
          <p:cNvSpPr/>
          <p:nvPr/>
        </p:nvSpPr>
        <p:spPr>
          <a:xfrm>
            <a:off x="1637097" y="1720183"/>
            <a:ext cx="8702936" cy="674389"/>
          </a:xfrm>
          <a:prstGeom prst="rect">
            <a:avLst/>
          </a:prstGeom>
        </p:spPr>
        <p:txBody>
          <a:bodyPr anchor="b" anchorCtr="0">
            <a:noAutofit/>
          </a:bodyPr>
          <a:lstStyle/>
          <a:p>
            <a:pPr algn="ctr">
              <a:buSzPct val="25000"/>
            </a:pPr>
            <a:r>
              <a:rPr lang="zh-CN" altLang="en-US" sz="3000" b="1" dirty="0">
                <a:solidFill>
                  <a:srgbClr val="F05A2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干掉陌生概念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让用户看的懂</a:t>
            </a:r>
            <a:endParaRPr lang="en-US" altLang="zh-CN" sz="3000" b="1" dirty="0">
              <a:solidFill>
                <a:srgbClr val="F3774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666982DB-CD01-7391-2FFB-29F24E744523}"/>
              </a:ext>
            </a:extLst>
          </p:cNvPr>
          <p:cNvSpPr>
            <a:spLocks/>
          </p:cNvSpPr>
          <p:nvPr/>
        </p:nvSpPr>
        <p:spPr>
          <a:xfrm flipH="1">
            <a:off x="7152348" y="3186864"/>
            <a:ext cx="4049990" cy="14675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 anchorCtr="1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zh-CN" altLang="en-US" dirty="0">
                <a:solidFill>
                  <a:srgbClr val="F05A2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卖课的杰克是谁？</a:t>
            </a:r>
            <a:endParaRPr kumimoji="1" lang="en-US" altLang="zh-CN" dirty="0">
              <a:solidFill>
                <a:srgbClr val="F05A2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zh-CN" altLang="en-US" dirty="0">
                <a:solidFill>
                  <a:srgbClr val="F05A2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他们发了什么文案？</a:t>
            </a:r>
            <a:endParaRPr kumimoji="1" lang="en-US" altLang="zh-CN" dirty="0">
              <a:solidFill>
                <a:srgbClr val="F05A2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en-US" altLang="zh-CN" dirty="0">
                <a:solidFill>
                  <a:srgbClr val="F05A2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R</a:t>
            </a:r>
            <a:r>
              <a:rPr kumimoji="1" lang="zh-CN" altLang="en-US" dirty="0">
                <a:solidFill>
                  <a:srgbClr val="F05A2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三姐又是谁？</a:t>
            </a:r>
            <a:endParaRPr kumimoji="1" lang="en-US" altLang="zh-CN" dirty="0">
              <a:solidFill>
                <a:srgbClr val="F05A2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zh-CN" altLang="en-US" dirty="0">
                <a:solidFill>
                  <a:srgbClr val="F05A2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你说那么多这些跟我有</a:t>
            </a:r>
            <a:r>
              <a:rPr kumimoji="1" lang="zh-CN" altLang="en-US" dirty="0">
                <a:solidFill>
                  <a:srgbClr val="F3774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什么关系？</a:t>
            </a:r>
            <a:endParaRPr kumimoji="1" lang="en-US" altLang="zh-CN" dirty="0">
              <a:solidFill>
                <a:srgbClr val="F3774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kumimoji="1" lang="en-US" altLang="zh-CN" dirty="0">
              <a:solidFill>
                <a:srgbClr val="F3774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kumimoji="1" lang="en-US" altLang="zh-CN" dirty="0">
              <a:solidFill>
                <a:srgbClr val="F3774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4" name="组合 13"/>
          <p:cNvGrpSpPr/>
          <p:nvPr/>
        </p:nvGrpSpPr>
        <p:grpSpPr>
          <a:xfrm>
            <a:off x="1637097" y="2990180"/>
            <a:ext cx="5515251" cy="1860892"/>
            <a:chOff x="1678194" y="2620310"/>
            <a:chExt cx="5515251" cy="1860892"/>
          </a:xfrm>
        </p:grpSpPr>
        <p:pic>
          <p:nvPicPr>
            <p:cNvPr id="7" name="图片 6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678194" y="2620310"/>
              <a:ext cx="5515251" cy="1860892"/>
            </a:xfrm>
            <a:prstGeom prst="rect">
              <a:avLst/>
            </a:prstGeom>
          </p:spPr>
        </p:pic>
        <p:cxnSp>
          <p:nvCxnSpPr>
            <p:cNvPr id="9" name="直接连接符 8"/>
            <p:cNvCxnSpPr/>
            <p:nvPr/>
          </p:nvCxnSpPr>
          <p:spPr>
            <a:xfrm>
              <a:off x="1900719" y="3462391"/>
              <a:ext cx="3719245" cy="10274"/>
            </a:xfrm>
            <a:prstGeom prst="line">
              <a:avLst/>
            </a:prstGeom>
            <a:ln w="19050">
              <a:solidFill>
                <a:schemeClr val="accent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直接连接符 10"/>
            <p:cNvCxnSpPr/>
            <p:nvPr/>
          </p:nvCxnSpPr>
          <p:spPr>
            <a:xfrm flipV="1">
              <a:off x="3368211" y="3697108"/>
              <a:ext cx="1655852" cy="10431"/>
            </a:xfrm>
            <a:prstGeom prst="line">
              <a:avLst/>
            </a:prstGeom>
            <a:ln w="19050">
              <a:solidFill>
                <a:schemeClr val="accent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直接连接符 12"/>
            <p:cNvCxnSpPr/>
            <p:nvPr/>
          </p:nvCxnSpPr>
          <p:spPr>
            <a:xfrm>
              <a:off x="3556686" y="3923181"/>
              <a:ext cx="639451" cy="8644"/>
            </a:xfrm>
            <a:prstGeom prst="line">
              <a:avLst/>
            </a:prstGeom>
            <a:ln w="19050">
              <a:solidFill>
                <a:schemeClr val="accent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1226989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图片 39">
            <a:extLst>
              <a:ext uri="{FF2B5EF4-FFF2-40B4-BE49-F238E27FC236}">
                <a16:creationId xmlns:a16="http://schemas.microsoft.com/office/drawing/2014/main" id="{7CB1490E-39EF-785B-93D8-3B5E023A7BD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9418" y="253211"/>
            <a:ext cx="1837445" cy="501494"/>
          </a:xfrm>
          <a:prstGeom prst="rect">
            <a:avLst/>
          </a:prstGeom>
        </p:spPr>
      </p:pic>
      <p:sp>
        <p:nvSpPr>
          <p:cNvPr id="2" name="PA_文本框 21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>
            <a:extLst>
              <a:ext uri="{FF2B5EF4-FFF2-40B4-BE49-F238E27FC236}">
                <a16:creationId xmlns:a16="http://schemas.microsoft.com/office/drawing/2014/main" id="{EB15CC80-CF2A-2BCF-9F74-8937D327667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80230" y="330214"/>
            <a:ext cx="5152913" cy="46166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zh-CN"/>
            </a:defPPr>
            <a:lvl1pPr marL="12700" marR="0" lvl="0" indent="0" fontAlgn="auto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F05A23"/>
                </a:solidFill>
                <a:effectLst/>
                <a:uLnTx/>
                <a:uFillTx/>
                <a:latin typeface="Arial"/>
                <a:ea typeface="华文楷体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  <a:lvl6pPr>
              <a:defRPr>
                <a:latin typeface="+mn-lt"/>
                <a:ea typeface="+mn-ea"/>
                <a:cs typeface="+mn-cs"/>
              </a:defRPr>
            </a:lvl6pPr>
            <a:lvl7pPr>
              <a:defRPr>
                <a:latin typeface="+mn-lt"/>
                <a:ea typeface="+mn-ea"/>
                <a:cs typeface="+mn-cs"/>
              </a:defRPr>
            </a:lvl7pPr>
            <a:lvl8pPr>
              <a:defRPr>
                <a:latin typeface="+mn-lt"/>
                <a:ea typeface="+mn-ea"/>
                <a:cs typeface="+mn-cs"/>
              </a:defRPr>
            </a:lvl8pPr>
            <a:lvl9pPr>
              <a:defRPr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altLang="zh-CN" sz="2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2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原则，不偏离主道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2B23F7BC-282A-284C-1BC8-0CF3B481E51A}"/>
              </a:ext>
            </a:extLst>
          </p:cNvPr>
          <p:cNvSpPr txBox="1"/>
          <p:nvPr/>
        </p:nvSpPr>
        <p:spPr>
          <a:xfrm>
            <a:off x="280650" y="358385"/>
            <a:ext cx="6744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.2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2CAF5BC4-CA41-F81C-E7BA-6AC3E90515A5}"/>
              </a:ext>
            </a:extLst>
          </p:cNvPr>
          <p:cNvSpPr/>
          <p:nvPr/>
        </p:nvSpPr>
        <p:spPr>
          <a:xfrm>
            <a:off x="1355567" y="1252713"/>
            <a:ext cx="8702936" cy="674389"/>
          </a:xfrm>
          <a:prstGeom prst="rect">
            <a:avLst/>
          </a:prstGeom>
        </p:spPr>
        <p:txBody>
          <a:bodyPr anchor="b" anchorCtr="0">
            <a:noAutofit/>
          </a:bodyPr>
          <a:lstStyle/>
          <a:p>
            <a:pPr algn="ctr">
              <a:buSzPct val="25000"/>
            </a:pP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少讲观点、多讲</a:t>
            </a:r>
            <a:r>
              <a:rPr lang="zh-CN" altLang="en-US" sz="3000" b="1" dirty="0">
                <a:solidFill>
                  <a:srgbClr val="F05A2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事实、场景</a:t>
            </a:r>
            <a:endParaRPr lang="en-US" altLang="zh-CN" sz="3000" b="1" dirty="0">
              <a:solidFill>
                <a:srgbClr val="F05A2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870460" y="2213276"/>
            <a:ext cx="7434520" cy="4224233"/>
            <a:chOff x="1385735" y="3547370"/>
            <a:chExt cx="7492402" cy="4224233"/>
          </a:xfrm>
        </p:grpSpPr>
        <p:sp>
          <p:nvSpPr>
            <p:cNvPr id="59" name="任意多边形: 形状 30">
              <a:extLst>
                <a:ext uri="{FF2B5EF4-FFF2-40B4-BE49-F238E27FC236}">
                  <a16:creationId xmlns:a16="http://schemas.microsoft.com/office/drawing/2014/main" id="{009F25DD-B412-4F63-97A7-115EE82D0AAC}"/>
                </a:ext>
              </a:extLst>
            </p:cNvPr>
            <p:cNvSpPr/>
            <p:nvPr/>
          </p:nvSpPr>
          <p:spPr>
            <a:xfrm>
              <a:off x="8699209" y="3565500"/>
              <a:ext cx="178928" cy="141741"/>
            </a:xfrm>
            <a:custGeom>
              <a:avLst/>
              <a:gdLst>
                <a:gd name="connsiteX0" fmla="*/ 486767 w 514350"/>
                <a:gd name="connsiteY0" fmla="*/ 621 h 409575"/>
                <a:gd name="connsiteX1" fmla="*/ 515342 w 514350"/>
                <a:gd name="connsiteY1" fmla="*/ 29196 h 409575"/>
                <a:gd name="connsiteX2" fmla="*/ 515342 w 514350"/>
                <a:gd name="connsiteY2" fmla="*/ 324471 h 409575"/>
                <a:gd name="connsiteX3" fmla="*/ 486767 w 514350"/>
                <a:gd name="connsiteY3" fmla="*/ 353046 h 409575"/>
                <a:gd name="connsiteX4" fmla="*/ 192159 w 514350"/>
                <a:gd name="connsiteY4" fmla="*/ 353046 h 409575"/>
                <a:gd name="connsiteX5" fmla="*/ 115387 w 514350"/>
                <a:gd name="connsiteY5" fmla="*/ 410196 h 409575"/>
                <a:gd name="connsiteX6" fmla="*/ 115387 w 514350"/>
                <a:gd name="connsiteY6" fmla="*/ 353046 h 409575"/>
                <a:gd name="connsiteX7" fmla="*/ 29567 w 514350"/>
                <a:gd name="connsiteY7" fmla="*/ 353046 h 409575"/>
                <a:gd name="connsiteX8" fmla="*/ 992 w 514350"/>
                <a:gd name="connsiteY8" fmla="*/ 324471 h 409575"/>
                <a:gd name="connsiteX9" fmla="*/ 992 w 514350"/>
                <a:gd name="connsiteY9" fmla="*/ 29196 h 409575"/>
                <a:gd name="connsiteX10" fmla="*/ 29567 w 514350"/>
                <a:gd name="connsiteY10" fmla="*/ 621 h 409575"/>
                <a:gd name="connsiteX11" fmla="*/ 486767 w 514350"/>
                <a:gd name="connsiteY11" fmla="*/ 621 h 409575"/>
                <a:gd name="connsiteX12" fmla="*/ 124817 w 514350"/>
                <a:gd name="connsiteY12" fmla="*/ 143496 h 409575"/>
                <a:gd name="connsiteX13" fmla="*/ 91480 w 514350"/>
                <a:gd name="connsiteY13" fmla="*/ 176834 h 409575"/>
                <a:gd name="connsiteX14" fmla="*/ 124817 w 514350"/>
                <a:gd name="connsiteY14" fmla="*/ 210171 h 409575"/>
                <a:gd name="connsiteX15" fmla="*/ 158155 w 514350"/>
                <a:gd name="connsiteY15" fmla="*/ 176834 h 409575"/>
                <a:gd name="connsiteX16" fmla="*/ 124817 w 514350"/>
                <a:gd name="connsiteY16" fmla="*/ 143496 h 409575"/>
                <a:gd name="connsiteX17" fmla="*/ 258167 w 514350"/>
                <a:gd name="connsiteY17" fmla="*/ 143496 h 409575"/>
                <a:gd name="connsiteX18" fmla="*/ 224830 w 514350"/>
                <a:gd name="connsiteY18" fmla="*/ 176834 h 409575"/>
                <a:gd name="connsiteX19" fmla="*/ 258167 w 514350"/>
                <a:gd name="connsiteY19" fmla="*/ 210171 h 409575"/>
                <a:gd name="connsiteX20" fmla="*/ 291505 w 514350"/>
                <a:gd name="connsiteY20" fmla="*/ 176834 h 409575"/>
                <a:gd name="connsiteX21" fmla="*/ 258167 w 514350"/>
                <a:gd name="connsiteY21" fmla="*/ 143496 h 409575"/>
                <a:gd name="connsiteX22" fmla="*/ 391517 w 514350"/>
                <a:gd name="connsiteY22" fmla="*/ 143496 h 409575"/>
                <a:gd name="connsiteX23" fmla="*/ 358180 w 514350"/>
                <a:gd name="connsiteY23" fmla="*/ 176834 h 409575"/>
                <a:gd name="connsiteX24" fmla="*/ 391517 w 514350"/>
                <a:gd name="connsiteY24" fmla="*/ 210171 h 409575"/>
                <a:gd name="connsiteX25" fmla="*/ 424855 w 514350"/>
                <a:gd name="connsiteY25" fmla="*/ 176834 h 409575"/>
                <a:gd name="connsiteX26" fmla="*/ 391517 w 514350"/>
                <a:gd name="connsiteY26" fmla="*/ 143496 h 409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4350" h="409575">
                  <a:moveTo>
                    <a:pt x="486767" y="621"/>
                  </a:moveTo>
                  <a:cubicBezTo>
                    <a:pt x="502579" y="621"/>
                    <a:pt x="515342" y="13385"/>
                    <a:pt x="515342" y="29196"/>
                  </a:cubicBezTo>
                  <a:lnTo>
                    <a:pt x="515342" y="324471"/>
                  </a:lnTo>
                  <a:cubicBezTo>
                    <a:pt x="515342" y="340282"/>
                    <a:pt x="502579" y="353046"/>
                    <a:pt x="486767" y="353046"/>
                  </a:cubicBezTo>
                  <a:lnTo>
                    <a:pt x="192159" y="353046"/>
                  </a:lnTo>
                  <a:lnTo>
                    <a:pt x="115387" y="410196"/>
                  </a:lnTo>
                  <a:lnTo>
                    <a:pt x="115387" y="353046"/>
                  </a:lnTo>
                  <a:lnTo>
                    <a:pt x="29567" y="353046"/>
                  </a:lnTo>
                  <a:cubicBezTo>
                    <a:pt x="13755" y="353046"/>
                    <a:pt x="992" y="340282"/>
                    <a:pt x="992" y="324471"/>
                  </a:cubicBezTo>
                  <a:lnTo>
                    <a:pt x="992" y="29196"/>
                  </a:lnTo>
                  <a:cubicBezTo>
                    <a:pt x="992" y="13385"/>
                    <a:pt x="13755" y="621"/>
                    <a:pt x="29567" y="621"/>
                  </a:cubicBezTo>
                  <a:lnTo>
                    <a:pt x="486767" y="621"/>
                  </a:lnTo>
                  <a:close/>
                  <a:moveTo>
                    <a:pt x="124817" y="143496"/>
                  </a:moveTo>
                  <a:cubicBezTo>
                    <a:pt x="106434" y="143496"/>
                    <a:pt x="91480" y="158450"/>
                    <a:pt x="91480" y="176834"/>
                  </a:cubicBezTo>
                  <a:cubicBezTo>
                    <a:pt x="91480" y="195217"/>
                    <a:pt x="106434" y="210171"/>
                    <a:pt x="124817" y="210171"/>
                  </a:cubicBezTo>
                  <a:cubicBezTo>
                    <a:pt x="143200" y="210171"/>
                    <a:pt x="158155" y="195217"/>
                    <a:pt x="158155" y="176834"/>
                  </a:cubicBezTo>
                  <a:cubicBezTo>
                    <a:pt x="158155" y="158450"/>
                    <a:pt x="143200" y="143496"/>
                    <a:pt x="124817" y="143496"/>
                  </a:cubicBezTo>
                  <a:close/>
                  <a:moveTo>
                    <a:pt x="258167" y="143496"/>
                  </a:moveTo>
                  <a:cubicBezTo>
                    <a:pt x="239784" y="143496"/>
                    <a:pt x="224830" y="158450"/>
                    <a:pt x="224830" y="176834"/>
                  </a:cubicBezTo>
                  <a:cubicBezTo>
                    <a:pt x="224830" y="195217"/>
                    <a:pt x="239784" y="210171"/>
                    <a:pt x="258167" y="210171"/>
                  </a:cubicBezTo>
                  <a:cubicBezTo>
                    <a:pt x="276550" y="210171"/>
                    <a:pt x="291505" y="195217"/>
                    <a:pt x="291505" y="176834"/>
                  </a:cubicBezTo>
                  <a:cubicBezTo>
                    <a:pt x="291505" y="158450"/>
                    <a:pt x="276550" y="143496"/>
                    <a:pt x="258167" y="143496"/>
                  </a:cubicBezTo>
                  <a:close/>
                  <a:moveTo>
                    <a:pt x="391517" y="143496"/>
                  </a:moveTo>
                  <a:cubicBezTo>
                    <a:pt x="373134" y="143496"/>
                    <a:pt x="358180" y="158450"/>
                    <a:pt x="358180" y="176834"/>
                  </a:cubicBezTo>
                  <a:cubicBezTo>
                    <a:pt x="358180" y="195217"/>
                    <a:pt x="373134" y="210171"/>
                    <a:pt x="391517" y="210171"/>
                  </a:cubicBezTo>
                  <a:cubicBezTo>
                    <a:pt x="409900" y="210171"/>
                    <a:pt x="424855" y="195217"/>
                    <a:pt x="424855" y="176834"/>
                  </a:cubicBezTo>
                  <a:cubicBezTo>
                    <a:pt x="424855" y="158450"/>
                    <a:pt x="409900" y="143496"/>
                    <a:pt x="391517" y="143496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/>
              <a:endParaRPr lang="zh-CN" altLang="en-U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47" name="组合 46">
              <a:extLst>
                <a:ext uri="{FF2B5EF4-FFF2-40B4-BE49-F238E27FC236}">
                  <a16:creationId xmlns:a16="http://schemas.microsoft.com/office/drawing/2014/main" id="{F152DEE8-4B57-4AC0-9BC7-ADC2F54C4D91}"/>
                </a:ext>
              </a:extLst>
            </p:cNvPr>
            <p:cNvGrpSpPr/>
            <p:nvPr/>
          </p:nvGrpSpPr>
          <p:grpSpPr>
            <a:xfrm>
              <a:off x="1385735" y="3547370"/>
              <a:ext cx="7386833" cy="4224233"/>
              <a:chOff x="1005712" y="2357255"/>
              <a:chExt cx="7386833" cy="4224233"/>
            </a:xfrm>
          </p:grpSpPr>
          <p:sp>
            <p:nvSpPr>
              <p:cNvPr id="48" name="矩形 47">
                <a:extLst>
                  <a:ext uri="{FF2B5EF4-FFF2-40B4-BE49-F238E27FC236}">
                    <a16:creationId xmlns:a16="http://schemas.microsoft.com/office/drawing/2014/main" id="{A5DE0E88-C5D1-4291-9D4B-DDB6F36EC8EF}"/>
                  </a:ext>
                </a:extLst>
              </p:cNvPr>
              <p:cNvSpPr/>
              <p:nvPr/>
            </p:nvSpPr>
            <p:spPr>
              <a:xfrm flipH="1">
                <a:off x="1005712" y="2357255"/>
                <a:ext cx="7386833" cy="4224233"/>
              </a:xfrm>
              <a:prstGeom prst="rect">
                <a:avLst/>
              </a:prstGeom>
              <a:ln>
                <a:noFill/>
              </a:ln>
            </p:spPr>
            <p:txBody>
              <a:bodyPr wrap="square" lIns="91440" tIns="45720" rIns="91440" bIns="45720" anchor="t">
                <a:spAutoFit/>
              </a:bodyPr>
              <a:lstStyle/>
              <a:p>
                <a:pPr marL="285750" indent="-285750">
                  <a:lnSpc>
                    <a:spcPct val="150000"/>
                  </a:lnSpc>
                  <a:buFont typeface="Wingdings" panose="05000000000000000000" pitchFamily="2" charset="2"/>
                  <a:buChar char="Ø"/>
                </a:pPr>
                <a:r>
                  <a:rPr lang="zh-CN" altLang="en-US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这门课非常好</a:t>
                </a:r>
                <a:endParaRPr lang="en-US" altLang="zh-CN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285750" indent="-285750">
                  <a:lnSpc>
                    <a:spcPct val="150000"/>
                  </a:lnSpc>
                  <a:buFont typeface="Wingdings" panose="05000000000000000000" pitchFamily="2" charset="2"/>
                  <a:buChar char="Ø"/>
                </a:pPr>
                <a:r>
                  <a:rPr lang="zh-CN" altLang="en-US" dirty="0">
                    <a:solidFill>
                      <a:srgbClr val="F05A23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据统计，上完这堂课的学员平均工资涨了</a:t>
                </a:r>
                <a:r>
                  <a:rPr lang="en-US" altLang="zh-CN" dirty="0">
                    <a:solidFill>
                      <a:srgbClr val="F05A23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2326</a:t>
                </a:r>
                <a:r>
                  <a:rPr lang="zh-CN" altLang="en-US" dirty="0">
                    <a:solidFill>
                      <a:srgbClr val="F05A23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元</a:t>
                </a:r>
                <a:endParaRPr lang="en-US" altLang="zh-CN" dirty="0">
                  <a:solidFill>
                    <a:srgbClr val="F05A23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285750" indent="-285750">
                  <a:lnSpc>
                    <a:spcPct val="150000"/>
                  </a:lnSpc>
                  <a:buFont typeface="Wingdings" panose="05000000000000000000" pitchFamily="2" charset="2"/>
                  <a:buChar char="Ø"/>
                </a:pPr>
                <a:endParaRPr lang="en-US" altLang="zh-CN" sz="1200" dirty="0">
                  <a:solidFill>
                    <a:srgbClr val="F3774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285750" indent="-285750">
                  <a:lnSpc>
                    <a:spcPct val="150000"/>
                  </a:lnSpc>
                  <a:buFont typeface="Wingdings" panose="05000000000000000000" pitchFamily="2" charset="2"/>
                  <a:buChar char="Ø"/>
                </a:pPr>
                <a:r>
                  <a:rPr lang="zh-CN" altLang="en-US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最牛逼的大片，震撼来袭</a:t>
                </a:r>
                <a:endParaRPr lang="en-US" altLang="zh-CN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285750" indent="-285750">
                  <a:lnSpc>
                    <a:spcPct val="150000"/>
                  </a:lnSpc>
                  <a:buFont typeface="Wingdings" panose="05000000000000000000" pitchFamily="2" charset="2"/>
                  <a:buChar char="Ø"/>
                </a:pPr>
                <a:r>
                  <a:rPr lang="zh-CN" altLang="en-US" dirty="0">
                    <a:solidFill>
                      <a:srgbClr val="F05A23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为了实现虚拟动画效果，他和团队共绘制了超过</a:t>
                </a:r>
                <a:r>
                  <a:rPr lang="en-US" altLang="zh-CN" dirty="0">
                    <a:solidFill>
                      <a:srgbClr val="F05A23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20</a:t>
                </a:r>
                <a:r>
                  <a:rPr lang="zh-CN" altLang="en-US" dirty="0">
                    <a:solidFill>
                      <a:srgbClr val="F05A23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多亿个多边形</a:t>
                </a:r>
                <a:endParaRPr lang="en-US" altLang="zh-CN" dirty="0">
                  <a:solidFill>
                    <a:srgbClr val="F05A23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285750" indent="-285750">
                  <a:lnSpc>
                    <a:spcPct val="150000"/>
                  </a:lnSpc>
                  <a:buFont typeface="Wingdings" panose="05000000000000000000" pitchFamily="2" charset="2"/>
                  <a:buChar char="Ø"/>
                </a:pPr>
                <a:endParaRPr lang="en-US" altLang="zh-CN" sz="1200" dirty="0">
                  <a:solidFill>
                    <a:srgbClr val="F3774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285750" indent="-285750">
                  <a:lnSpc>
                    <a:spcPct val="150000"/>
                  </a:lnSpc>
                  <a:buFont typeface="Wingdings" panose="05000000000000000000" pitchFamily="2" charset="2"/>
                  <a:buChar char="Ø"/>
                </a:pPr>
                <a:r>
                  <a:rPr lang="zh-CN" altLang="en-US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找到不工作怎么办？</a:t>
                </a:r>
                <a:endParaRPr lang="en-US" altLang="zh-CN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285750" indent="-285750">
                  <a:lnSpc>
                    <a:spcPct val="150000"/>
                  </a:lnSpc>
                  <a:buFont typeface="Wingdings" panose="05000000000000000000" pitchFamily="2" charset="2"/>
                  <a:buChar char="Ø"/>
                </a:pPr>
                <a:r>
                  <a:rPr lang="zh-CN" altLang="en-US" dirty="0">
                    <a:solidFill>
                      <a:srgbClr val="F05A23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投了几十份简历，却都石沉大海，建议你看看这些招</a:t>
                </a:r>
                <a:endParaRPr lang="en-US" altLang="zh-CN" dirty="0">
                  <a:solidFill>
                    <a:srgbClr val="F05A23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285750" indent="-285750">
                  <a:lnSpc>
                    <a:spcPct val="150000"/>
                  </a:lnSpc>
                  <a:buFont typeface="Wingdings" panose="05000000000000000000" pitchFamily="2" charset="2"/>
                  <a:buChar char="Ø"/>
                </a:pPr>
                <a:endParaRPr lang="en-US" altLang="zh-CN" sz="11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285750" indent="-285750">
                  <a:lnSpc>
                    <a:spcPct val="150000"/>
                  </a:lnSpc>
                  <a:buFont typeface="Wingdings" panose="05000000000000000000" pitchFamily="2" charset="2"/>
                  <a:buChar char="Ø"/>
                </a:pPr>
                <a:r>
                  <a:rPr lang="zh-CN" altLang="en-US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用户鲁班，</a:t>
                </a:r>
                <a:r>
                  <a:rPr lang="en-US" altLang="zh-CN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AIGC</a:t>
                </a:r>
                <a:r>
                  <a:rPr lang="zh-CN" altLang="en-US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帮你快速做海报</a:t>
                </a:r>
                <a:endParaRPr lang="en-US" altLang="zh-CN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285750" indent="-285750">
                  <a:lnSpc>
                    <a:spcPct val="150000"/>
                  </a:lnSpc>
                  <a:buFont typeface="Wingdings" panose="05000000000000000000" pitchFamily="2" charset="2"/>
                  <a:buChar char="Ø"/>
                </a:pPr>
                <a:r>
                  <a:rPr lang="zh-CN" altLang="en-US" dirty="0">
                    <a:solidFill>
                      <a:srgbClr val="F05A23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做海报，没人力、没预算，用鲁班，</a:t>
                </a:r>
                <a:r>
                  <a:rPr lang="en-US" altLang="zh-CN" dirty="0">
                    <a:solidFill>
                      <a:srgbClr val="F05A23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AI</a:t>
                </a:r>
                <a:r>
                  <a:rPr lang="zh-CN" altLang="en-US" dirty="0">
                    <a:solidFill>
                      <a:srgbClr val="F05A23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帮你</a:t>
                </a:r>
                <a:r>
                  <a:rPr lang="en-US" altLang="zh-CN" dirty="0">
                    <a:solidFill>
                      <a:srgbClr val="F05A23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3</a:t>
                </a:r>
                <a:r>
                  <a:rPr lang="zh-CN" altLang="en-US" dirty="0">
                    <a:solidFill>
                      <a:srgbClr val="F05A23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分钟生成创意海报</a:t>
                </a:r>
                <a:endParaRPr lang="en-US" altLang="zh-CN" dirty="0">
                  <a:solidFill>
                    <a:srgbClr val="F05A23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52" name="任意多边形: 形状 58">
                <a:extLst>
                  <a:ext uri="{FF2B5EF4-FFF2-40B4-BE49-F238E27FC236}">
                    <a16:creationId xmlns:a16="http://schemas.microsoft.com/office/drawing/2014/main" id="{42329A38-A8EB-4A6D-921B-B8A43B346F50}"/>
                  </a:ext>
                </a:extLst>
              </p:cNvPr>
              <p:cNvSpPr/>
              <p:nvPr/>
            </p:nvSpPr>
            <p:spPr>
              <a:xfrm>
                <a:off x="1005713" y="2357255"/>
                <a:ext cx="163232" cy="178001"/>
              </a:xfrm>
              <a:custGeom>
                <a:avLst/>
                <a:gdLst>
                  <a:gd name="connsiteX0" fmla="*/ 248770 w 495300"/>
                  <a:gd name="connsiteY0" fmla="*/ 621 h 542925"/>
                  <a:gd name="connsiteX1" fmla="*/ 496420 w 495300"/>
                  <a:gd name="connsiteY1" fmla="*/ 248271 h 542925"/>
                  <a:gd name="connsiteX2" fmla="*/ 323827 w 495300"/>
                  <a:gd name="connsiteY2" fmla="*/ 484396 h 542925"/>
                  <a:gd name="connsiteX3" fmla="*/ 346973 w 495300"/>
                  <a:gd name="connsiteY3" fmla="*/ 524496 h 542925"/>
                  <a:gd name="connsiteX4" fmla="*/ 420220 w 495300"/>
                  <a:gd name="connsiteY4" fmla="*/ 524496 h 542925"/>
                  <a:gd name="connsiteX5" fmla="*/ 420220 w 495300"/>
                  <a:gd name="connsiteY5" fmla="*/ 543546 h 542925"/>
                  <a:gd name="connsiteX6" fmla="*/ 77320 w 495300"/>
                  <a:gd name="connsiteY6" fmla="*/ 543546 h 542925"/>
                  <a:gd name="connsiteX7" fmla="*/ 77320 w 495300"/>
                  <a:gd name="connsiteY7" fmla="*/ 524496 h 542925"/>
                  <a:gd name="connsiteX8" fmla="*/ 150567 w 495300"/>
                  <a:gd name="connsiteY8" fmla="*/ 524496 h 542925"/>
                  <a:gd name="connsiteX9" fmla="*/ 173713 w 495300"/>
                  <a:gd name="connsiteY9" fmla="*/ 484396 h 542925"/>
                  <a:gd name="connsiteX10" fmla="*/ 1120 w 495300"/>
                  <a:gd name="connsiteY10" fmla="*/ 248271 h 542925"/>
                  <a:gd name="connsiteX11" fmla="*/ 248770 w 495300"/>
                  <a:gd name="connsiteY11" fmla="*/ 621 h 542925"/>
                  <a:gd name="connsiteX12" fmla="*/ 192763 w 495300"/>
                  <a:gd name="connsiteY12" fmla="*/ 489539 h 542925"/>
                  <a:gd name="connsiteX13" fmla="*/ 172570 w 495300"/>
                  <a:gd name="connsiteY13" fmla="*/ 524496 h 542925"/>
                  <a:gd name="connsiteX14" fmla="*/ 324970 w 495300"/>
                  <a:gd name="connsiteY14" fmla="*/ 524496 h 542925"/>
                  <a:gd name="connsiteX15" fmla="*/ 304777 w 495300"/>
                  <a:gd name="connsiteY15" fmla="*/ 489539 h 542925"/>
                  <a:gd name="connsiteX16" fmla="*/ 248770 w 495300"/>
                  <a:gd name="connsiteY16" fmla="*/ 495921 h 542925"/>
                  <a:gd name="connsiteX17" fmla="*/ 192763 w 495300"/>
                  <a:gd name="connsiteY17" fmla="*/ 489539 h 542925"/>
                  <a:gd name="connsiteX18" fmla="*/ 248770 w 495300"/>
                  <a:gd name="connsiteY18" fmla="*/ 143496 h 542925"/>
                  <a:gd name="connsiteX19" fmla="*/ 143995 w 495300"/>
                  <a:gd name="connsiteY19" fmla="*/ 248271 h 542925"/>
                  <a:gd name="connsiteX20" fmla="*/ 248770 w 495300"/>
                  <a:gd name="connsiteY20" fmla="*/ 353046 h 542925"/>
                  <a:gd name="connsiteX21" fmla="*/ 353545 w 495300"/>
                  <a:gd name="connsiteY21" fmla="*/ 248271 h 542925"/>
                  <a:gd name="connsiteX22" fmla="*/ 248770 w 495300"/>
                  <a:gd name="connsiteY22" fmla="*/ 143496 h 542925"/>
                  <a:gd name="connsiteX23" fmla="*/ 367833 w 495300"/>
                  <a:gd name="connsiteY23" fmla="*/ 114921 h 542925"/>
                  <a:gd name="connsiteX24" fmla="*/ 353545 w 495300"/>
                  <a:gd name="connsiteY24" fmla="*/ 129209 h 542925"/>
                  <a:gd name="connsiteX25" fmla="*/ 367833 w 495300"/>
                  <a:gd name="connsiteY25" fmla="*/ 143496 h 542925"/>
                  <a:gd name="connsiteX26" fmla="*/ 382120 w 495300"/>
                  <a:gd name="connsiteY26" fmla="*/ 129209 h 542925"/>
                  <a:gd name="connsiteX27" fmla="*/ 367833 w 495300"/>
                  <a:gd name="connsiteY27" fmla="*/ 114921 h 542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495300" h="542925">
                    <a:moveTo>
                      <a:pt x="248770" y="621"/>
                    </a:moveTo>
                    <a:cubicBezTo>
                      <a:pt x="385549" y="621"/>
                      <a:pt x="496420" y="111492"/>
                      <a:pt x="496420" y="248271"/>
                    </a:cubicBezTo>
                    <a:cubicBezTo>
                      <a:pt x="496420" y="358856"/>
                      <a:pt x="423935" y="452582"/>
                      <a:pt x="323827" y="484396"/>
                    </a:cubicBezTo>
                    <a:lnTo>
                      <a:pt x="346973" y="524496"/>
                    </a:lnTo>
                    <a:lnTo>
                      <a:pt x="420220" y="524496"/>
                    </a:lnTo>
                    <a:lnTo>
                      <a:pt x="420220" y="543546"/>
                    </a:lnTo>
                    <a:lnTo>
                      <a:pt x="77320" y="543546"/>
                    </a:lnTo>
                    <a:lnTo>
                      <a:pt x="77320" y="524496"/>
                    </a:lnTo>
                    <a:lnTo>
                      <a:pt x="150567" y="524496"/>
                    </a:lnTo>
                    <a:lnTo>
                      <a:pt x="173713" y="484396"/>
                    </a:lnTo>
                    <a:cubicBezTo>
                      <a:pt x="73605" y="452582"/>
                      <a:pt x="1120" y="358856"/>
                      <a:pt x="1120" y="248271"/>
                    </a:cubicBezTo>
                    <a:cubicBezTo>
                      <a:pt x="1120" y="111492"/>
                      <a:pt x="111991" y="621"/>
                      <a:pt x="248770" y="621"/>
                    </a:cubicBezTo>
                    <a:close/>
                    <a:moveTo>
                      <a:pt x="192763" y="489539"/>
                    </a:moveTo>
                    <a:lnTo>
                      <a:pt x="172570" y="524496"/>
                    </a:lnTo>
                    <a:lnTo>
                      <a:pt x="324970" y="524496"/>
                    </a:lnTo>
                    <a:lnTo>
                      <a:pt x="304777" y="489539"/>
                    </a:lnTo>
                    <a:cubicBezTo>
                      <a:pt x="286775" y="493730"/>
                      <a:pt x="268010" y="495921"/>
                      <a:pt x="248770" y="495921"/>
                    </a:cubicBezTo>
                    <a:cubicBezTo>
                      <a:pt x="229530" y="495921"/>
                      <a:pt x="210765" y="493730"/>
                      <a:pt x="192763" y="489539"/>
                    </a:cubicBezTo>
                    <a:close/>
                    <a:moveTo>
                      <a:pt x="248770" y="143496"/>
                    </a:moveTo>
                    <a:cubicBezTo>
                      <a:pt x="190858" y="143496"/>
                      <a:pt x="143995" y="190359"/>
                      <a:pt x="143995" y="248271"/>
                    </a:cubicBezTo>
                    <a:cubicBezTo>
                      <a:pt x="143995" y="306183"/>
                      <a:pt x="190858" y="353046"/>
                      <a:pt x="248770" y="353046"/>
                    </a:cubicBezTo>
                    <a:cubicBezTo>
                      <a:pt x="306682" y="353046"/>
                      <a:pt x="353545" y="306183"/>
                      <a:pt x="353545" y="248271"/>
                    </a:cubicBezTo>
                    <a:cubicBezTo>
                      <a:pt x="353545" y="190359"/>
                      <a:pt x="306682" y="143496"/>
                      <a:pt x="248770" y="143496"/>
                    </a:cubicBezTo>
                    <a:close/>
                    <a:moveTo>
                      <a:pt x="367833" y="114921"/>
                    </a:moveTo>
                    <a:cubicBezTo>
                      <a:pt x="359927" y="114921"/>
                      <a:pt x="353545" y="121303"/>
                      <a:pt x="353545" y="129209"/>
                    </a:cubicBezTo>
                    <a:cubicBezTo>
                      <a:pt x="353545" y="137114"/>
                      <a:pt x="359927" y="143496"/>
                      <a:pt x="367833" y="143496"/>
                    </a:cubicBezTo>
                    <a:cubicBezTo>
                      <a:pt x="375738" y="143496"/>
                      <a:pt x="382120" y="137114"/>
                      <a:pt x="382120" y="129209"/>
                    </a:cubicBezTo>
                    <a:cubicBezTo>
                      <a:pt x="382120" y="121303"/>
                      <a:pt x="375738" y="114921"/>
                      <a:pt x="367833" y="114921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3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37" name="任意多边形: 形状 111">
              <a:extLst>
                <a:ext uri="{FF2B5EF4-FFF2-40B4-BE49-F238E27FC236}">
                  <a16:creationId xmlns:a16="http://schemas.microsoft.com/office/drawing/2014/main" id="{44A3B617-5EA5-4392-BEBF-54428C6E46E8}"/>
                </a:ext>
              </a:extLst>
            </p:cNvPr>
            <p:cNvSpPr/>
            <p:nvPr/>
          </p:nvSpPr>
          <p:spPr>
            <a:xfrm>
              <a:off x="4996072" y="3559101"/>
              <a:ext cx="178928" cy="148188"/>
            </a:xfrm>
            <a:custGeom>
              <a:avLst/>
              <a:gdLst>
                <a:gd name="connsiteX0" fmla="*/ 483573 w 526297"/>
                <a:gd name="connsiteY0" fmla="*/ 133971 h 438150"/>
                <a:gd name="connsiteX1" fmla="*/ 527674 w 526297"/>
                <a:gd name="connsiteY1" fmla="*/ 178072 h 438150"/>
                <a:gd name="connsiteX2" fmla="*/ 527579 w 526297"/>
                <a:gd name="connsiteY2" fmla="*/ 181501 h 438150"/>
                <a:gd name="connsiteX3" fmla="*/ 514244 w 526297"/>
                <a:gd name="connsiteY3" fmla="*/ 355237 h 438150"/>
                <a:gd name="connsiteX4" fmla="*/ 485764 w 526297"/>
                <a:gd name="connsiteY4" fmla="*/ 381621 h 438150"/>
                <a:gd name="connsiteX5" fmla="*/ 454998 w 526297"/>
                <a:gd name="connsiteY5" fmla="*/ 381621 h 438150"/>
                <a:gd name="connsiteX6" fmla="*/ 454998 w 526297"/>
                <a:gd name="connsiteY6" fmla="*/ 438771 h 438150"/>
                <a:gd name="connsiteX7" fmla="*/ 435948 w 526297"/>
                <a:gd name="connsiteY7" fmla="*/ 438771 h 438150"/>
                <a:gd name="connsiteX8" fmla="*/ 435948 w 526297"/>
                <a:gd name="connsiteY8" fmla="*/ 381621 h 438150"/>
                <a:gd name="connsiteX9" fmla="*/ 93048 w 526297"/>
                <a:gd name="connsiteY9" fmla="*/ 381621 h 438150"/>
                <a:gd name="connsiteX10" fmla="*/ 93048 w 526297"/>
                <a:gd name="connsiteY10" fmla="*/ 438771 h 438150"/>
                <a:gd name="connsiteX11" fmla="*/ 73998 w 526297"/>
                <a:gd name="connsiteY11" fmla="*/ 438771 h 438150"/>
                <a:gd name="connsiteX12" fmla="*/ 73998 w 526297"/>
                <a:gd name="connsiteY12" fmla="*/ 381621 h 438150"/>
                <a:gd name="connsiteX13" fmla="*/ 43328 w 526297"/>
                <a:gd name="connsiteY13" fmla="*/ 381621 h 438150"/>
                <a:gd name="connsiteX14" fmla="*/ 14848 w 526297"/>
                <a:gd name="connsiteY14" fmla="*/ 355237 h 438150"/>
                <a:gd name="connsiteX15" fmla="*/ 1513 w 526297"/>
                <a:gd name="connsiteY15" fmla="*/ 181501 h 438150"/>
                <a:gd name="connsiteX16" fmla="*/ 42089 w 526297"/>
                <a:gd name="connsiteY16" fmla="*/ 134162 h 438150"/>
                <a:gd name="connsiteX17" fmla="*/ 45518 w 526297"/>
                <a:gd name="connsiteY17" fmla="*/ 134066 h 438150"/>
                <a:gd name="connsiteX18" fmla="*/ 101906 w 526297"/>
                <a:gd name="connsiteY18" fmla="*/ 180834 h 438150"/>
                <a:gd name="connsiteX19" fmla="*/ 121623 w 526297"/>
                <a:gd name="connsiteY19" fmla="*/ 286371 h 438150"/>
                <a:gd name="connsiteX20" fmla="*/ 407373 w 526297"/>
                <a:gd name="connsiteY20" fmla="*/ 286371 h 438150"/>
                <a:gd name="connsiteX21" fmla="*/ 427185 w 526297"/>
                <a:gd name="connsiteY21" fmla="*/ 180739 h 438150"/>
                <a:gd name="connsiteX22" fmla="*/ 483573 w 526297"/>
                <a:gd name="connsiteY22" fmla="*/ 133971 h 438150"/>
                <a:gd name="connsiteX23" fmla="*/ 416898 w 526297"/>
                <a:gd name="connsiteY23" fmla="*/ 621 h 438150"/>
                <a:gd name="connsiteX24" fmla="*/ 483573 w 526297"/>
                <a:gd name="connsiteY24" fmla="*/ 67296 h 438150"/>
                <a:gd name="connsiteX25" fmla="*/ 483573 w 526297"/>
                <a:gd name="connsiteY25" fmla="*/ 115397 h 438150"/>
                <a:gd name="connsiteX26" fmla="*/ 476429 w 526297"/>
                <a:gd name="connsiteY26" fmla="*/ 114921 h 438150"/>
                <a:gd name="connsiteX27" fmla="*/ 412040 w 526297"/>
                <a:gd name="connsiteY27" fmla="*/ 166451 h 438150"/>
                <a:gd name="connsiteX28" fmla="*/ 411564 w 526297"/>
                <a:gd name="connsiteY28" fmla="*/ 168737 h 438150"/>
                <a:gd name="connsiteX29" fmla="*/ 393086 w 526297"/>
                <a:gd name="connsiteY29" fmla="*/ 267321 h 438150"/>
                <a:gd name="connsiteX30" fmla="*/ 135911 w 526297"/>
                <a:gd name="connsiteY30" fmla="*/ 267321 h 438150"/>
                <a:gd name="connsiteX31" fmla="*/ 117432 w 526297"/>
                <a:gd name="connsiteY31" fmla="*/ 168737 h 438150"/>
                <a:gd name="connsiteX32" fmla="*/ 52567 w 526297"/>
                <a:gd name="connsiteY32" fmla="*/ 114921 h 438150"/>
                <a:gd name="connsiteX33" fmla="*/ 54948 w 526297"/>
                <a:gd name="connsiteY33" fmla="*/ 67296 h 438150"/>
                <a:gd name="connsiteX34" fmla="*/ 121623 w 526297"/>
                <a:gd name="connsiteY34" fmla="*/ 621 h 438150"/>
                <a:gd name="connsiteX35" fmla="*/ 416898 w 526297"/>
                <a:gd name="connsiteY35" fmla="*/ 621 h 438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26297" h="438150">
                  <a:moveTo>
                    <a:pt x="483573" y="133971"/>
                  </a:moveTo>
                  <a:cubicBezTo>
                    <a:pt x="507957" y="133971"/>
                    <a:pt x="527674" y="153688"/>
                    <a:pt x="527674" y="178072"/>
                  </a:cubicBezTo>
                  <a:cubicBezTo>
                    <a:pt x="527674" y="179215"/>
                    <a:pt x="527674" y="180358"/>
                    <a:pt x="527579" y="181501"/>
                  </a:cubicBezTo>
                  <a:lnTo>
                    <a:pt x="514244" y="355237"/>
                  </a:lnTo>
                  <a:cubicBezTo>
                    <a:pt x="513101" y="370096"/>
                    <a:pt x="500718" y="381621"/>
                    <a:pt x="485764" y="381621"/>
                  </a:cubicBezTo>
                  <a:lnTo>
                    <a:pt x="454998" y="381621"/>
                  </a:lnTo>
                  <a:lnTo>
                    <a:pt x="454998" y="438771"/>
                  </a:lnTo>
                  <a:lnTo>
                    <a:pt x="435948" y="438771"/>
                  </a:lnTo>
                  <a:lnTo>
                    <a:pt x="435948" y="381621"/>
                  </a:lnTo>
                  <a:lnTo>
                    <a:pt x="93048" y="381621"/>
                  </a:lnTo>
                  <a:lnTo>
                    <a:pt x="93048" y="438771"/>
                  </a:lnTo>
                  <a:lnTo>
                    <a:pt x="73998" y="438771"/>
                  </a:lnTo>
                  <a:lnTo>
                    <a:pt x="73998" y="381621"/>
                  </a:lnTo>
                  <a:lnTo>
                    <a:pt x="43328" y="381621"/>
                  </a:lnTo>
                  <a:cubicBezTo>
                    <a:pt x="28373" y="381621"/>
                    <a:pt x="15991" y="370096"/>
                    <a:pt x="14848" y="355237"/>
                  </a:cubicBezTo>
                  <a:lnTo>
                    <a:pt x="1513" y="181501"/>
                  </a:lnTo>
                  <a:cubicBezTo>
                    <a:pt x="-392" y="157212"/>
                    <a:pt x="17801" y="135971"/>
                    <a:pt x="42089" y="134162"/>
                  </a:cubicBezTo>
                  <a:cubicBezTo>
                    <a:pt x="43232" y="134066"/>
                    <a:pt x="44375" y="134066"/>
                    <a:pt x="45518" y="134066"/>
                  </a:cubicBezTo>
                  <a:cubicBezTo>
                    <a:pt x="73141" y="134066"/>
                    <a:pt x="96858" y="153688"/>
                    <a:pt x="101906" y="180834"/>
                  </a:cubicBezTo>
                  <a:lnTo>
                    <a:pt x="121623" y="286371"/>
                  </a:lnTo>
                  <a:lnTo>
                    <a:pt x="407373" y="286371"/>
                  </a:lnTo>
                  <a:lnTo>
                    <a:pt x="427185" y="180739"/>
                  </a:lnTo>
                  <a:cubicBezTo>
                    <a:pt x="432233" y="153592"/>
                    <a:pt x="455951" y="133971"/>
                    <a:pt x="483573" y="133971"/>
                  </a:cubicBezTo>
                  <a:close/>
                  <a:moveTo>
                    <a:pt x="416898" y="621"/>
                  </a:moveTo>
                  <a:cubicBezTo>
                    <a:pt x="453760" y="621"/>
                    <a:pt x="483573" y="30434"/>
                    <a:pt x="483573" y="67296"/>
                  </a:cubicBezTo>
                  <a:lnTo>
                    <a:pt x="483573" y="115397"/>
                  </a:lnTo>
                  <a:cubicBezTo>
                    <a:pt x="481192" y="115112"/>
                    <a:pt x="478811" y="114921"/>
                    <a:pt x="476429" y="114921"/>
                  </a:cubicBezTo>
                  <a:cubicBezTo>
                    <a:pt x="445473" y="114921"/>
                    <a:pt x="418803" y="136448"/>
                    <a:pt x="412040" y="166451"/>
                  </a:cubicBezTo>
                  <a:lnTo>
                    <a:pt x="411564" y="168737"/>
                  </a:lnTo>
                  <a:lnTo>
                    <a:pt x="393086" y="267321"/>
                  </a:lnTo>
                  <a:lnTo>
                    <a:pt x="135911" y="267321"/>
                  </a:lnTo>
                  <a:lnTo>
                    <a:pt x="117432" y="168737"/>
                  </a:lnTo>
                  <a:cubicBezTo>
                    <a:pt x="111622" y="137495"/>
                    <a:pt x="84285" y="114921"/>
                    <a:pt x="52567" y="114921"/>
                  </a:cubicBezTo>
                  <a:lnTo>
                    <a:pt x="54948" y="67296"/>
                  </a:lnTo>
                  <a:cubicBezTo>
                    <a:pt x="54948" y="30434"/>
                    <a:pt x="84761" y="621"/>
                    <a:pt x="121623" y="621"/>
                  </a:cubicBezTo>
                  <a:lnTo>
                    <a:pt x="416898" y="621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/>
              <a:endParaRPr lang="zh-CN" altLang="en-U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1759800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图片 39">
            <a:extLst>
              <a:ext uri="{FF2B5EF4-FFF2-40B4-BE49-F238E27FC236}">
                <a16:creationId xmlns:a16="http://schemas.microsoft.com/office/drawing/2014/main" id="{7CB1490E-39EF-785B-93D8-3B5E023A7BD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9418" y="253211"/>
            <a:ext cx="1837445" cy="501494"/>
          </a:xfrm>
          <a:prstGeom prst="rect">
            <a:avLst/>
          </a:prstGeom>
        </p:spPr>
      </p:pic>
      <p:sp>
        <p:nvSpPr>
          <p:cNvPr id="2" name="PA_文本框 21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>
            <a:extLst>
              <a:ext uri="{FF2B5EF4-FFF2-40B4-BE49-F238E27FC236}">
                <a16:creationId xmlns:a16="http://schemas.microsoft.com/office/drawing/2014/main" id="{EB15CC80-CF2A-2BCF-9F74-8937D327667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80230" y="330214"/>
            <a:ext cx="5152913" cy="46166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zh-CN"/>
            </a:defPPr>
            <a:lvl1pPr marL="12700" marR="0" lvl="0" indent="0" fontAlgn="auto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F05A23"/>
                </a:solidFill>
                <a:effectLst/>
                <a:uLnTx/>
                <a:uFillTx/>
                <a:latin typeface="Arial"/>
                <a:ea typeface="华文楷体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  <a:lvl6pPr>
              <a:defRPr>
                <a:latin typeface="+mn-lt"/>
                <a:ea typeface="+mn-ea"/>
                <a:cs typeface="+mn-cs"/>
              </a:defRPr>
            </a:lvl6pPr>
            <a:lvl7pPr>
              <a:defRPr>
                <a:latin typeface="+mn-lt"/>
                <a:ea typeface="+mn-ea"/>
                <a:cs typeface="+mn-cs"/>
              </a:defRPr>
            </a:lvl7pPr>
            <a:lvl8pPr>
              <a:defRPr>
                <a:latin typeface="+mn-lt"/>
                <a:ea typeface="+mn-ea"/>
                <a:cs typeface="+mn-cs"/>
              </a:defRPr>
            </a:lvl8pPr>
            <a:lvl9pPr>
              <a:defRPr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altLang="zh-CN" sz="2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2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原则，不偏离主道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2B23F7BC-282A-284C-1BC8-0CF3B481E51A}"/>
              </a:ext>
            </a:extLst>
          </p:cNvPr>
          <p:cNvSpPr txBox="1"/>
          <p:nvPr/>
        </p:nvSpPr>
        <p:spPr>
          <a:xfrm>
            <a:off x="280650" y="358385"/>
            <a:ext cx="6744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.2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2CAF5BC4-CA41-F81C-E7BA-6AC3E90515A5}"/>
              </a:ext>
            </a:extLst>
          </p:cNvPr>
          <p:cNvSpPr/>
          <p:nvPr/>
        </p:nvSpPr>
        <p:spPr>
          <a:xfrm>
            <a:off x="1585727" y="1713548"/>
            <a:ext cx="8702936" cy="674389"/>
          </a:xfrm>
          <a:prstGeom prst="rect">
            <a:avLst/>
          </a:prstGeom>
        </p:spPr>
        <p:txBody>
          <a:bodyPr anchor="b" anchorCtr="0">
            <a:noAutofit/>
          </a:bodyPr>
          <a:lstStyle/>
          <a:p>
            <a:pPr algn="ctr">
              <a:buSzPct val="25000"/>
            </a:pP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少用抽象词、多用</a:t>
            </a:r>
            <a:r>
              <a:rPr lang="zh-CN" altLang="en-US" sz="3000" b="1" dirty="0">
                <a:solidFill>
                  <a:srgbClr val="F05A2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具体细节</a:t>
            </a:r>
            <a:endParaRPr lang="en-US" altLang="zh-CN" sz="3000" b="1" dirty="0">
              <a:solidFill>
                <a:srgbClr val="F05A2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1585727" y="2509681"/>
            <a:ext cx="9767216" cy="3803069"/>
            <a:chOff x="1385736" y="3547370"/>
            <a:chExt cx="9767216" cy="3803069"/>
          </a:xfrm>
        </p:grpSpPr>
        <p:sp>
          <p:nvSpPr>
            <p:cNvPr id="59" name="任意多边形: 形状 30">
              <a:extLst>
                <a:ext uri="{FF2B5EF4-FFF2-40B4-BE49-F238E27FC236}">
                  <a16:creationId xmlns:a16="http://schemas.microsoft.com/office/drawing/2014/main" id="{009F25DD-B412-4F63-97A7-115EE82D0AAC}"/>
                </a:ext>
              </a:extLst>
            </p:cNvPr>
            <p:cNvSpPr/>
            <p:nvPr/>
          </p:nvSpPr>
          <p:spPr>
            <a:xfrm>
              <a:off x="8699209" y="3565500"/>
              <a:ext cx="178928" cy="141741"/>
            </a:xfrm>
            <a:custGeom>
              <a:avLst/>
              <a:gdLst>
                <a:gd name="connsiteX0" fmla="*/ 486767 w 514350"/>
                <a:gd name="connsiteY0" fmla="*/ 621 h 409575"/>
                <a:gd name="connsiteX1" fmla="*/ 515342 w 514350"/>
                <a:gd name="connsiteY1" fmla="*/ 29196 h 409575"/>
                <a:gd name="connsiteX2" fmla="*/ 515342 w 514350"/>
                <a:gd name="connsiteY2" fmla="*/ 324471 h 409575"/>
                <a:gd name="connsiteX3" fmla="*/ 486767 w 514350"/>
                <a:gd name="connsiteY3" fmla="*/ 353046 h 409575"/>
                <a:gd name="connsiteX4" fmla="*/ 192159 w 514350"/>
                <a:gd name="connsiteY4" fmla="*/ 353046 h 409575"/>
                <a:gd name="connsiteX5" fmla="*/ 115387 w 514350"/>
                <a:gd name="connsiteY5" fmla="*/ 410196 h 409575"/>
                <a:gd name="connsiteX6" fmla="*/ 115387 w 514350"/>
                <a:gd name="connsiteY6" fmla="*/ 353046 h 409575"/>
                <a:gd name="connsiteX7" fmla="*/ 29567 w 514350"/>
                <a:gd name="connsiteY7" fmla="*/ 353046 h 409575"/>
                <a:gd name="connsiteX8" fmla="*/ 992 w 514350"/>
                <a:gd name="connsiteY8" fmla="*/ 324471 h 409575"/>
                <a:gd name="connsiteX9" fmla="*/ 992 w 514350"/>
                <a:gd name="connsiteY9" fmla="*/ 29196 h 409575"/>
                <a:gd name="connsiteX10" fmla="*/ 29567 w 514350"/>
                <a:gd name="connsiteY10" fmla="*/ 621 h 409575"/>
                <a:gd name="connsiteX11" fmla="*/ 486767 w 514350"/>
                <a:gd name="connsiteY11" fmla="*/ 621 h 409575"/>
                <a:gd name="connsiteX12" fmla="*/ 124817 w 514350"/>
                <a:gd name="connsiteY12" fmla="*/ 143496 h 409575"/>
                <a:gd name="connsiteX13" fmla="*/ 91480 w 514350"/>
                <a:gd name="connsiteY13" fmla="*/ 176834 h 409575"/>
                <a:gd name="connsiteX14" fmla="*/ 124817 w 514350"/>
                <a:gd name="connsiteY14" fmla="*/ 210171 h 409575"/>
                <a:gd name="connsiteX15" fmla="*/ 158155 w 514350"/>
                <a:gd name="connsiteY15" fmla="*/ 176834 h 409575"/>
                <a:gd name="connsiteX16" fmla="*/ 124817 w 514350"/>
                <a:gd name="connsiteY16" fmla="*/ 143496 h 409575"/>
                <a:gd name="connsiteX17" fmla="*/ 258167 w 514350"/>
                <a:gd name="connsiteY17" fmla="*/ 143496 h 409575"/>
                <a:gd name="connsiteX18" fmla="*/ 224830 w 514350"/>
                <a:gd name="connsiteY18" fmla="*/ 176834 h 409575"/>
                <a:gd name="connsiteX19" fmla="*/ 258167 w 514350"/>
                <a:gd name="connsiteY19" fmla="*/ 210171 h 409575"/>
                <a:gd name="connsiteX20" fmla="*/ 291505 w 514350"/>
                <a:gd name="connsiteY20" fmla="*/ 176834 h 409575"/>
                <a:gd name="connsiteX21" fmla="*/ 258167 w 514350"/>
                <a:gd name="connsiteY21" fmla="*/ 143496 h 409575"/>
                <a:gd name="connsiteX22" fmla="*/ 391517 w 514350"/>
                <a:gd name="connsiteY22" fmla="*/ 143496 h 409575"/>
                <a:gd name="connsiteX23" fmla="*/ 358180 w 514350"/>
                <a:gd name="connsiteY23" fmla="*/ 176834 h 409575"/>
                <a:gd name="connsiteX24" fmla="*/ 391517 w 514350"/>
                <a:gd name="connsiteY24" fmla="*/ 210171 h 409575"/>
                <a:gd name="connsiteX25" fmla="*/ 424855 w 514350"/>
                <a:gd name="connsiteY25" fmla="*/ 176834 h 409575"/>
                <a:gd name="connsiteX26" fmla="*/ 391517 w 514350"/>
                <a:gd name="connsiteY26" fmla="*/ 143496 h 409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4350" h="409575">
                  <a:moveTo>
                    <a:pt x="486767" y="621"/>
                  </a:moveTo>
                  <a:cubicBezTo>
                    <a:pt x="502579" y="621"/>
                    <a:pt x="515342" y="13385"/>
                    <a:pt x="515342" y="29196"/>
                  </a:cubicBezTo>
                  <a:lnTo>
                    <a:pt x="515342" y="324471"/>
                  </a:lnTo>
                  <a:cubicBezTo>
                    <a:pt x="515342" y="340282"/>
                    <a:pt x="502579" y="353046"/>
                    <a:pt x="486767" y="353046"/>
                  </a:cubicBezTo>
                  <a:lnTo>
                    <a:pt x="192159" y="353046"/>
                  </a:lnTo>
                  <a:lnTo>
                    <a:pt x="115387" y="410196"/>
                  </a:lnTo>
                  <a:lnTo>
                    <a:pt x="115387" y="353046"/>
                  </a:lnTo>
                  <a:lnTo>
                    <a:pt x="29567" y="353046"/>
                  </a:lnTo>
                  <a:cubicBezTo>
                    <a:pt x="13755" y="353046"/>
                    <a:pt x="992" y="340282"/>
                    <a:pt x="992" y="324471"/>
                  </a:cubicBezTo>
                  <a:lnTo>
                    <a:pt x="992" y="29196"/>
                  </a:lnTo>
                  <a:cubicBezTo>
                    <a:pt x="992" y="13385"/>
                    <a:pt x="13755" y="621"/>
                    <a:pt x="29567" y="621"/>
                  </a:cubicBezTo>
                  <a:lnTo>
                    <a:pt x="486767" y="621"/>
                  </a:lnTo>
                  <a:close/>
                  <a:moveTo>
                    <a:pt x="124817" y="143496"/>
                  </a:moveTo>
                  <a:cubicBezTo>
                    <a:pt x="106434" y="143496"/>
                    <a:pt x="91480" y="158450"/>
                    <a:pt x="91480" y="176834"/>
                  </a:cubicBezTo>
                  <a:cubicBezTo>
                    <a:pt x="91480" y="195217"/>
                    <a:pt x="106434" y="210171"/>
                    <a:pt x="124817" y="210171"/>
                  </a:cubicBezTo>
                  <a:cubicBezTo>
                    <a:pt x="143200" y="210171"/>
                    <a:pt x="158155" y="195217"/>
                    <a:pt x="158155" y="176834"/>
                  </a:cubicBezTo>
                  <a:cubicBezTo>
                    <a:pt x="158155" y="158450"/>
                    <a:pt x="143200" y="143496"/>
                    <a:pt x="124817" y="143496"/>
                  </a:cubicBezTo>
                  <a:close/>
                  <a:moveTo>
                    <a:pt x="258167" y="143496"/>
                  </a:moveTo>
                  <a:cubicBezTo>
                    <a:pt x="239784" y="143496"/>
                    <a:pt x="224830" y="158450"/>
                    <a:pt x="224830" y="176834"/>
                  </a:cubicBezTo>
                  <a:cubicBezTo>
                    <a:pt x="224830" y="195217"/>
                    <a:pt x="239784" y="210171"/>
                    <a:pt x="258167" y="210171"/>
                  </a:cubicBezTo>
                  <a:cubicBezTo>
                    <a:pt x="276550" y="210171"/>
                    <a:pt x="291505" y="195217"/>
                    <a:pt x="291505" y="176834"/>
                  </a:cubicBezTo>
                  <a:cubicBezTo>
                    <a:pt x="291505" y="158450"/>
                    <a:pt x="276550" y="143496"/>
                    <a:pt x="258167" y="143496"/>
                  </a:cubicBezTo>
                  <a:close/>
                  <a:moveTo>
                    <a:pt x="391517" y="143496"/>
                  </a:moveTo>
                  <a:cubicBezTo>
                    <a:pt x="373134" y="143496"/>
                    <a:pt x="358180" y="158450"/>
                    <a:pt x="358180" y="176834"/>
                  </a:cubicBezTo>
                  <a:cubicBezTo>
                    <a:pt x="358180" y="195217"/>
                    <a:pt x="373134" y="210171"/>
                    <a:pt x="391517" y="210171"/>
                  </a:cubicBezTo>
                  <a:cubicBezTo>
                    <a:pt x="409900" y="210171"/>
                    <a:pt x="424855" y="195217"/>
                    <a:pt x="424855" y="176834"/>
                  </a:cubicBezTo>
                  <a:cubicBezTo>
                    <a:pt x="424855" y="158450"/>
                    <a:pt x="409900" y="143496"/>
                    <a:pt x="391517" y="143496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/>
              <a:endParaRPr lang="zh-CN" altLang="en-U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47" name="组合 46">
              <a:extLst>
                <a:ext uri="{FF2B5EF4-FFF2-40B4-BE49-F238E27FC236}">
                  <a16:creationId xmlns:a16="http://schemas.microsoft.com/office/drawing/2014/main" id="{F152DEE8-4B57-4AC0-9BC7-ADC2F54C4D91}"/>
                </a:ext>
              </a:extLst>
            </p:cNvPr>
            <p:cNvGrpSpPr/>
            <p:nvPr/>
          </p:nvGrpSpPr>
          <p:grpSpPr>
            <a:xfrm>
              <a:off x="1385736" y="3547370"/>
              <a:ext cx="9767216" cy="3803069"/>
              <a:chOff x="1005713" y="2357255"/>
              <a:chExt cx="9767216" cy="3803069"/>
            </a:xfrm>
          </p:grpSpPr>
          <p:sp>
            <p:nvSpPr>
              <p:cNvPr id="48" name="矩形 47">
                <a:extLst>
                  <a:ext uri="{FF2B5EF4-FFF2-40B4-BE49-F238E27FC236}">
                    <a16:creationId xmlns:a16="http://schemas.microsoft.com/office/drawing/2014/main" id="{A5DE0E88-C5D1-4291-9D4B-DDB6F36EC8EF}"/>
                  </a:ext>
                </a:extLst>
              </p:cNvPr>
              <p:cNvSpPr/>
              <p:nvPr/>
            </p:nvSpPr>
            <p:spPr>
              <a:xfrm flipH="1">
                <a:off x="1883796" y="2697838"/>
                <a:ext cx="8889133" cy="3462486"/>
              </a:xfrm>
              <a:prstGeom prst="rect">
                <a:avLst/>
              </a:prstGeom>
              <a:ln>
                <a:noFill/>
              </a:ln>
            </p:spPr>
            <p:txBody>
              <a:bodyPr wrap="square" lIns="91440" tIns="45720" rIns="91440" bIns="45720" anchor="t">
                <a:spAutoFit/>
              </a:bodyPr>
              <a:lstStyle/>
              <a:p>
                <a:pPr marL="285750" indent="-285750">
                  <a:lnSpc>
                    <a:spcPct val="150000"/>
                  </a:lnSpc>
                  <a:buFont typeface="Wingdings" panose="05000000000000000000" pitchFamily="2" charset="2"/>
                  <a:buChar char="Ø"/>
                </a:pPr>
                <a:r>
                  <a:rPr lang="zh-CN" altLang="en-US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极致工艺的钛合金手机边框</a:t>
                </a:r>
                <a:endParaRPr lang="en-US" altLang="zh-CN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285750" indent="-285750">
                  <a:lnSpc>
                    <a:spcPct val="150000"/>
                  </a:lnSpc>
                  <a:buFont typeface="Wingdings" panose="05000000000000000000" pitchFamily="2" charset="2"/>
                  <a:buChar char="Ø"/>
                </a:pPr>
                <a:r>
                  <a:rPr lang="zh-CN" altLang="en-US" dirty="0">
                    <a:solidFill>
                      <a:srgbClr val="F3774B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从一块钢板开始，它需要经历</a:t>
                </a:r>
                <a:r>
                  <a:rPr lang="en-US" altLang="zh-CN" dirty="0">
                    <a:solidFill>
                      <a:srgbClr val="F3774B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180</a:t>
                </a:r>
                <a:r>
                  <a:rPr lang="zh-CN" altLang="en-US" dirty="0">
                    <a:solidFill>
                      <a:srgbClr val="F3774B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道工序，</a:t>
                </a:r>
                <a:r>
                  <a:rPr lang="en-US" altLang="zh-CN" dirty="0">
                    <a:solidFill>
                      <a:srgbClr val="F3774B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35</a:t>
                </a:r>
                <a:r>
                  <a:rPr lang="zh-CN" altLang="en-US" dirty="0">
                    <a:solidFill>
                      <a:srgbClr val="F3774B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小时雕琢打磨，才能成为您手中仅重</a:t>
                </a:r>
                <a:r>
                  <a:rPr lang="en-US" altLang="zh-CN" dirty="0">
                    <a:solidFill>
                      <a:srgbClr val="F3774B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19</a:t>
                </a:r>
                <a:r>
                  <a:rPr lang="zh-CN" altLang="en-US" dirty="0">
                    <a:solidFill>
                      <a:srgbClr val="F3774B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克的手机边框</a:t>
                </a:r>
                <a:endParaRPr lang="en-US" altLang="zh-CN" dirty="0">
                  <a:solidFill>
                    <a:srgbClr val="F3774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285750" indent="-285750">
                  <a:lnSpc>
                    <a:spcPct val="150000"/>
                  </a:lnSpc>
                  <a:buFont typeface="Wingdings" panose="05000000000000000000" pitchFamily="2" charset="2"/>
                  <a:buChar char="Ø"/>
                </a:pPr>
                <a:endParaRPr lang="en-US" altLang="zh-CN" sz="9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285750" indent="-285750">
                  <a:lnSpc>
                    <a:spcPct val="150000"/>
                  </a:lnSpc>
                  <a:buFont typeface="Wingdings" panose="05000000000000000000" pitchFamily="2" charset="2"/>
                  <a:buChar char="Ø"/>
                </a:pPr>
                <a:r>
                  <a:rPr lang="zh-CN" altLang="en-US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海量专业合规素材任意用</a:t>
                </a:r>
                <a:endParaRPr lang="en-US" altLang="zh-CN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285750" indent="-285750">
                  <a:lnSpc>
                    <a:spcPct val="150000"/>
                  </a:lnSpc>
                  <a:buFont typeface="Wingdings" panose="05000000000000000000" pitchFamily="2" charset="2"/>
                  <a:buChar char="Ø"/>
                </a:pPr>
                <a:r>
                  <a:rPr lang="en-US" altLang="zh-CN" dirty="0">
                    <a:solidFill>
                      <a:srgbClr val="F3774B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8913</a:t>
                </a:r>
                <a:r>
                  <a:rPr lang="zh-CN" altLang="en-US" dirty="0">
                    <a:solidFill>
                      <a:srgbClr val="F3774B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份官方合规素材，任意用</a:t>
                </a:r>
                <a:endParaRPr lang="en-US" altLang="zh-CN" dirty="0">
                  <a:solidFill>
                    <a:srgbClr val="F3774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285750" indent="-285750">
                  <a:lnSpc>
                    <a:spcPct val="150000"/>
                  </a:lnSpc>
                  <a:buFont typeface="Wingdings" panose="05000000000000000000" pitchFamily="2" charset="2"/>
                  <a:buChar char="Ø"/>
                </a:pPr>
                <a:endParaRPr lang="en-US" altLang="zh-CN" sz="900" dirty="0">
                  <a:solidFill>
                    <a:srgbClr val="F3774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285750" indent="-285750">
                  <a:lnSpc>
                    <a:spcPct val="150000"/>
                  </a:lnSpc>
                  <a:buFont typeface="Wingdings" panose="05000000000000000000" pitchFamily="2" charset="2"/>
                  <a:buChar char="Ø"/>
                </a:pPr>
                <a:r>
                  <a:rPr lang="en-US" altLang="zh-CN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One</a:t>
                </a:r>
                <a:r>
                  <a:rPr lang="zh-CN" altLang="en-US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平安，解锁场景化销售利器</a:t>
                </a:r>
                <a:endParaRPr lang="en-US" altLang="zh-CN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285750" indent="-285750">
                  <a:lnSpc>
                    <a:spcPct val="150000"/>
                  </a:lnSpc>
                  <a:buFont typeface="Wingdings" panose="05000000000000000000" pitchFamily="2" charset="2"/>
                  <a:buChar char="Ø"/>
                </a:pPr>
                <a:r>
                  <a:rPr lang="en-US" altLang="zh-CN" dirty="0">
                    <a:solidFill>
                      <a:srgbClr val="F3774B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One</a:t>
                </a:r>
                <a:r>
                  <a:rPr lang="zh-CN" altLang="en-US" dirty="0">
                    <a:solidFill>
                      <a:srgbClr val="F3774B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平安，通过</a:t>
                </a:r>
                <a:r>
                  <a:rPr lang="en-US" altLang="zh-CN" dirty="0">
                    <a:solidFill>
                      <a:srgbClr val="F3774B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3D</a:t>
                </a:r>
                <a:r>
                  <a:rPr lang="zh-CN" altLang="en-US" dirty="0">
                    <a:solidFill>
                      <a:srgbClr val="F3774B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剧情演绎，让客户直观感受什么是居家养老服务</a:t>
                </a:r>
                <a:endParaRPr lang="en-US" altLang="zh-CN" dirty="0">
                  <a:solidFill>
                    <a:srgbClr val="F3774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52" name="任意多边形: 形状 58">
                <a:extLst>
                  <a:ext uri="{FF2B5EF4-FFF2-40B4-BE49-F238E27FC236}">
                    <a16:creationId xmlns:a16="http://schemas.microsoft.com/office/drawing/2014/main" id="{42329A38-A8EB-4A6D-921B-B8A43B346F50}"/>
                  </a:ext>
                </a:extLst>
              </p:cNvPr>
              <p:cNvSpPr/>
              <p:nvPr/>
            </p:nvSpPr>
            <p:spPr>
              <a:xfrm>
                <a:off x="1005713" y="2357255"/>
                <a:ext cx="163232" cy="178001"/>
              </a:xfrm>
              <a:custGeom>
                <a:avLst/>
                <a:gdLst>
                  <a:gd name="connsiteX0" fmla="*/ 248770 w 495300"/>
                  <a:gd name="connsiteY0" fmla="*/ 621 h 542925"/>
                  <a:gd name="connsiteX1" fmla="*/ 496420 w 495300"/>
                  <a:gd name="connsiteY1" fmla="*/ 248271 h 542925"/>
                  <a:gd name="connsiteX2" fmla="*/ 323827 w 495300"/>
                  <a:gd name="connsiteY2" fmla="*/ 484396 h 542925"/>
                  <a:gd name="connsiteX3" fmla="*/ 346973 w 495300"/>
                  <a:gd name="connsiteY3" fmla="*/ 524496 h 542925"/>
                  <a:gd name="connsiteX4" fmla="*/ 420220 w 495300"/>
                  <a:gd name="connsiteY4" fmla="*/ 524496 h 542925"/>
                  <a:gd name="connsiteX5" fmla="*/ 420220 w 495300"/>
                  <a:gd name="connsiteY5" fmla="*/ 543546 h 542925"/>
                  <a:gd name="connsiteX6" fmla="*/ 77320 w 495300"/>
                  <a:gd name="connsiteY6" fmla="*/ 543546 h 542925"/>
                  <a:gd name="connsiteX7" fmla="*/ 77320 w 495300"/>
                  <a:gd name="connsiteY7" fmla="*/ 524496 h 542925"/>
                  <a:gd name="connsiteX8" fmla="*/ 150567 w 495300"/>
                  <a:gd name="connsiteY8" fmla="*/ 524496 h 542925"/>
                  <a:gd name="connsiteX9" fmla="*/ 173713 w 495300"/>
                  <a:gd name="connsiteY9" fmla="*/ 484396 h 542925"/>
                  <a:gd name="connsiteX10" fmla="*/ 1120 w 495300"/>
                  <a:gd name="connsiteY10" fmla="*/ 248271 h 542925"/>
                  <a:gd name="connsiteX11" fmla="*/ 248770 w 495300"/>
                  <a:gd name="connsiteY11" fmla="*/ 621 h 542925"/>
                  <a:gd name="connsiteX12" fmla="*/ 192763 w 495300"/>
                  <a:gd name="connsiteY12" fmla="*/ 489539 h 542925"/>
                  <a:gd name="connsiteX13" fmla="*/ 172570 w 495300"/>
                  <a:gd name="connsiteY13" fmla="*/ 524496 h 542925"/>
                  <a:gd name="connsiteX14" fmla="*/ 324970 w 495300"/>
                  <a:gd name="connsiteY14" fmla="*/ 524496 h 542925"/>
                  <a:gd name="connsiteX15" fmla="*/ 304777 w 495300"/>
                  <a:gd name="connsiteY15" fmla="*/ 489539 h 542925"/>
                  <a:gd name="connsiteX16" fmla="*/ 248770 w 495300"/>
                  <a:gd name="connsiteY16" fmla="*/ 495921 h 542925"/>
                  <a:gd name="connsiteX17" fmla="*/ 192763 w 495300"/>
                  <a:gd name="connsiteY17" fmla="*/ 489539 h 542925"/>
                  <a:gd name="connsiteX18" fmla="*/ 248770 w 495300"/>
                  <a:gd name="connsiteY18" fmla="*/ 143496 h 542925"/>
                  <a:gd name="connsiteX19" fmla="*/ 143995 w 495300"/>
                  <a:gd name="connsiteY19" fmla="*/ 248271 h 542925"/>
                  <a:gd name="connsiteX20" fmla="*/ 248770 w 495300"/>
                  <a:gd name="connsiteY20" fmla="*/ 353046 h 542925"/>
                  <a:gd name="connsiteX21" fmla="*/ 353545 w 495300"/>
                  <a:gd name="connsiteY21" fmla="*/ 248271 h 542925"/>
                  <a:gd name="connsiteX22" fmla="*/ 248770 w 495300"/>
                  <a:gd name="connsiteY22" fmla="*/ 143496 h 542925"/>
                  <a:gd name="connsiteX23" fmla="*/ 367833 w 495300"/>
                  <a:gd name="connsiteY23" fmla="*/ 114921 h 542925"/>
                  <a:gd name="connsiteX24" fmla="*/ 353545 w 495300"/>
                  <a:gd name="connsiteY24" fmla="*/ 129209 h 542925"/>
                  <a:gd name="connsiteX25" fmla="*/ 367833 w 495300"/>
                  <a:gd name="connsiteY25" fmla="*/ 143496 h 542925"/>
                  <a:gd name="connsiteX26" fmla="*/ 382120 w 495300"/>
                  <a:gd name="connsiteY26" fmla="*/ 129209 h 542925"/>
                  <a:gd name="connsiteX27" fmla="*/ 367833 w 495300"/>
                  <a:gd name="connsiteY27" fmla="*/ 114921 h 542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495300" h="542925">
                    <a:moveTo>
                      <a:pt x="248770" y="621"/>
                    </a:moveTo>
                    <a:cubicBezTo>
                      <a:pt x="385549" y="621"/>
                      <a:pt x="496420" y="111492"/>
                      <a:pt x="496420" y="248271"/>
                    </a:cubicBezTo>
                    <a:cubicBezTo>
                      <a:pt x="496420" y="358856"/>
                      <a:pt x="423935" y="452582"/>
                      <a:pt x="323827" y="484396"/>
                    </a:cubicBezTo>
                    <a:lnTo>
                      <a:pt x="346973" y="524496"/>
                    </a:lnTo>
                    <a:lnTo>
                      <a:pt x="420220" y="524496"/>
                    </a:lnTo>
                    <a:lnTo>
                      <a:pt x="420220" y="543546"/>
                    </a:lnTo>
                    <a:lnTo>
                      <a:pt x="77320" y="543546"/>
                    </a:lnTo>
                    <a:lnTo>
                      <a:pt x="77320" y="524496"/>
                    </a:lnTo>
                    <a:lnTo>
                      <a:pt x="150567" y="524496"/>
                    </a:lnTo>
                    <a:lnTo>
                      <a:pt x="173713" y="484396"/>
                    </a:lnTo>
                    <a:cubicBezTo>
                      <a:pt x="73605" y="452582"/>
                      <a:pt x="1120" y="358856"/>
                      <a:pt x="1120" y="248271"/>
                    </a:cubicBezTo>
                    <a:cubicBezTo>
                      <a:pt x="1120" y="111492"/>
                      <a:pt x="111991" y="621"/>
                      <a:pt x="248770" y="621"/>
                    </a:cubicBezTo>
                    <a:close/>
                    <a:moveTo>
                      <a:pt x="192763" y="489539"/>
                    </a:moveTo>
                    <a:lnTo>
                      <a:pt x="172570" y="524496"/>
                    </a:lnTo>
                    <a:lnTo>
                      <a:pt x="324970" y="524496"/>
                    </a:lnTo>
                    <a:lnTo>
                      <a:pt x="304777" y="489539"/>
                    </a:lnTo>
                    <a:cubicBezTo>
                      <a:pt x="286775" y="493730"/>
                      <a:pt x="268010" y="495921"/>
                      <a:pt x="248770" y="495921"/>
                    </a:cubicBezTo>
                    <a:cubicBezTo>
                      <a:pt x="229530" y="495921"/>
                      <a:pt x="210765" y="493730"/>
                      <a:pt x="192763" y="489539"/>
                    </a:cubicBezTo>
                    <a:close/>
                    <a:moveTo>
                      <a:pt x="248770" y="143496"/>
                    </a:moveTo>
                    <a:cubicBezTo>
                      <a:pt x="190858" y="143496"/>
                      <a:pt x="143995" y="190359"/>
                      <a:pt x="143995" y="248271"/>
                    </a:cubicBezTo>
                    <a:cubicBezTo>
                      <a:pt x="143995" y="306183"/>
                      <a:pt x="190858" y="353046"/>
                      <a:pt x="248770" y="353046"/>
                    </a:cubicBezTo>
                    <a:cubicBezTo>
                      <a:pt x="306682" y="353046"/>
                      <a:pt x="353545" y="306183"/>
                      <a:pt x="353545" y="248271"/>
                    </a:cubicBezTo>
                    <a:cubicBezTo>
                      <a:pt x="353545" y="190359"/>
                      <a:pt x="306682" y="143496"/>
                      <a:pt x="248770" y="143496"/>
                    </a:cubicBezTo>
                    <a:close/>
                    <a:moveTo>
                      <a:pt x="367833" y="114921"/>
                    </a:moveTo>
                    <a:cubicBezTo>
                      <a:pt x="359927" y="114921"/>
                      <a:pt x="353545" y="121303"/>
                      <a:pt x="353545" y="129209"/>
                    </a:cubicBezTo>
                    <a:cubicBezTo>
                      <a:pt x="353545" y="137114"/>
                      <a:pt x="359927" y="143496"/>
                      <a:pt x="367833" y="143496"/>
                    </a:cubicBezTo>
                    <a:cubicBezTo>
                      <a:pt x="375738" y="143496"/>
                      <a:pt x="382120" y="137114"/>
                      <a:pt x="382120" y="129209"/>
                    </a:cubicBezTo>
                    <a:cubicBezTo>
                      <a:pt x="382120" y="121303"/>
                      <a:pt x="375738" y="114921"/>
                      <a:pt x="367833" y="114921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3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37" name="任意多边形: 形状 111">
              <a:extLst>
                <a:ext uri="{FF2B5EF4-FFF2-40B4-BE49-F238E27FC236}">
                  <a16:creationId xmlns:a16="http://schemas.microsoft.com/office/drawing/2014/main" id="{44A3B617-5EA5-4392-BEBF-54428C6E46E8}"/>
                </a:ext>
              </a:extLst>
            </p:cNvPr>
            <p:cNvSpPr/>
            <p:nvPr/>
          </p:nvSpPr>
          <p:spPr>
            <a:xfrm>
              <a:off x="4996072" y="3559101"/>
              <a:ext cx="178928" cy="148188"/>
            </a:xfrm>
            <a:custGeom>
              <a:avLst/>
              <a:gdLst>
                <a:gd name="connsiteX0" fmla="*/ 483573 w 526297"/>
                <a:gd name="connsiteY0" fmla="*/ 133971 h 438150"/>
                <a:gd name="connsiteX1" fmla="*/ 527674 w 526297"/>
                <a:gd name="connsiteY1" fmla="*/ 178072 h 438150"/>
                <a:gd name="connsiteX2" fmla="*/ 527579 w 526297"/>
                <a:gd name="connsiteY2" fmla="*/ 181501 h 438150"/>
                <a:gd name="connsiteX3" fmla="*/ 514244 w 526297"/>
                <a:gd name="connsiteY3" fmla="*/ 355237 h 438150"/>
                <a:gd name="connsiteX4" fmla="*/ 485764 w 526297"/>
                <a:gd name="connsiteY4" fmla="*/ 381621 h 438150"/>
                <a:gd name="connsiteX5" fmla="*/ 454998 w 526297"/>
                <a:gd name="connsiteY5" fmla="*/ 381621 h 438150"/>
                <a:gd name="connsiteX6" fmla="*/ 454998 w 526297"/>
                <a:gd name="connsiteY6" fmla="*/ 438771 h 438150"/>
                <a:gd name="connsiteX7" fmla="*/ 435948 w 526297"/>
                <a:gd name="connsiteY7" fmla="*/ 438771 h 438150"/>
                <a:gd name="connsiteX8" fmla="*/ 435948 w 526297"/>
                <a:gd name="connsiteY8" fmla="*/ 381621 h 438150"/>
                <a:gd name="connsiteX9" fmla="*/ 93048 w 526297"/>
                <a:gd name="connsiteY9" fmla="*/ 381621 h 438150"/>
                <a:gd name="connsiteX10" fmla="*/ 93048 w 526297"/>
                <a:gd name="connsiteY10" fmla="*/ 438771 h 438150"/>
                <a:gd name="connsiteX11" fmla="*/ 73998 w 526297"/>
                <a:gd name="connsiteY11" fmla="*/ 438771 h 438150"/>
                <a:gd name="connsiteX12" fmla="*/ 73998 w 526297"/>
                <a:gd name="connsiteY12" fmla="*/ 381621 h 438150"/>
                <a:gd name="connsiteX13" fmla="*/ 43328 w 526297"/>
                <a:gd name="connsiteY13" fmla="*/ 381621 h 438150"/>
                <a:gd name="connsiteX14" fmla="*/ 14848 w 526297"/>
                <a:gd name="connsiteY14" fmla="*/ 355237 h 438150"/>
                <a:gd name="connsiteX15" fmla="*/ 1513 w 526297"/>
                <a:gd name="connsiteY15" fmla="*/ 181501 h 438150"/>
                <a:gd name="connsiteX16" fmla="*/ 42089 w 526297"/>
                <a:gd name="connsiteY16" fmla="*/ 134162 h 438150"/>
                <a:gd name="connsiteX17" fmla="*/ 45518 w 526297"/>
                <a:gd name="connsiteY17" fmla="*/ 134066 h 438150"/>
                <a:gd name="connsiteX18" fmla="*/ 101906 w 526297"/>
                <a:gd name="connsiteY18" fmla="*/ 180834 h 438150"/>
                <a:gd name="connsiteX19" fmla="*/ 121623 w 526297"/>
                <a:gd name="connsiteY19" fmla="*/ 286371 h 438150"/>
                <a:gd name="connsiteX20" fmla="*/ 407373 w 526297"/>
                <a:gd name="connsiteY20" fmla="*/ 286371 h 438150"/>
                <a:gd name="connsiteX21" fmla="*/ 427185 w 526297"/>
                <a:gd name="connsiteY21" fmla="*/ 180739 h 438150"/>
                <a:gd name="connsiteX22" fmla="*/ 483573 w 526297"/>
                <a:gd name="connsiteY22" fmla="*/ 133971 h 438150"/>
                <a:gd name="connsiteX23" fmla="*/ 416898 w 526297"/>
                <a:gd name="connsiteY23" fmla="*/ 621 h 438150"/>
                <a:gd name="connsiteX24" fmla="*/ 483573 w 526297"/>
                <a:gd name="connsiteY24" fmla="*/ 67296 h 438150"/>
                <a:gd name="connsiteX25" fmla="*/ 483573 w 526297"/>
                <a:gd name="connsiteY25" fmla="*/ 115397 h 438150"/>
                <a:gd name="connsiteX26" fmla="*/ 476429 w 526297"/>
                <a:gd name="connsiteY26" fmla="*/ 114921 h 438150"/>
                <a:gd name="connsiteX27" fmla="*/ 412040 w 526297"/>
                <a:gd name="connsiteY27" fmla="*/ 166451 h 438150"/>
                <a:gd name="connsiteX28" fmla="*/ 411564 w 526297"/>
                <a:gd name="connsiteY28" fmla="*/ 168737 h 438150"/>
                <a:gd name="connsiteX29" fmla="*/ 393086 w 526297"/>
                <a:gd name="connsiteY29" fmla="*/ 267321 h 438150"/>
                <a:gd name="connsiteX30" fmla="*/ 135911 w 526297"/>
                <a:gd name="connsiteY30" fmla="*/ 267321 h 438150"/>
                <a:gd name="connsiteX31" fmla="*/ 117432 w 526297"/>
                <a:gd name="connsiteY31" fmla="*/ 168737 h 438150"/>
                <a:gd name="connsiteX32" fmla="*/ 52567 w 526297"/>
                <a:gd name="connsiteY32" fmla="*/ 114921 h 438150"/>
                <a:gd name="connsiteX33" fmla="*/ 54948 w 526297"/>
                <a:gd name="connsiteY33" fmla="*/ 67296 h 438150"/>
                <a:gd name="connsiteX34" fmla="*/ 121623 w 526297"/>
                <a:gd name="connsiteY34" fmla="*/ 621 h 438150"/>
                <a:gd name="connsiteX35" fmla="*/ 416898 w 526297"/>
                <a:gd name="connsiteY35" fmla="*/ 621 h 438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26297" h="438150">
                  <a:moveTo>
                    <a:pt x="483573" y="133971"/>
                  </a:moveTo>
                  <a:cubicBezTo>
                    <a:pt x="507957" y="133971"/>
                    <a:pt x="527674" y="153688"/>
                    <a:pt x="527674" y="178072"/>
                  </a:cubicBezTo>
                  <a:cubicBezTo>
                    <a:pt x="527674" y="179215"/>
                    <a:pt x="527674" y="180358"/>
                    <a:pt x="527579" y="181501"/>
                  </a:cubicBezTo>
                  <a:lnTo>
                    <a:pt x="514244" y="355237"/>
                  </a:lnTo>
                  <a:cubicBezTo>
                    <a:pt x="513101" y="370096"/>
                    <a:pt x="500718" y="381621"/>
                    <a:pt x="485764" y="381621"/>
                  </a:cubicBezTo>
                  <a:lnTo>
                    <a:pt x="454998" y="381621"/>
                  </a:lnTo>
                  <a:lnTo>
                    <a:pt x="454998" y="438771"/>
                  </a:lnTo>
                  <a:lnTo>
                    <a:pt x="435948" y="438771"/>
                  </a:lnTo>
                  <a:lnTo>
                    <a:pt x="435948" y="381621"/>
                  </a:lnTo>
                  <a:lnTo>
                    <a:pt x="93048" y="381621"/>
                  </a:lnTo>
                  <a:lnTo>
                    <a:pt x="93048" y="438771"/>
                  </a:lnTo>
                  <a:lnTo>
                    <a:pt x="73998" y="438771"/>
                  </a:lnTo>
                  <a:lnTo>
                    <a:pt x="73998" y="381621"/>
                  </a:lnTo>
                  <a:lnTo>
                    <a:pt x="43328" y="381621"/>
                  </a:lnTo>
                  <a:cubicBezTo>
                    <a:pt x="28373" y="381621"/>
                    <a:pt x="15991" y="370096"/>
                    <a:pt x="14848" y="355237"/>
                  </a:cubicBezTo>
                  <a:lnTo>
                    <a:pt x="1513" y="181501"/>
                  </a:lnTo>
                  <a:cubicBezTo>
                    <a:pt x="-392" y="157212"/>
                    <a:pt x="17801" y="135971"/>
                    <a:pt x="42089" y="134162"/>
                  </a:cubicBezTo>
                  <a:cubicBezTo>
                    <a:pt x="43232" y="134066"/>
                    <a:pt x="44375" y="134066"/>
                    <a:pt x="45518" y="134066"/>
                  </a:cubicBezTo>
                  <a:cubicBezTo>
                    <a:pt x="73141" y="134066"/>
                    <a:pt x="96858" y="153688"/>
                    <a:pt x="101906" y="180834"/>
                  </a:cubicBezTo>
                  <a:lnTo>
                    <a:pt x="121623" y="286371"/>
                  </a:lnTo>
                  <a:lnTo>
                    <a:pt x="407373" y="286371"/>
                  </a:lnTo>
                  <a:lnTo>
                    <a:pt x="427185" y="180739"/>
                  </a:lnTo>
                  <a:cubicBezTo>
                    <a:pt x="432233" y="153592"/>
                    <a:pt x="455951" y="133971"/>
                    <a:pt x="483573" y="133971"/>
                  </a:cubicBezTo>
                  <a:close/>
                  <a:moveTo>
                    <a:pt x="416898" y="621"/>
                  </a:moveTo>
                  <a:cubicBezTo>
                    <a:pt x="453760" y="621"/>
                    <a:pt x="483573" y="30434"/>
                    <a:pt x="483573" y="67296"/>
                  </a:cubicBezTo>
                  <a:lnTo>
                    <a:pt x="483573" y="115397"/>
                  </a:lnTo>
                  <a:cubicBezTo>
                    <a:pt x="481192" y="115112"/>
                    <a:pt x="478811" y="114921"/>
                    <a:pt x="476429" y="114921"/>
                  </a:cubicBezTo>
                  <a:cubicBezTo>
                    <a:pt x="445473" y="114921"/>
                    <a:pt x="418803" y="136448"/>
                    <a:pt x="412040" y="166451"/>
                  </a:cubicBezTo>
                  <a:lnTo>
                    <a:pt x="411564" y="168737"/>
                  </a:lnTo>
                  <a:lnTo>
                    <a:pt x="393086" y="267321"/>
                  </a:lnTo>
                  <a:lnTo>
                    <a:pt x="135911" y="267321"/>
                  </a:lnTo>
                  <a:lnTo>
                    <a:pt x="117432" y="168737"/>
                  </a:lnTo>
                  <a:cubicBezTo>
                    <a:pt x="111622" y="137495"/>
                    <a:pt x="84285" y="114921"/>
                    <a:pt x="52567" y="114921"/>
                  </a:cubicBezTo>
                  <a:lnTo>
                    <a:pt x="54948" y="67296"/>
                  </a:lnTo>
                  <a:cubicBezTo>
                    <a:pt x="54948" y="30434"/>
                    <a:pt x="84761" y="621"/>
                    <a:pt x="121623" y="621"/>
                  </a:cubicBezTo>
                  <a:lnTo>
                    <a:pt x="416898" y="621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/>
              <a:endParaRPr lang="zh-CN" altLang="en-U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1313494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>
            <a:extLst>
              <a:ext uri="{FF2B5EF4-FFF2-40B4-BE49-F238E27FC236}">
                <a16:creationId xmlns:a16="http://schemas.microsoft.com/office/drawing/2014/main" id="{4D5A4E2A-6542-B202-49C1-485C7E1E850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4505"/>
          <a:stretch/>
        </p:blipFill>
        <p:spPr>
          <a:xfrm>
            <a:off x="-25400" y="0"/>
            <a:ext cx="12217400" cy="6966857"/>
          </a:xfrm>
          <a:prstGeom prst="rect">
            <a:avLst/>
          </a:prstGeom>
        </p:spPr>
      </p:pic>
      <p:sp>
        <p:nvSpPr>
          <p:cNvPr id="9" name="e7d195523061f1c0" descr="e7d195523061f1c0d318120d6aeaf1b6ccceb6ba3da59c0775C5DE19DDDEBC09ED96DBD9900D9848D623ECAD1D4904B78047D0015C22C8BE97228BE8B5BFF08FE7A3AE04126DA07312A96C0F69F9BAB71A8D4487C13BBD21E178D4F88753BF1C0AA2D476514934E2BFA1BCD92238D9398A04F1D9D25610EF52C0143E775B4548A6233544C90E9CB7" hidden="1">
            <a:extLst>
              <a:ext uri="{FF2B5EF4-FFF2-40B4-BE49-F238E27FC236}">
                <a16:creationId xmlns:a16="http://schemas.microsoft.com/office/drawing/2014/main" id="{4E552777-4412-4D28-87F1-58AB7948412F}"/>
              </a:ext>
            </a:extLst>
          </p:cNvPr>
          <p:cNvSpPr txBox="1"/>
          <p:nvPr/>
        </p:nvSpPr>
        <p:spPr>
          <a:xfrm>
            <a:off x="-355600" y="1803400"/>
            <a:ext cx="26225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华文楷体"/>
                <a:cs typeface="+mn-cs"/>
              </a:rPr>
              <a:t>e7d195523061f1c0d318120d6aeaf1b6ccceb6ba3da59c0775C5DE19DDDEBC09ED96DBD9900D9848D623ECAD1D4904B78047D0015C22C8BE97228BE8B5BFF08FE7A3AE04126DA07312A96C0F69F9BAB71A8D4487C13BBD21E178D4F88753BF1C0AA2D476514934E2BFA1BCD92238D9398A04F1D9D25610EF52C0143E775B4548A6233544C90E9CB7</a:t>
            </a:r>
            <a:endParaRPr kumimoji="0" lang="zh-CN" altLang="en-US" sz="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华文楷体"/>
              <a:cs typeface="+mn-cs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3062C623-795E-B76A-9679-0DA6E0A79431}"/>
              </a:ext>
            </a:extLst>
          </p:cNvPr>
          <p:cNvSpPr/>
          <p:nvPr/>
        </p:nvSpPr>
        <p:spPr>
          <a:xfrm rot="10800000">
            <a:off x="-3" y="-1"/>
            <a:ext cx="12242799" cy="7017657"/>
          </a:xfrm>
          <a:prstGeom prst="rect">
            <a:avLst/>
          </a:prstGeom>
          <a:solidFill>
            <a:srgbClr val="000000">
              <a:alpha val="7098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1" name="object 3">
            <a:extLst>
              <a:ext uri="{FF2B5EF4-FFF2-40B4-BE49-F238E27FC236}">
                <a16:creationId xmlns:a16="http://schemas.microsoft.com/office/drawing/2014/main" id="{313048AF-CD66-8E26-5B09-BE628937EA26}"/>
              </a:ext>
            </a:extLst>
          </p:cNvPr>
          <p:cNvSpPr txBox="1">
            <a:spLocks/>
          </p:cNvSpPr>
          <p:nvPr/>
        </p:nvSpPr>
        <p:spPr>
          <a:xfrm>
            <a:off x="2476496" y="2547220"/>
            <a:ext cx="7289799" cy="187230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 marR="0" lvl="0" indent="0" algn="ctr" defTabSz="914400" rtl="0" eaLnBrk="1" fontAlgn="auto" latinLnBrk="0" hangingPunct="1">
              <a:lnSpc>
                <a:spcPct val="15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4000" dirty="0">
                <a:solidFill>
                  <a:srgbClr val="FE8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想要用户转化</a:t>
            </a:r>
            <a:endParaRPr lang="en-US" altLang="zh-CN" sz="4000" dirty="0">
              <a:solidFill>
                <a:srgbClr val="FE8637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2700" marR="0" lvl="0" indent="0" algn="ctr" defTabSz="914400" rtl="0" eaLnBrk="1" fontAlgn="auto" latinLnBrk="0" hangingPunct="1">
              <a:lnSpc>
                <a:spcPct val="15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4000" dirty="0">
                <a:solidFill>
                  <a:srgbClr val="FE8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前提是你的文案是为用户而写</a:t>
            </a:r>
            <a:endParaRPr kumimoji="0" lang="zh-CN" altLang="en-US" sz="4000" b="1" i="0" u="none" strike="noStrike" kern="1200" cap="none" spc="0" normalizeH="0" baseline="0" noProof="0" dirty="0">
              <a:ln>
                <a:noFill/>
              </a:ln>
              <a:solidFill>
                <a:srgbClr val="FE8637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06164474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图片 39">
            <a:extLst>
              <a:ext uri="{FF2B5EF4-FFF2-40B4-BE49-F238E27FC236}">
                <a16:creationId xmlns:a16="http://schemas.microsoft.com/office/drawing/2014/main" id="{7CB1490E-39EF-785B-93D8-3B5E023A7BD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9418" y="253211"/>
            <a:ext cx="1837445" cy="501494"/>
          </a:xfrm>
          <a:prstGeom prst="rect">
            <a:avLst/>
          </a:prstGeom>
        </p:spPr>
      </p:pic>
      <p:sp>
        <p:nvSpPr>
          <p:cNvPr id="2" name="PA_文本框 21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>
            <a:extLst>
              <a:ext uri="{FF2B5EF4-FFF2-40B4-BE49-F238E27FC236}">
                <a16:creationId xmlns:a16="http://schemas.microsoft.com/office/drawing/2014/main" id="{EB15CC80-CF2A-2BCF-9F74-8937D327667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80230" y="330214"/>
            <a:ext cx="5152913" cy="46166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zh-CN"/>
            </a:defPPr>
            <a:lvl1pPr marL="12700" marR="0" lvl="0" indent="0" fontAlgn="auto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F05A23"/>
                </a:solidFill>
                <a:effectLst/>
                <a:uLnTx/>
                <a:uFillTx/>
                <a:latin typeface="Arial"/>
                <a:ea typeface="华文楷体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  <a:lvl6pPr>
              <a:defRPr>
                <a:latin typeface="+mn-lt"/>
                <a:ea typeface="+mn-ea"/>
                <a:cs typeface="+mn-cs"/>
              </a:defRPr>
            </a:lvl6pPr>
            <a:lvl7pPr>
              <a:defRPr>
                <a:latin typeface="+mn-lt"/>
                <a:ea typeface="+mn-ea"/>
                <a:cs typeface="+mn-cs"/>
              </a:defRPr>
            </a:lvl7pPr>
            <a:lvl8pPr>
              <a:defRPr>
                <a:latin typeface="+mn-lt"/>
                <a:ea typeface="+mn-ea"/>
                <a:cs typeface="+mn-cs"/>
              </a:defRPr>
            </a:lvl8pPr>
            <a:lvl9pPr>
              <a:defRPr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altLang="zh-CN" sz="2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2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份自检清单，多一层转化保障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2B23F7BC-282A-284C-1BC8-0CF3B481E51A}"/>
              </a:ext>
            </a:extLst>
          </p:cNvPr>
          <p:cNvSpPr txBox="1"/>
          <p:nvPr/>
        </p:nvSpPr>
        <p:spPr>
          <a:xfrm>
            <a:off x="280650" y="358385"/>
            <a:ext cx="6744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.3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2CAF5BC4-CA41-F81C-E7BA-6AC3E90515A5}"/>
              </a:ext>
            </a:extLst>
          </p:cNvPr>
          <p:cNvSpPr/>
          <p:nvPr/>
        </p:nvSpPr>
        <p:spPr>
          <a:xfrm>
            <a:off x="1585727" y="1327086"/>
            <a:ext cx="8702936" cy="674389"/>
          </a:xfrm>
          <a:prstGeom prst="rect">
            <a:avLst/>
          </a:prstGeom>
        </p:spPr>
        <p:txBody>
          <a:bodyPr anchor="b" anchorCtr="0">
            <a:noAutofit/>
          </a:bodyPr>
          <a:lstStyle/>
          <a:p>
            <a:pPr algn="ctr">
              <a:buSzPct val="25000"/>
            </a:pPr>
            <a:r>
              <a:rPr lang="en-US" altLang="zh-CN" sz="3000" b="1" dirty="0">
                <a:solidFill>
                  <a:srgbClr val="F05A2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7</a:t>
            </a:r>
            <a:r>
              <a:rPr lang="zh-CN" altLang="en-US" sz="3000" b="1" dirty="0">
                <a:solidFill>
                  <a:srgbClr val="F05A2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提问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做文案自检</a:t>
            </a:r>
            <a:endParaRPr lang="en-US" altLang="zh-CN" sz="3000" b="1" dirty="0">
              <a:solidFill>
                <a:srgbClr val="F3774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1474108" y="2088442"/>
            <a:ext cx="7604020" cy="3663164"/>
            <a:chOff x="1274117" y="3547370"/>
            <a:chExt cx="7604020" cy="3663164"/>
          </a:xfrm>
        </p:grpSpPr>
        <p:sp>
          <p:nvSpPr>
            <p:cNvPr id="59" name="任意多边形: 形状 30">
              <a:extLst>
                <a:ext uri="{FF2B5EF4-FFF2-40B4-BE49-F238E27FC236}">
                  <a16:creationId xmlns:a16="http://schemas.microsoft.com/office/drawing/2014/main" id="{009F25DD-B412-4F63-97A7-115EE82D0AAC}"/>
                </a:ext>
              </a:extLst>
            </p:cNvPr>
            <p:cNvSpPr/>
            <p:nvPr/>
          </p:nvSpPr>
          <p:spPr>
            <a:xfrm>
              <a:off x="8699209" y="3565500"/>
              <a:ext cx="178928" cy="141741"/>
            </a:xfrm>
            <a:custGeom>
              <a:avLst/>
              <a:gdLst>
                <a:gd name="connsiteX0" fmla="*/ 486767 w 514350"/>
                <a:gd name="connsiteY0" fmla="*/ 621 h 409575"/>
                <a:gd name="connsiteX1" fmla="*/ 515342 w 514350"/>
                <a:gd name="connsiteY1" fmla="*/ 29196 h 409575"/>
                <a:gd name="connsiteX2" fmla="*/ 515342 w 514350"/>
                <a:gd name="connsiteY2" fmla="*/ 324471 h 409575"/>
                <a:gd name="connsiteX3" fmla="*/ 486767 w 514350"/>
                <a:gd name="connsiteY3" fmla="*/ 353046 h 409575"/>
                <a:gd name="connsiteX4" fmla="*/ 192159 w 514350"/>
                <a:gd name="connsiteY4" fmla="*/ 353046 h 409575"/>
                <a:gd name="connsiteX5" fmla="*/ 115387 w 514350"/>
                <a:gd name="connsiteY5" fmla="*/ 410196 h 409575"/>
                <a:gd name="connsiteX6" fmla="*/ 115387 w 514350"/>
                <a:gd name="connsiteY6" fmla="*/ 353046 h 409575"/>
                <a:gd name="connsiteX7" fmla="*/ 29567 w 514350"/>
                <a:gd name="connsiteY7" fmla="*/ 353046 h 409575"/>
                <a:gd name="connsiteX8" fmla="*/ 992 w 514350"/>
                <a:gd name="connsiteY8" fmla="*/ 324471 h 409575"/>
                <a:gd name="connsiteX9" fmla="*/ 992 w 514350"/>
                <a:gd name="connsiteY9" fmla="*/ 29196 h 409575"/>
                <a:gd name="connsiteX10" fmla="*/ 29567 w 514350"/>
                <a:gd name="connsiteY10" fmla="*/ 621 h 409575"/>
                <a:gd name="connsiteX11" fmla="*/ 486767 w 514350"/>
                <a:gd name="connsiteY11" fmla="*/ 621 h 409575"/>
                <a:gd name="connsiteX12" fmla="*/ 124817 w 514350"/>
                <a:gd name="connsiteY12" fmla="*/ 143496 h 409575"/>
                <a:gd name="connsiteX13" fmla="*/ 91480 w 514350"/>
                <a:gd name="connsiteY13" fmla="*/ 176834 h 409575"/>
                <a:gd name="connsiteX14" fmla="*/ 124817 w 514350"/>
                <a:gd name="connsiteY14" fmla="*/ 210171 h 409575"/>
                <a:gd name="connsiteX15" fmla="*/ 158155 w 514350"/>
                <a:gd name="connsiteY15" fmla="*/ 176834 h 409575"/>
                <a:gd name="connsiteX16" fmla="*/ 124817 w 514350"/>
                <a:gd name="connsiteY16" fmla="*/ 143496 h 409575"/>
                <a:gd name="connsiteX17" fmla="*/ 258167 w 514350"/>
                <a:gd name="connsiteY17" fmla="*/ 143496 h 409575"/>
                <a:gd name="connsiteX18" fmla="*/ 224830 w 514350"/>
                <a:gd name="connsiteY18" fmla="*/ 176834 h 409575"/>
                <a:gd name="connsiteX19" fmla="*/ 258167 w 514350"/>
                <a:gd name="connsiteY19" fmla="*/ 210171 h 409575"/>
                <a:gd name="connsiteX20" fmla="*/ 291505 w 514350"/>
                <a:gd name="connsiteY20" fmla="*/ 176834 h 409575"/>
                <a:gd name="connsiteX21" fmla="*/ 258167 w 514350"/>
                <a:gd name="connsiteY21" fmla="*/ 143496 h 409575"/>
                <a:gd name="connsiteX22" fmla="*/ 391517 w 514350"/>
                <a:gd name="connsiteY22" fmla="*/ 143496 h 409575"/>
                <a:gd name="connsiteX23" fmla="*/ 358180 w 514350"/>
                <a:gd name="connsiteY23" fmla="*/ 176834 h 409575"/>
                <a:gd name="connsiteX24" fmla="*/ 391517 w 514350"/>
                <a:gd name="connsiteY24" fmla="*/ 210171 h 409575"/>
                <a:gd name="connsiteX25" fmla="*/ 424855 w 514350"/>
                <a:gd name="connsiteY25" fmla="*/ 176834 h 409575"/>
                <a:gd name="connsiteX26" fmla="*/ 391517 w 514350"/>
                <a:gd name="connsiteY26" fmla="*/ 143496 h 409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4350" h="409575">
                  <a:moveTo>
                    <a:pt x="486767" y="621"/>
                  </a:moveTo>
                  <a:cubicBezTo>
                    <a:pt x="502579" y="621"/>
                    <a:pt x="515342" y="13385"/>
                    <a:pt x="515342" y="29196"/>
                  </a:cubicBezTo>
                  <a:lnTo>
                    <a:pt x="515342" y="324471"/>
                  </a:lnTo>
                  <a:cubicBezTo>
                    <a:pt x="515342" y="340282"/>
                    <a:pt x="502579" y="353046"/>
                    <a:pt x="486767" y="353046"/>
                  </a:cubicBezTo>
                  <a:lnTo>
                    <a:pt x="192159" y="353046"/>
                  </a:lnTo>
                  <a:lnTo>
                    <a:pt x="115387" y="410196"/>
                  </a:lnTo>
                  <a:lnTo>
                    <a:pt x="115387" y="353046"/>
                  </a:lnTo>
                  <a:lnTo>
                    <a:pt x="29567" y="353046"/>
                  </a:lnTo>
                  <a:cubicBezTo>
                    <a:pt x="13755" y="353046"/>
                    <a:pt x="992" y="340282"/>
                    <a:pt x="992" y="324471"/>
                  </a:cubicBezTo>
                  <a:lnTo>
                    <a:pt x="992" y="29196"/>
                  </a:lnTo>
                  <a:cubicBezTo>
                    <a:pt x="992" y="13385"/>
                    <a:pt x="13755" y="621"/>
                    <a:pt x="29567" y="621"/>
                  </a:cubicBezTo>
                  <a:lnTo>
                    <a:pt x="486767" y="621"/>
                  </a:lnTo>
                  <a:close/>
                  <a:moveTo>
                    <a:pt x="124817" y="143496"/>
                  </a:moveTo>
                  <a:cubicBezTo>
                    <a:pt x="106434" y="143496"/>
                    <a:pt x="91480" y="158450"/>
                    <a:pt x="91480" y="176834"/>
                  </a:cubicBezTo>
                  <a:cubicBezTo>
                    <a:pt x="91480" y="195217"/>
                    <a:pt x="106434" y="210171"/>
                    <a:pt x="124817" y="210171"/>
                  </a:cubicBezTo>
                  <a:cubicBezTo>
                    <a:pt x="143200" y="210171"/>
                    <a:pt x="158155" y="195217"/>
                    <a:pt x="158155" y="176834"/>
                  </a:cubicBezTo>
                  <a:cubicBezTo>
                    <a:pt x="158155" y="158450"/>
                    <a:pt x="143200" y="143496"/>
                    <a:pt x="124817" y="143496"/>
                  </a:cubicBezTo>
                  <a:close/>
                  <a:moveTo>
                    <a:pt x="258167" y="143496"/>
                  </a:moveTo>
                  <a:cubicBezTo>
                    <a:pt x="239784" y="143496"/>
                    <a:pt x="224830" y="158450"/>
                    <a:pt x="224830" y="176834"/>
                  </a:cubicBezTo>
                  <a:cubicBezTo>
                    <a:pt x="224830" y="195217"/>
                    <a:pt x="239784" y="210171"/>
                    <a:pt x="258167" y="210171"/>
                  </a:cubicBezTo>
                  <a:cubicBezTo>
                    <a:pt x="276550" y="210171"/>
                    <a:pt x="291505" y="195217"/>
                    <a:pt x="291505" y="176834"/>
                  </a:cubicBezTo>
                  <a:cubicBezTo>
                    <a:pt x="291505" y="158450"/>
                    <a:pt x="276550" y="143496"/>
                    <a:pt x="258167" y="143496"/>
                  </a:cubicBezTo>
                  <a:close/>
                  <a:moveTo>
                    <a:pt x="391517" y="143496"/>
                  </a:moveTo>
                  <a:cubicBezTo>
                    <a:pt x="373134" y="143496"/>
                    <a:pt x="358180" y="158450"/>
                    <a:pt x="358180" y="176834"/>
                  </a:cubicBezTo>
                  <a:cubicBezTo>
                    <a:pt x="358180" y="195217"/>
                    <a:pt x="373134" y="210171"/>
                    <a:pt x="391517" y="210171"/>
                  </a:cubicBezTo>
                  <a:cubicBezTo>
                    <a:pt x="409900" y="210171"/>
                    <a:pt x="424855" y="195217"/>
                    <a:pt x="424855" y="176834"/>
                  </a:cubicBezTo>
                  <a:cubicBezTo>
                    <a:pt x="424855" y="158450"/>
                    <a:pt x="409900" y="143496"/>
                    <a:pt x="391517" y="143496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/>
              <a:endParaRPr lang="zh-CN" altLang="en-U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47" name="组合 46">
              <a:extLst>
                <a:ext uri="{FF2B5EF4-FFF2-40B4-BE49-F238E27FC236}">
                  <a16:creationId xmlns:a16="http://schemas.microsoft.com/office/drawing/2014/main" id="{F152DEE8-4B57-4AC0-9BC7-ADC2F54C4D91}"/>
                </a:ext>
              </a:extLst>
            </p:cNvPr>
            <p:cNvGrpSpPr/>
            <p:nvPr/>
          </p:nvGrpSpPr>
          <p:grpSpPr>
            <a:xfrm>
              <a:off x="1274117" y="3547370"/>
              <a:ext cx="7117750" cy="3663164"/>
              <a:chOff x="894094" y="2357255"/>
              <a:chExt cx="7117750" cy="3663164"/>
            </a:xfrm>
          </p:grpSpPr>
          <p:sp>
            <p:nvSpPr>
              <p:cNvPr id="48" name="矩形 47">
                <a:extLst>
                  <a:ext uri="{FF2B5EF4-FFF2-40B4-BE49-F238E27FC236}">
                    <a16:creationId xmlns:a16="http://schemas.microsoft.com/office/drawing/2014/main" id="{A5DE0E88-C5D1-4291-9D4B-DDB6F36EC8EF}"/>
                  </a:ext>
                </a:extLst>
              </p:cNvPr>
              <p:cNvSpPr/>
              <p:nvPr/>
            </p:nvSpPr>
            <p:spPr>
              <a:xfrm flipH="1">
                <a:off x="894094" y="2653022"/>
                <a:ext cx="7117750" cy="3367397"/>
              </a:xfrm>
              <a:prstGeom prst="rect">
                <a:avLst/>
              </a:prstGeom>
              <a:ln>
                <a:noFill/>
              </a:ln>
            </p:spPr>
            <p:txBody>
              <a:bodyPr wrap="square" lIns="91440" tIns="45720" rIns="91440" bIns="45720" anchor="t">
                <a:spAutoFit/>
              </a:bodyPr>
              <a:lstStyle/>
              <a:p>
                <a:pPr marL="285750" indent="-285750">
                  <a:lnSpc>
                    <a:spcPct val="150000"/>
                  </a:lnSpc>
                  <a:buFont typeface="Wingdings" panose="05000000000000000000" pitchFamily="2" charset="2"/>
                  <a:buChar char="Ø"/>
                </a:pPr>
                <a:r>
                  <a:rPr lang="zh-CN" altLang="en-US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文案面向的用户是谁，是否明确？</a:t>
                </a:r>
                <a:endParaRPr lang="en-US" altLang="zh-CN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285750" indent="-285750">
                  <a:lnSpc>
                    <a:spcPct val="150000"/>
                  </a:lnSpc>
                  <a:buFont typeface="Wingdings" panose="05000000000000000000" pitchFamily="2" charset="2"/>
                  <a:buChar char="Ø"/>
                </a:pPr>
                <a:r>
                  <a:rPr lang="zh-CN" altLang="en-US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文案是否能够快速吸引到用户注意力？</a:t>
                </a:r>
                <a:endParaRPr lang="en-US" altLang="zh-CN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285750" indent="-285750">
                  <a:lnSpc>
                    <a:spcPct val="150000"/>
                  </a:lnSpc>
                  <a:buFont typeface="Wingdings" panose="05000000000000000000" pitchFamily="2" charset="2"/>
                  <a:buChar char="Ø"/>
                </a:pPr>
                <a:r>
                  <a:rPr lang="zh-CN" altLang="en-US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用的什么方法吸引用户，是否还有更好的吸引方法？</a:t>
                </a:r>
                <a:endParaRPr lang="en-US" altLang="zh-CN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285750" indent="-285750">
                  <a:lnSpc>
                    <a:spcPct val="150000"/>
                  </a:lnSpc>
                  <a:buFont typeface="Wingdings" panose="05000000000000000000" pitchFamily="2" charset="2"/>
                  <a:buChar char="Ø"/>
                </a:pPr>
                <a:r>
                  <a:rPr lang="zh-CN" altLang="en-US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文案内容对用户是否实用？</a:t>
                </a:r>
                <a:endParaRPr lang="en-US" altLang="zh-CN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285750" indent="-285750">
                  <a:lnSpc>
                    <a:spcPct val="150000"/>
                  </a:lnSpc>
                  <a:buFont typeface="Wingdings" panose="05000000000000000000" pitchFamily="2" charset="2"/>
                  <a:buChar char="Ø"/>
                </a:pPr>
                <a:r>
                  <a:rPr lang="zh-CN" altLang="en-US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有没有混淆产品特色、产品卖点？</a:t>
                </a:r>
                <a:endParaRPr lang="en-US" altLang="zh-CN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285750" indent="-285750">
                  <a:lnSpc>
                    <a:spcPct val="150000"/>
                  </a:lnSpc>
                  <a:buFont typeface="Wingdings" panose="05000000000000000000" pitchFamily="2" charset="2"/>
                  <a:buChar char="Ø"/>
                </a:pPr>
                <a:r>
                  <a:rPr lang="zh-CN" altLang="en-US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是否有抽象、难懂的专业词或抽象词？</a:t>
                </a:r>
                <a:endParaRPr lang="en-US" altLang="zh-CN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285750" indent="-285750">
                  <a:lnSpc>
                    <a:spcPct val="150000"/>
                  </a:lnSpc>
                  <a:buFont typeface="Wingdings" panose="05000000000000000000" pitchFamily="2" charset="2"/>
                  <a:buChar char="Ø"/>
                </a:pPr>
                <a:r>
                  <a:rPr lang="zh-CN" altLang="en-US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用户看完你的文案后是否知道需要做什么？</a:t>
                </a:r>
                <a:endParaRPr lang="en-US" altLang="zh-CN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285750" indent="-285750">
                  <a:lnSpc>
                    <a:spcPct val="150000"/>
                  </a:lnSpc>
                  <a:buFont typeface="Wingdings" panose="05000000000000000000" pitchFamily="2" charset="2"/>
                  <a:buChar char="Ø"/>
                </a:pPr>
                <a:r>
                  <a:rPr lang="zh-CN" altLang="en-US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统观所有文案，是否还有可精简之处？</a:t>
                </a:r>
                <a:endParaRPr lang="en-US" altLang="zh-CN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52" name="任意多边形: 形状 58">
                <a:extLst>
                  <a:ext uri="{FF2B5EF4-FFF2-40B4-BE49-F238E27FC236}">
                    <a16:creationId xmlns:a16="http://schemas.microsoft.com/office/drawing/2014/main" id="{42329A38-A8EB-4A6D-921B-B8A43B346F50}"/>
                  </a:ext>
                </a:extLst>
              </p:cNvPr>
              <p:cNvSpPr/>
              <p:nvPr/>
            </p:nvSpPr>
            <p:spPr>
              <a:xfrm>
                <a:off x="1005713" y="2357255"/>
                <a:ext cx="163232" cy="178001"/>
              </a:xfrm>
              <a:custGeom>
                <a:avLst/>
                <a:gdLst>
                  <a:gd name="connsiteX0" fmla="*/ 248770 w 495300"/>
                  <a:gd name="connsiteY0" fmla="*/ 621 h 542925"/>
                  <a:gd name="connsiteX1" fmla="*/ 496420 w 495300"/>
                  <a:gd name="connsiteY1" fmla="*/ 248271 h 542925"/>
                  <a:gd name="connsiteX2" fmla="*/ 323827 w 495300"/>
                  <a:gd name="connsiteY2" fmla="*/ 484396 h 542925"/>
                  <a:gd name="connsiteX3" fmla="*/ 346973 w 495300"/>
                  <a:gd name="connsiteY3" fmla="*/ 524496 h 542925"/>
                  <a:gd name="connsiteX4" fmla="*/ 420220 w 495300"/>
                  <a:gd name="connsiteY4" fmla="*/ 524496 h 542925"/>
                  <a:gd name="connsiteX5" fmla="*/ 420220 w 495300"/>
                  <a:gd name="connsiteY5" fmla="*/ 543546 h 542925"/>
                  <a:gd name="connsiteX6" fmla="*/ 77320 w 495300"/>
                  <a:gd name="connsiteY6" fmla="*/ 543546 h 542925"/>
                  <a:gd name="connsiteX7" fmla="*/ 77320 w 495300"/>
                  <a:gd name="connsiteY7" fmla="*/ 524496 h 542925"/>
                  <a:gd name="connsiteX8" fmla="*/ 150567 w 495300"/>
                  <a:gd name="connsiteY8" fmla="*/ 524496 h 542925"/>
                  <a:gd name="connsiteX9" fmla="*/ 173713 w 495300"/>
                  <a:gd name="connsiteY9" fmla="*/ 484396 h 542925"/>
                  <a:gd name="connsiteX10" fmla="*/ 1120 w 495300"/>
                  <a:gd name="connsiteY10" fmla="*/ 248271 h 542925"/>
                  <a:gd name="connsiteX11" fmla="*/ 248770 w 495300"/>
                  <a:gd name="connsiteY11" fmla="*/ 621 h 542925"/>
                  <a:gd name="connsiteX12" fmla="*/ 192763 w 495300"/>
                  <a:gd name="connsiteY12" fmla="*/ 489539 h 542925"/>
                  <a:gd name="connsiteX13" fmla="*/ 172570 w 495300"/>
                  <a:gd name="connsiteY13" fmla="*/ 524496 h 542925"/>
                  <a:gd name="connsiteX14" fmla="*/ 324970 w 495300"/>
                  <a:gd name="connsiteY14" fmla="*/ 524496 h 542925"/>
                  <a:gd name="connsiteX15" fmla="*/ 304777 w 495300"/>
                  <a:gd name="connsiteY15" fmla="*/ 489539 h 542925"/>
                  <a:gd name="connsiteX16" fmla="*/ 248770 w 495300"/>
                  <a:gd name="connsiteY16" fmla="*/ 495921 h 542925"/>
                  <a:gd name="connsiteX17" fmla="*/ 192763 w 495300"/>
                  <a:gd name="connsiteY17" fmla="*/ 489539 h 542925"/>
                  <a:gd name="connsiteX18" fmla="*/ 248770 w 495300"/>
                  <a:gd name="connsiteY18" fmla="*/ 143496 h 542925"/>
                  <a:gd name="connsiteX19" fmla="*/ 143995 w 495300"/>
                  <a:gd name="connsiteY19" fmla="*/ 248271 h 542925"/>
                  <a:gd name="connsiteX20" fmla="*/ 248770 w 495300"/>
                  <a:gd name="connsiteY20" fmla="*/ 353046 h 542925"/>
                  <a:gd name="connsiteX21" fmla="*/ 353545 w 495300"/>
                  <a:gd name="connsiteY21" fmla="*/ 248271 h 542925"/>
                  <a:gd name="connsiteX22" fmla="*/ 248770 w 495300"/>
                  <a:gd name="connsiteY22" fmla="*/ 143496 h 542925"/>
                  <a:gd name="connsiteX23" fmla="*/ 367833 w 495300"/>
                  <a:gd name="connsiteY23" fmla="*/ 114921 h 542925"/>
                  <a:gd name="connsiteX24" fmla="*/ 353545 w 495300"/>
                  <a:gd name="connsiteY24" fmla="*/ 129209 h 542925"/>
                  <a:gd name="connsiteX25" fmla="*/ 367833 w 495300"/>
                  <a:gd name="connsiteY25" fmla="*/ 143496 h 542925"/>
                  <a:gd name="connsiteX26" fmla="*/ 382120 w 495300"/>
                  <a:gd name="connsiteY26" fmla="*/ 129209 h 542925"/>
                  <a:gd name="connsiteX27" fmla="*/ 367833 w 495300"/>
                  <a:gd name="connsiteY27" fmla="*/ 114921 h 542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495300" h="542925">
                    <a:moveTo>
                      <a:pt x="248770" y="621"/>
                    </a:moveTo>
                    <a:cubicBezTo>
                      <a:pt x="385549" y="621"/>
                      <a:pt x="496420" y="111492"/>
                      <a:pt x="496420" y="248271"/>
                    </a:cubicBezTo>
                    <a:cubicBezTo>
                      <a:pt x="496420" y="358856"/>
                      <a:pt x="423935" y="452582"/>
                      <a:pt x="323827" y="484396"/>
                    </a:cubicBezTo>
                    <a:lnTo>
                      <a:pt x="346973" y="524496"/>
                    </a:lnTo>
                    <a:lnTo>
                      <a:pt x="420220" y="524496"/>
                    </a:lnTo>
                    <a:lnTo>
                      <a:pt x="420220" y="543546"/>
                    </a:lnTo>
                    <a:lnTo>
                      <a:pt x="77320" y="543546"/>
                    </a:lnTo>
                    <a:lnTo>
                      <a:pt x="77320" y="524496"/>
                    </a:lnTo>
                    <a:lnTo>
                      <a:pt x="150567" y="524496"/>
                    </a:lnTo>
                    <a:lnTo>
                      <a:pt x="173713" y="484396"/>
                    </a:lnTo>
                    <a:cubicBezTo>
                      <a:pt x="73605" y="452582"/>
                      <a:pt x="1120" y="358856"/>
                      <a:pt x="1120" y="248271"/>
                    </a:cubicBezTo>
                    <a:cubicBezTo>
                      <a:pt x="1120" y="111492"/>
                      <a:pt x="111991" y="621"/>
                      <a:pt x="248770" y="621"/>
                    </a:cubicBezTo>
                    <a:close/>
                    <a:moveTo>
                      <a:pt x="192763" y="489539"/>
                    </a:moveTo>
                    <a:lnTo>
                      <a:pt x="172570" y="524496"/>
                    </a:lnTo>
                    <a:lnTo>
                      <a:pt x="324970" y="524496"/>
                    </a:lnTo>
                    <a:lnTo>
                      <a:pt x="304777" y="489539"/>
                    </a:lnTo>
                    <a:cubicBezTo>
                      <a:pt x="286775" y="493730"/>
                      <a:pt x="268010" y="495921"/>
                      <a:pt x="248770" y="495921"/>
                    </a:cubicBezTo>
                    <a:cubicBezTo>
                      <a:pt x="229530" y="495921"/>
                      <a:pt x="210765" y="493730"/>
                      <a:pt x="192763" y="489539"/>
                    </a:cubicBezTo>
                    <a:close/>
                    <a:moveTo>
                      <a:pt x="248770" y="143496"/>
                    </a:moveTo>
                    <a:cubicBezTo>
                      <a:pt x="190858" y="143496"/>
                      <a:pt x="143995" y="190359"/>
                      <a:pt x="143995" y="248271"/>
                    </a:cubicBezTo>
                    <a:cubicBezTo>
                      <a:pt x="143995" y="306183"/>
                      <a:pt x="190858" y="353046"/>
                      <a:pt x="248770" y="353046"/>
                    </a:cubicBezTo>
                    <a:cubicBezTo>
                      <a:pt x="306682" y="353046"/>
                      <a:pt x="353545" y="306183"/>
                      <a:pt x="353545" y="248271"/>
                    </a:cubicBezTo>
                    <a:cubicBezTo>
                      <a:pt x="353545" y="190359"/>
                      <a:pt x="306682" y="143496"/>
                      <a:pt x="248770" y="143496"/>
                    </a:cubicBezTo>
                    <a:close/>
                    <a:moveTo>
                      <a:pt x="367833" y="114921"/>
                    </a:moveTo>
                    <a:cubicBezTo>
                      <a:pt x="359927" y="114921"/>
                      <a:pt x="353545" y="121303"/>
                      <a:pt x="353545" y="129209"/>
                    </a:cubicBezTo>
                    <a:cubicBezTo>
                      <a:pt x="353545" y="137114"/>
                      <a:pt x="359927" y="143496"/>
                      <a:pt x="367833" y="143496"/>
                    </a:cubicBezTo>
                    <a:cubicBezTo>
                      <a:pt x="375738" y="143496"/>
                      <a:pt x="382120" y="137114"/>
                      <a:pt x="382120" y="129209"/>
                    </a:cubicBezTo>
                    <a:cubicBezTo>
                      <a:pt x="382120" y="121303"/>
                      <a:pt x="375738" y="114921"/>
                      <a:pt x="367833" y="114921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3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37" name="任意多边形: 形状 111">
              <a:extLst>
                <a:ext uri="{FF2B5EF4-FFF2-40B4-BE49-F238E27FC236}">
                  <a16:creationId xmlns:a16="http://schemas.microsoft.com/office/drawing/2014/main" id="{44A3B617-5EA5-4392-BEBF-54428C6E46E8}"/>
                </a:ext>
              </a:extLst>
            </p:cNvPr>
            <p:cNvSpPr/>
            <p:nvPr/>
          </p:nvSpPr>
          <p:spPr>
            <a:xfrm>
              <a:off x="4996072" y="3559101"/>
              <a:ext cx="178928" cy="148188"/>
            </a:xfrm>
            <a:custGeom>
              <a:avLst/>
              <a:gdLst>
                <a:gd name="connsiteX0" fmla="*/ 483573 w 526297"/>
                <a:gd name="connsiteY0" fmla="*/ 133971 h 438150"/>
                <a:gd name="connsiteX1" fmla="*/ 527674 w 526297"/>
                <a:gd name="connsiteY1" fmla="*/ 178072 h 438150"/>
                <a:gd name="connsiteX2" fmla="*/ 527579 w 526297"/>
                <a:gd name="connsiteY2" fmla="*/ 181501 h 438150"/>
                <a:gd name="connsiteX3" fmla="*/ 514244 w 526297"/>
                <a:gd name="connsiteY3" fmla="*/ 355237 h 438150"/>
                <a:gd name="connsiteX4" fmla="*/ 485764 w 526297"/>
                <a:gd name="connsiteY4" fmla="*/ 381621 h 438150"/>
                <a:gd name="connsiteX5" fmla="*/ 454998 w 526297"/>
                <a:gd name="connsiteY5" fmla="*/ 381621 h 438150"/>
                <a:gd name="connsiteX6" fmla="*/ 454998 w 526297"/>
                <a:gd name="connsiteY6" fmla="*/ 438771 h 438150"/>
                <a:gd name="connsiteX7" fmla="*/ 435948 w 526297"/>
                <a:gd name="connsiteY7" fmla="*/ 438771 h 438150"/>
                <a:gd name="connsiteX8" fmla="*/ 435948 w 526297"/>
                <a:gd name="connsiteY8" fmla="*/ 381621 h 438150"/>
                <a:gd name="connsiteX9" fmla="*/ 93048 w 526297"/>
                <a:gd name="connsiteY9" fmla="*/ 381621 h 438150"/>
                <a:gd name="connsiteX10" fmla="*/ 93048 w 526297"/>
                <a:gd name="connsiteY10" fmla="*/ 438771 h 438150"/>
                <a:gd name="connsiteX11" fmla="*/ 73998 w 526297"/>
                <a:gd name="connsiteY11" fmla="*/ 438771 h 438150"/>
                <a:gd name="connsiteX12" fmla="*/ 73998 w 526297"/>
                <a:gd name="connsiteY12" fmla="*/ 381621 h 438150"/>
                <a:gd name="connsiteX13" fmla="*/ 43328 w 526297"/>
                <a:gd name="connsiteY13" fmla="*/ 381621 h 438150"/>
                <a:gd name="connsiteX14" fmla="*/ 14848 w 526297"/>
                <a:gd name="connsiteY14" fmla="*/ 355237 h 438150"/>
                <a:gd name="connsiteX15" fmla="*/ 1513 w 526297"/>
                <a:gd name="connsiteY15" fmla="*/ 181501 h 438150"/>
                <a:gd name="connsiteX16" fmla="*/ 42089 w 526297"/>
                <a:gd name="connsiteY16" fmla="*/ 134162 h 438150"/>
                <a:gd name="connsiteX17" fmla="*/ 45518 w 526297"/>
                <a:gd name="connsiteY17" fmla="*/ 134066 h 438150"/>
                <a:gd name="connsiteX18" fmla="*/ 101906 w 526297"/>
                <a:gd name="connsiteY18" fmla="*/ 180834 h 438150"/>
                <a:gd name="connsiteX19" fmla="*/ 121623 w 526297"/>
                <a:gd name="connsiteY19" fmla="*/ 286371 h 438150"/>
                <a:gd name="connsiteX20" fmla="*/ 407373 w 526297"/>
                <a:gd name="connsiteY20" fmla="*/ 286371 h 438150"/>
                <a:gd name="connsiteX21" fmla="*/ 427185 w 526297"/>
                <a:gd name="connsiteY21" fmla="*/ 180739 h 438150"/>
                <a:gd name="connsiteX22" fmla="*/ 483573 w 526297"/>
                <a:gd name="connsiteY22" fmla="*/ 133971 h 438150"/>
                <a:gd name="connsiteX23" fmla="*/ 416898 w 526297"/>
                <a:gd name="connsiteY23" fmla="*/ 621 h 438150"/>
                <a:gd name="connsiteX24" fmla="*/ 483573 w 526297"/>
                <a:gd name="connsiteY24" fmla="*/ 67296 h 438150"/>
                <a:gd name="connsiteX25" fmla="*/ 483573 w 526297"/>
                <a:gd name="connsiteY25" fmla="*/ 115397 h 438150"/>
                <a:gd name="connsiteX26" fmla="*/ 476429 w 526297"/>
                <a:gd name="connsiteY26" fmla="*/ 114921 h 438150"/>
                <a:gd name="connsiteX27" fmla="*/ 412040 w 526297"/>
                <a:gd name="connsiteY27" fmla="*/ 166451 h 438150"/>
                <a:gd name="connsiteX28" fmla="*/ 411564 w 526297"/>
                <a:gd name="connsiteY28" fmla="*/ 168737 h 438150"/>
                <a:gd name="connsiteX29" fmla="*/ 393086 w 526297"/>
                <a:gd name="connsiteY29" fmla="*/ 267321 h 438150"/>
                <a:gd name="connsiteX30" fmla="*/ 135911 w 526297"/>
                <a:gd name="connsiteY30" fmla="*/ 267321 h 438150"/>
                <a:gd name="connsiteX31" fmla="*/ 117432 w 526297"/>
                <a:gd name="connsiteY31" fmla="*/ 168737 h 438150"/>
                <a:gd name="connsiteX32" fmla="*/ 52567 w 526297"/>
                <a:gd name="connsiteY32" fmla="*/ 114921 h 438150"/>
                <a:gd name="connsiteX33" fmla="*/ 54948 w 526297"/>
                <a:gd name="connsiteY33" fmla="*/ 67296 h 438150"/>
                <a:gd name="connsiteX34" fmla="*/ 121623 w 526297"/>
                <a:gd name="connsiteY34" fmla="*/ 621 h 438150"/>
                <a:gd name="connsiteX35" fmla="*/ 416898 w 526297"/>
                <a:gd name="connsiteY35" fmla="*/ 621 h 438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26297" h="438150">
                  <a:moveTo>
                    <a:pt x="483573" y="133971"/>
                  </a:moveTo>
                  <a:cubicBezTo>
                    <a:pt x="507957" y="133971"/>
                    <a:pt x="527674" y="153688"/>
                    <a:pt x="527674" y="178072"/>
                  </a:cubicBezTo>
                  <a:cubicBezTo>
                    <a:pt x="527674" y="179215"/>
                    <a:pt x="527674" y="180358"/>
                    <a:pt x="527579" y="181501"/>
                  </a:cubicBezTo>
                  <a:lnTo>
                    <a:pt x="514244" y="355237"/>
                  </a:lnTo>
                  <a:cubicBezTo>
                    <a:pt x="513101" y="370096"/>
                    <a:pt x="500718" y="381621"/>
                    <a:pt x="485764" y="381621"/>
                  </a:cubicBezTo>
                  <a:lnTo>
                    <a:pt x="454998" y="381621"/>
                  </a:lnTo>
                  <a:lnTo>
                    <a:pt x="454998" y="438771"/>
                  </a:lnTo>
                  <a:lnTo>
                    <a:pt x="435948" y="438771"/>
                  </a:lnTo>
                  <a:lnTo>
                    <a:pt x="435948" y="381621"/>
                  </a:lnTo>
                  <a:lnTo>
                    <a:pt x="93048" y="381621"/>
                  </a:lnTo>
                  <a:lnTo>
                    <a:pt x="93048" y="438771"/>
                  </a:lnTo>
                  <a:lnTo>
                    <a:pt x="73998" y="438771"/>
                  </a:lnTo>
                  <a:lnTo>
                    <a:pt x="73998" y="381621"/>
                  </a:lnTo>
                  <a:lnTo>
                    <a:pt x="43328" y="381621"/>
                  </a:lnTo>
                  <a:cubicBezTo>
                    <a:pt x="28373" y="381621"/>
                    <a:pt x="15991" y="370096"/>
                    <a:pt x="14848" y="355237"/>
                  </a:cubicBezTo>
                  <a:lnTo>
                    <a:pt x="1513" y="181501"/>
                  </a:lnTo>
                  <a:cubicBezTo>
                    <a:pt x="-392" y="157212"/>
                    <a:pt x="17801" y="135971"/>
                    <a:pt x="42089" y="134162"/>
                  </a:cubicBezTo>
                  <a:cubicBezTo>
                    <a:pt x="43232" y="134066"/>
                    <a:pt x="44375" y="134066"/>
                    <a:pt x="45518" y="134066"/>
                  </a:cubicBezTo>
                  <a:cubicBezTo>
                    <a:pt x="73141" y="134066"/>
                    <a:pt x="96858" y="153688"/>
                    <a:pt x="101906" y="180834"/>
                  </a:cubicBezTo>
                  <a:lnTo>
                    <a:pt x="121623" y="286371"/>
                  </a:lnTo>
                  <a:lnTo>
                    <a:pt x="407373" y="286371"/>
                  </a:lnTo>
                  <a:lnTo>
                    <a:pt x="427185" y="180739"/>
                  </a:lnTo>
                  <a:cubicBezTo>
                    <a:pt x="432233" y="153592"/>
                    <a:pt x="455951" y="133971"/>
                    <a:pt x="483573" y="133971"/>
                  </a:cubicBezTo>
                  <a:close/>
                  <a:moveTo>
                    <a:pt x="416898" y="621"/>
                  </a:moveTo>
                  <a:cubicBezTo>
                    <a:pt x="453760" y="621"/>
                    <a:pt x="483573" y="30434"/>
                    <a:pt x="483573" y="67296"/>
                  </a:cubicBezTo>
                  <a:lnTo>
                    <a:pt x="483573" y="115397"/>
                  </a:lnTo>
                  <a:cubicBezTo>
                    <a:pt x="481192" y="115112"/>
                    <a:pt x="478811" y="114921"/>
                    <a:pt x="476429" y="114921"/>
                  </a:cubicBezTo>
                  <a:cubicBezTo>
                    <a:pt x="445473" y="114921"/>
                    <a:pt x="418803" y="136448"/>
                    <a:pt x="412040" y="166451"/>
                  </a:cubicBezTo>
                  <a:lnTo>
                    <a:pt x="411564" y="168737"/>
                  </a:lnTo>
                  <a:lnTo>
                    <a:pt x="393086" y="267321"/>
                  </a:lnTo>
                  <a:lnTo>
                    <a:pt x="135911" y="267321"/>
                  </a:lnTo>
                  <a:lnTo>
                    <a:pt x="117432" y="168737"/>
                  </a:lnTo>
                  <a:cubicBezTo>
                    <a:pt x="111622" y="137495"/>
                    <a:pt x="84285" y="114921"/>
                    <a:pt x="52567" y="114921"/>
                  </a:cubicBezTo>
                  <a:lnTo>
                    <a:pt x="54948" y="67296"/>
                  </a:lnTo>
                  <a:cubicBezTo>
                    <a:pt x="54948" y="30434"/>
                    <a:pt x="84761" y="621"/>
                    <a:pt x="121623" y="621"/>
                  </a:cubicBezTo>
                  <a:lnTo>
                    <a:pt x="416898" y="621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/>
              <a:endParaRPr lang="zh-CN" altLang="en-U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7" name="圆角矩形 6"/>
          <p:cNvSpPr/>
          <p:nvPr/>
        </p:nvSpPr>
        <p:spPr>
          <a:xfrm>
            <a:off x="1377859" y="2397123"/>
            <a:ext cx="5933339" cy="2925154"/>
          </a:xfrm>
          <a:prstGeom prst="roundRect">
            <a:avLst>
              <a:gd name="adj" fmla="val 5693"/>
            </a:avLst>
          </a:prstGeom>
          <a:noFill/>
          <a:ln w="19050" cap="flat" cmpd="sng" algn="ctr">
            <a:solidFill>
              <a:srgbClr val="FF0000"/>
            </a:solidFill>
            <a:prstDash val="dash"/>
            <a:miter lim="800000"/>
          </a:ln>
          <a:effectLst/>
        </p:spPr>
        <p:txBody>
          <a:bodyPr rot="0" spcFirstLastPara="0" vertOverflow="overflow" horzOverflow="overflow" vert="horz" wrap="square" lIns="36000" tIns="108000" rIns="36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endParaRPr lang="zh-CN" altLang="en-US" sz="1100" b="1" ker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1" name="箭头: 右 10">
            <a:extLst>
              <a:ext uri="{FF2B5EF4-FFF2-40B4-BE49-F238E27FC236}">
                <a16:creationId xmlns:a16="http://schemas.microsoft.com/office/drawing/2014/main" id="{0C629461-A1DB-DF18-C6CC-5B99A7235D77}"/>
              </a:ext>
            </a:extLst>
          </p:cNvPr>
          <p:cNvSpPr/>
          <p:nvPr/>
        </p:nvSpPr>
        <p:spPr>
          <a:xfrm>
            <a:off x="7522213" y="3329354"/>
            <a:ext cx="644769" cy="738554"/>
          </a:xfrm>
          <a:prstGeom prst="rightArrow">
            <a:avLst/>
          </a:prstGeom>
          <a:solidFill>
            <a:srgbClr val="F05A23"/>
          </a:solidFill>
          <a:ln w="9525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36000" tIns="108000" rIns="36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endParaRPr lang="zh-CN" altLang="en-US" sz="1100" b="1" kern="0" dirty="0">
              <a:solidFill>
                <a:prstClr val="black"/>
              </a:solidFill>
              <a:latin typeface="Arial"/>
              <a:ea typeface="华文楷体"/>
              <a:sym typeface="Arial" panose="020B0604020202020204" pitchFamily="34" charset="0"/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157BF7F9-B1E0-A620-FAA5-49BF2951D72B}"/>
              </a:ext>
            </a:extLst>
          </p:cNvPr>
          <p:cNvSpPr txBox="1"/>
          <p:nvPr/>
        </p:nvSpPr>
        <p:spPr>
          <a:xfrm>
            <a:off x="8166982" y="3513965"/>
            <a:ext cx="26751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时刻保持以用户为中心</a:t>
            </a:r>
            <a:endParaRPr lang="zh-CN" altLang="en-US" b="1" dirty="0"/>
          </a:p>
        </p:txBody>
      </p:sp>
    </p:spTree>
    <p:extLst>
      <p:ext uri="{BB962C8B-B14F-4D97-AF65-F5344CB8AC3E}">
        <p14:creationId xmlns:p14="http://schemas.microsoft.com/office/powerpoint/2010/main" val="6049525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标题 24">
            <a:extLst>
              <a:ext uri="{FF2B5EF4-FFF2-40B4-BE49-F238E27FC236}">
                <a16:creationId xmlns:a16="http://schemas.microsoft.com/office/drawing/2014/main" id="{E3DC3D11-8E3D-4D19-71A1-5705F0FCA490}"/>
              </a:ext>
            </a:extLst>
          </p:cNvPr>
          <p:cNvSpPr txBox="1">
            <a:spLocks/>
          </p:cNvSpPr>
          <p:nvPr/>
        </p:nvSpPr>
        <p:spPr>
          <a:xfrm>
            <a:off x="919119" y="1900720"/>
            <a:ext cx="10353761" cy="3184988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1" i="0" kern="1200" cap="all">
                <a:solidFill>
                  <a:schemeClr val="tx1"/>
                </a:solidFill>
                <a:effectLst>
                  <a:outerShdw blurRad="50800" dist="63500" dir="2700000" algn="tl" rotWithShape="0">
                    <a:srgbClr val="000000">
                      <a:alpha val="48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2800" cap="none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写文案依赖</a:t>
            </a:r>
            <a:r>
              <a:rPr lang="zh-CN" altLang="en-US" sz="3000" cap="none" dirty="0">
                <a:solidFill>
                  <a:srgbClr val="F05A23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创作灵感</a:t>
            </a:r>
            <a:endParaRPr lang="en-US" altLang="zh-CN" sz="3000" cap="none" dirty="0">
              <a:solidFill>
                <a:srgbClr val="F05A23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>
              <a:lnSpc>
                <a:spcPct val="150000"/>
              </a:lnSpc>
            </a:pPr>
            <a:r>
              <a:rPr lang="zh-CN" altLang="en-US" sz="2800" cap="none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而我没有灵感</a:t>
            </a:r>
            <a:endParaRPr lang="en-US" altLang="zh-CN" sz="2800" cap="none" dirty="0"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>
              <a:lnSpc>
                <a:spcPct val="150000"/>
              </a:lnSpc>
            </a:pPr>
            <a:r>
              <a:rPr lang="zh-CN" altLang="en-US" sz="2800" cap="none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开始</a:t>
            </a:r>
            <a:r>
              <a:rPr lang="zh-CN" altLang="en-US" sz="3000" cap="none" dirty="0">
                <a:solidFill>
                  <a:srgbClr val="F05A23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自我怀疑</a:t>
            </a:r>
            <a:r>
              <a:rPr lang="zh-CN" altLang="en-US" sz="2800" cap="none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？</a:t>
            </a:r>
          </a:p>
        </p:txBody>
      </p:sp>
      <p:sp>
        <p:nvSpPr>
          <p:cNvPr id="4" name="PA_文本框 21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>
            <a:extLst>
              <a:ext uri="{FF2B5EF4-FFF2-40B4-BE49-F238E27FC236}">
                <a16:creationId xmlns:a16="http://schemas.microsoft.com/office/drawing/2014/main" id="{EB15CC80-CF2A-2BCF-9F74-8937D327667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80230" y="330214"/>
            <a:ext cx="5152913" cy="46166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zh-CN"/>
            </a:defPPr>
            <a:lvl1pPr marL="12700" marR="0" lvl="0" indent="0" fontAlgn="auto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F05A23"/>
                </a:solidFill>
                <a:effectLst/>
                <a:uLnTx/>
                <a:uFillTx/>
                <a:latin typeface="Arial"/>
                <a:ea typeface="华文楷体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  <a:lvl6pPr>
              <a:defRPr>
                <a:latin typeface="+mn-lt"/>
                <a:ea typeface="+mn-ea"/>
                <a:cs typeface="+mn-cs"/>
              </a:defRPr>
            </a:lvl6pPr>
            <a:lvl7pPr>
              <a:defRPr>
                <a:latin typeface="+mn-lt"/>
                <a:ea typeface="+mn-ea"/>
                <a:cs typeface="+mn-cs"/>
              </a:defRPr>
            </a:lvl7pPr>
            <a:lvl8pPr>
              <a:defRPr>
                <a:latin typeface="+mn-lt"/>
                <a:ea typeface="+mn-ea"/>
                <a:cs typeface="+mn-cs"/>
              </a:defRPr>
            </a:lvl8pPr>
            <a:lvl9pPr>
              <a:defRPr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zh-CN" altLang="en-US" sz="2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你是不是觉得？</a:t>
            </a:r>
          </a:p>
        </p:txBody>
      </p:sp>
    </p:spTree>
    <p:extLst>
      <p:ext uri="{BB962C8B-B14F-4D97-AF65-F5344CB8AC3E}">
        <p14:creationId xmlns:p14="http://schemas.microsoft.com/office/powerpoint/2010/main" val="424928137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>
            <a:extLst>
              <a:ext uri="{FF2B5EF4-FFF2-40B4-BE49-F238E27FC236}">
                <a16:creationId xmlns:a16="http://schemas.microsoft.com/office/drawing/2014/main" id="{4D5A4E2A-6542-B202-49C1-485C7E1E850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4505"/>
          <a:stretch/>
        </p:blipFill>
        <p:spPr>
          <a:xfrm>
            <a:off x="-25400" y="0"/>
            <a:ext cx="12217400" cy="6966857"/>
          </a:xfrm>
          <a:prstGeom prst="rect">
            <a:avLst/>
          </a:prstGeom>
        </p:spPr>
      </p:pic>
      <p:sp>
        <p:nvSpPr>
          <p:cNvPr id="9" name="e7d195523061f1c0" descr="e7d195523061f1c0d318120d6aeaf1b6ccceb6ba3da59c0775C5DE19DDDEBC09ED96DBD9900D9848D623ECAD1D4904B78047D0015C22C8BE97228BE8B5BFF08FE7A3AE04126DA07312A96C0F69F9BAB71A8D4487C13BBD21E178D4F88753BF1C0AA2D476514934E2BFA1BCD92238D9398A04F1D9D25610EF52C0143E775B4548A6233544C90E9CB7" hidden="1">
            <a:extLst>
              <a:ext uri="{FF2B5EF4-FFF2-40B4-BE49-F238E27FC236}">
                <a16:creationId xmlns:a16="http://schemas.microsoft.com/office/drawing/2014/main" id="{4E552777-4412-4D28-87F1-58AB7948412F}"/>
              </a:ext>
            </a:extLst>
          </p:cNvPr>
          <p:cNvSpPr txBox="1"/>
          <p:nvPr/>
        </p:nvSpPr>
        <p:spPr>
          <a:xfrm>
            <a:off x="-355600" y="1803400"/>
            <a:ext cx="26225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华文楷体"/>
                <a:cs typeface="+mn-cs"/>
              </a:rPr>
              <a:t>e7d195523061f1c0d318120d6aeaf1b6ccceb6ba3da59c0775C5DE19DDDEBC09ED96DBD9900D9848D623ECAD1D4904B78047D0015C22C8BE97228BE8B5BFF08FE7A3AE04126DA07312A96C0F69F9BAB71A8D4487C13BBD21E178D4F88753BF1C0AA2D476514934E2BFA1BCD92238D9398A04F1D9D25610EF52C0143E775B4548A6233544C90E9CB7</a:t>
            </a:r>
            <a:endParaRPr kumimoji="0" lang="zh-CN" altLang="en-US" sz="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华文楷体"/>
              <a:cs typeface="+mn-cs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3062C623-795E-B76A-9679-0DA6E0A79431}"/>
              </a:ext>
            </a:extLst>
          </p:cNvPr>
          <p:cNvSpPr/>
          <p:nvPr/>
        </p:nvSpPr>
        <p:spPr>
          <a:xfrm rot="10800000">
            <a:off x="-3" y="-1"/>
            <a:ext cx="12242799" cy="7017657"/>
          </a:xfrm>
          <a:prstGeom prst="rect">
            <a:avLst/>
          </a:prstGeom>
          <a:solidFill>
            <a:srgbClr val="000000">
              <a:alpha val="7098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1" name="object 3">
            <a:extLst>
              <a:ext uri="{FF2B5EF4-FFF2-40B4-BE49-F238E27FC236}">
                <a16:creationId xmlns:a16="http://schemas.microsoft.com/office/drawing/2014/main" id="{313048AF-CD66-8E26-5B09-BE628937EA26}"/>
              </a:ext>
            </a:extLst>
          </p:cNvPr>
          <p:cNvSpPr txBox="1">
            <a:spLocks/>
          </p:cNvSpPr>
          <p:nvPr/>
        </p:nvSpPr>
        <p:spPr>
          <a:xfrm>
            <a:off x="2476496" y="2547220"/>
            <a:ext cx="7289799" cy="1763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 lvl="0" algn="ctr" defTabSz="914400">
              <a:lnSpc>
                <a:spcPct val="150000"/>
              </a:lnSpc>
              <a:spcBef>
                <a:spcPts val="100"/>
              </a:spcBef>
              <a:defRPr/>
            </a:pPr>
            <a:r>
              <a:rPr lang="zh-CN" altLang="en-US" sz="4000" dirty="0">
                <a:solidFill>
                  <a:srgbClr val="FE8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好文案，是改出来的</a:t>
            </a:r>
            <a:endParaRPr lang="en-US" altLang="zh-CN" sz="4000" dirty="0">
              <a:solidFill>
                <a:srgbClr val="FE8637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2700" lvl="0" algn="ctr" defTabSz="914400">
              <a:lnSpc>
                <a:spcPct val="150000"/>
              </a:lnSpc>
              <a:spcBef>
                <a:spcPts val="100"/>
              </a:spcBef>
              <a:defRPr/>
            </a:pPr>
            <a:r>
              <a:rPr lang="en-US" altLang="zh-CN" sz="4000" dirty="0">
                <a:solidFill>
                  <a:srgbClr val="FE8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—</a:t>
            </a:r>
            <a:r>
              <a:rPr lang="zh-CN" altLang="en-US" sz="4000" dirty="0">
                <a:solidFill>
                  <a:srgbClr val="FE8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史玉柱</a:t>
            </a:r>
            <a:r>
              <a:rPr lang="en-US" altLang="zh-CN" sz="4000" dirty="0">
                <a:solidFill>
                  <a:srgbClr val="FE8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4000" dirty="0">
                <a:solidFill>
                  <a:srgbClr val="FE8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我的营销心得</a:t>
            </a:r>
            <a:r>
              <a:rPr lang="en-US" altLang="zh-CN" sz="4000" dirty="0">
                <a:solidFill>
                  <a:srgbClr val="FE8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》</a:t>
            </a:r>
          </a:p>
        </p:txBody>
      </p:sp>
    </p:spTree>
    <p:extLst>
      <p:ext uri="{BB962C8B-B14F-4D97-AF65-F5344CB8AC3E}">
        <p14:creationId xmlns:p14="http://schemas.microsoft.com/office/powerpoint/2010/main" val="347788887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图片 39">
            <a:extLst>
              <a:ext uri="{FF2B5EF4-FFF2-40B4-BE49-F238E27FC236}">
                <a16:creationId xmlns:a16="http://schemas.microsoft.com/office/drawing/2014/main" id="{7CB1490E-39EF-785B-93D8-3B5E023A7BD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9418" y="253211"/>
            <a:ext cx="1837445" cy="501494"/>
          </a:xfrm>
          <a:prstGeom prst="rect">
            <a:avLst/>
          </a:prstGeom>
        </p:spPr>
      </p:pic>
      <p:sp>
        <p:nvSpPr>
          <p:cNvPr id="2" name="PA_文本框 21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>
            <a:extLst>
              <a:ext uri="{FF2B5EF4-FFF2-40B4-BE49-F238E27FC236}">
                <a16:creationId xmlns:a16="http://schemas.microsoft.com/office/drawing/2014/main" id="{EB15CC80-CF2A-2BCF-9F74-8937D327667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80230" y="330214"/>
            <a:ext cx="5152913" cy="46166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zh-CN"/>
            </a:defPPr>
            <a:lvl1pPr marL="12700" marR="0" lvl="0" indent="0" fontAlgn="auto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F05A23"/>
                </a:solidFill>
                <a:effectLst/>
                <a:uLnTx/>
                <a:uFillTx/>
                <a:latin typeface="Arial"/>
                <a:ea typeface="华文楷体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  <a:lvl6pPr>
              <a:defRPr>
                <a:latin typeface="+mn-lt"/>
                <a:ea typeface="+mn-ea"/>
                <a:cs typeface="+mn-cs"/>
              </a:defRPr>
            </a:lvl6pPr>
            <a:lvl7pPr>
              <a:defRPr>
                <a:latin typeface="+mn-lt"/>
                <a:ea typeface="+mn-ea"/>
                <a:cs typeface="+mn-cs"/>
              </a:defRPr>
            </a:lvl7pPr>
            <a:lvl8pPr>
              <a:defRPr>
                <a:latin typeface="+mn-lt"/>
                <a:ea typeface="+mn-ea"/>
                <a:cs typeface="+mn-cs"/>
              </a:defRPr>
            </a:lvl8pPr>
            <a:lvl9pPr>
              <a:defRPr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endParaRPr lang="zh-CN" altLang="en-US" sz="28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PA_文本框 21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>
            <a:extLst>
              <a:ext uri="{FF2B5EF4-FFF2-40B4-BE49-F238E27FC236}">
                <a16:creationId xmlns:a16="http://schemas.microsoft.com/office/drawing/2014/main" id="{EB15CC80-CF2A-2BCF-9F74-8937D327667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980229" y="293040"/>
            <a:ext cx="5152913" cy="46166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zh-CN"/>
            </a:defPPr>
            <a:lvl1pPr marL="12700" marR="0" lvl="0" indent="0" fontAlgn="auto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F05A23"/>
                </a:solidFill>
                <a:effectLst/>
                <a:uLnTx/>
                <a:uFillTx/>
                <a:latin typeface="Arial"/>
                <a:ea typeface="华文楷体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  <a:lvl6pPr>
              <a:defRPr>
                <a:latin typeface="+mn-lt"/>
                <a:ea typeface="+mn-ea"/>
                <a:cs typeface="+mn-cs"/>
              </a:defRPr>
            </a:lvl6pPr>
            <a:lvl7pPr>
              <a:defRPr>
                <a:latin typeface="+mn-lt"/>
                <a:ea typeface="+mn-ea"/>
                <a:cs typeface="+mn-cs"/>
              </a:defRPr>
            </a:lvl7pPr>
            <a:lvl8pPr>
              <a:defRPr>
                <a:latin typeface="+mn-lt"/>
                <a:ea typeface="+mn-ea"/>
                <a:cs typeface="+mn-cs"/>
              </a:defRPr>
            </a:lvl8pPr>
            <a:lvl9pPr>
              <a:defRPr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zh-CN" altLang="en-US" sz="2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重点内容</a:t>
            </a:r>
          </a:p>
        </p:txBody>
      </p:sp>
      <p:grpSp>
        <p:nvGrpSpPr>
          <p:cNvPr id="18" name="组合 17">
            <a:extLst>
              <a:ext uri="{FF2B5EF4-FFF2-40B4-BE49-F238E27FC236}">
                <a16:creationId xmlns:a16="http://schemas.microsoft.com/office/drawing/2014/main" id="{06447300-A828-46E0-A4F6-89BC5DE2AD73}"/>
              </a:ext>
            </a:extLst>
          </p:cNvPr>
          <p:cNvGrpSpPr/>
          <p:nvPr/>
        </p:nvGrpSpPr>
        <p:grpSpPr>
          <a:xfrm>
            <a:off x="4979004" y="2765922"/>
            <a:ext cx="4430189" cy="846964"/>
            <a:chOff x="6567426" y="1378742"/>
            <a:chExt cx="4047123" cy="773729"/>
          </a:xfrm>
        </p:grpSpPr>
        <p:cxnSp>
          <p:nvCxnSpPr>
            <p:cNvPr id="54" name="直接箭头连接符 53">
              <a:extLst>
                <a:ext uri="{FF2B5EF4-FFF2-40B4-BE49-F238E27FC236}">
                  <a16:creationId xmlns:a16="http://schemas.microsoft.com/office/drawing/2014/main" id="{4BE8E0D6-C155-5AEF-0276-A2A43843DAEE}"/>
                </a:ext>
              </a:extLst>
            </p:cNvPr>
            <p:cNvCxnSpPr>
              <a:cxnSpLocks/>
            </p:cNvCxnSpPr>
            <p:nvPr/>
          </p:nvCxnSpPr>
          <p:spPr>
            <a:xfrm>
              <a:off x="6567426" y="2152471"/>
              <a:ext cx="692191" cy="0"/>
            </a:xfrm>
            <a:prstGeom prst="straightConnector1">
              <a:avLst/>
            </a:prstGeom>
            <a:ln>
              <a:solidFill>
                <a:schemeClr val="tx1">
                  <a:lumMod val="50000"/>
                  <a:lumOff val="50000"/>
                  <a:alpha val="50000"/>
                </a:schemeClr>
              </a:solidFill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文本框 54">
              <a:extLst>
                <a:ext uri="{FF2B5EF4-FFF2-40B4-BE49-F238E27FC236}">
                  <a16:creationId xmlns:a16="http://schemas.microsoft.com/office/drawing/2014/main" id="{A74305F5-51E2-67F2-4783-9C083706BF94}"/>
                </a:ext>
              </a:extLst>
            </p:cNvPr>
            <p:cNvSpPr txBox="1"/>
            <p:nvPr/>
          </p:nvSpPr>
          <p:spPr>
            <a:xfrm>
              <a:off x="7402187" y="1378742"/>
              <a:ext cx="3212362" cy="3373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b="1" u="sng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5</a:t>
              </a:r>
              <a:r>
                <a:rPr lang="zh-CN" altLang="en-US" b="1" u="sng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种常见写法</a:t>
              </a:r>
            </a:p>
          </p:txBody>
        </p:sp>
        <p:sp>
          <p:nvSpPr>
            <p:cNvPr id="56" name="文本框 55">
              <a:extLst>
                <a:ext uri="{FF2B5EF4-FFF2-40B4-BE49-F238E27FC236}">
                  <a16:creationId xmlns:a16="http://schemas.microsoft.com/office/drawing/2014/main" id="{EF873D8E-11B5-C235-2B87-EF904B166801}"/>
                </a:ext>
              </a:extLst>
            </p:cNvPr>
            <p:cNvSpPr txBox="1"/>
            <p:nvPr/>
          </p:nvSpPr>
          <p:spPr>
            <a:xfrm>
              <a:off x="7392386" y="1636905"/>
              <a:ext cx="3212362" cy="47797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好处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+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行动；问题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+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成就；颠覆认知；场景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+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危害；把话说一半</a:t>
              </a:r>
              <a:endPara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8" name="组合 27">
            <a:extLst>
              <a:ext uri="{FF2B5EF4-FFF2-40B4-BE49-F238E27FC236}">
                <a16:creationId xmlns:a16="http://schemas.microsoft.com/office/drawing/2014/main" id="{AB7D4C03-B216-5C40-C36A-39D39AD6624D}"/>
              </a:ext>
            </a:extLst>
          </p:cNvPr>
          <p:cNvGrpSpPr/>
          <p:nvPr/>
        </p:nvGrpSpPr>
        <p:grpSpPr>
          <a:xfrm>
            <a:off x="639638" y="1675646"/>
            <a:ext cx="4281686" cy="3913109"/>
            <a:chOff x="5426947" y="2589514"/>
            <a:chExt cx="3911461" cy="3574753"/>
          </a:xfrm>
        </p:grpSpPr>
        <p:grpSp>
          <p:nvGrpSpPr>
            <p:cNvPr id="33" name="组合 32">
              <a:extLst>
                <a:ext uri="{FF2B5EF4-FFF2-40B4-BE49-F238E27FC236}">
                  <a16:creationId xmlns:a16="http://schemas.microsoft.com/office/drawing/2014/main" id="{44D55EFF-962B-F18C-334B-B7399D965F69}"/>
                </a:ext>
              </a:extLst>
            </p:cNvPr>
            <p:cNvGrpSpPr/>
            <p:nvPr/>
          </p:nvGrpSpPr>
          <p:grpSpPr>
            <a:xfrm flipH="1">
              <a:off x="6767268" y="2883726"/>
              <a:ext cx="725153" cy="2987575"/>
              <a:chOff x="4698124" y="1929879"/>
              <a:chExt cx="725153" cy="2987575"/>
            </a:xfrm>
          </p:grpSpPr>
          <p:cxnSp>
            <p:nvCxnSpPr>
              <p:cNvPr id="49" name="直接连接符 48">
                <a:extLst>
                  <a:ext uri="{FF2B5EF4-FFF2-40B4-BE49-F238E27FC236}">
                    <a16:creationId xmlns:a16="http://schemas.microsoft.com/office/drawing/2014/main" id="{FB4D1E67-88D4-A81A-4960-06021FF5B6E5}"/>
                  </a:ext>
                </a:extLst>
              </p:cNvPr>
              <p:cNvCxnSpPr/>
              <p:nvPr/>
            </p:nvCxnSpPr>
            <p:spPr>
              <a:xfrm>
                <a:off x="4703321" y="1929879"/>
                <a:ext cx="320373" cy="0"/>
              </a:xfrm>
              <a:prstGeom prst="line">
                <a:avLst/>
              </a:prstGeom>
              <a:ln w="12700">
                <a:solidFill>
                  <a:schemeClr val="tx2">
                    <a:alpha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直接连接符 49">
                <a:extLst>
                  <a:ext uri="{FF2B5EF4-FFF2-40B4-BE49-F238E27FC236}">
                    <a16:creationId xmlns:a16="http://schemas.microsoft.com/office/drawing/2014/main" id="{0C10661C-D71B-44DE-A70A-5B0D609C2082}"/>
                  </a:ext>
                </a:extLst>
              </p:cNvPr>
              <p:cNvCxnSpPr>
                <a:cxnSpLocks/>
                <a:endCxn id="29" idx="1"/>
              </p:cNvCxnSpPr>
              <p:nvPr/>
            </p:nvCxnSpPr>
            <p:spPr>
              <a:xfrm flipH="1">
                <a:off x="4703320" y="3429001"/>
                <a:ext cx="719957" cy="0"/>
              </a:xfrm>
              <a:prstGeom prst="line">
                <a:avLst/>
              </a:prstGeom>
              <a:ln w="12700">
                <a:solidFill>
                  <a:schemeClr val="tx2">
                    <a:alpha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直接连接符 50">
                <a:extLst>
                  <a:ext uri="{FF2B5EF4-FFF2-40B4-BE49-F238E27FC236}">
                    <a16:creationId xmlns:a16="http://schemas.microsoft.com/office/drawing/2014/main" id="{0D3F68AF-D3B0-9998-E0A7-D3F8FEB32ED7}"/>
                  </a:ext>
                </a:extLst>
              </p:cNvPr>
              <p:cNvCxnSpPr/>
              <p:nvPr/>
            </p:nvCxnSpPr>
            <p:spPr>
              <a:xfrm>
                <a:off x="5012678" y="1929879"/>
                <a:ext cx="8582" cy="2987575"/>
              </a:xfrm>
              <a:prstGeom prst="line">
                <a:avLst/>
              </a:prstGeom>
              <a:ln w="12700">
                <a:solidFill>
                  <a:schemeClr val="tx2">
                    <a:alpha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直接连接符 52">
                <a:extLst>
                  <a:ext uri="{FF2B5EF4-FFF2-40B4-BE49-F238E27FC236}">
                    <a16:creationId xmlns:a16="http://schemas.microsoft.com/office/drawing/2014/main" id="{9C59C276-F2B6-9447-272C-35748F8207C9}"/>
                  </a:ext>
                </a:extLst>
              </p:cNvPr>
              <p:cNvCxnSpPr/>
              <p:nvPr/>
            </p:nvCxnSpPr>
            <p:spPr>
              <a:xfrm>
                <a:off x="4698124" y="4917454"/>
                <a:ext cx="334153" cy="0"/>
              </a:xfrm>
              <a:prstGeom prst="line">
                <a:avLst/>
              </a:prstGeom>
              <a:ln w="12700">
                <a:solidFill>
                  <a:schemeClr val="tx2">
                    <a:alpha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4" name="矩形: 圆角 4">
              <a:extLst>
                <a:ext uri="{FF2B5EF4-FFF2-40B4-BE49-F238E27FC236}">
                  <a16:creationId xmlns:a16="http://schemas.microsoft.com/office/drawing/2014/main" id="{A415AD5B-65DE-1AA2-3DE5-7ACA96EAD284}"/>
                </a:ext>
              </a:extLst>
            </p:cNvPr>
            <p:cNvSpPr/>
            <p:nvPr/>
          </p:nvSpPr>
          <p:spPr>
            <a:xfrm>
              <a:off x="5426947" y="3975750"/>
              <a:ext cx="1391069" cy="797959"/>
            </a:xfrm>
            <a:prstGeom prst="roundRect">
              <a:avLst>
                <a:gd name="adj" fmla="val 16700"/>
              </a:avLst>
            </a:prstGeom>
            <a:solidFill>
              <a:schemeClr val="accent1"/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54"/>
              <a:r>
                <a:rPr lang="zh-CN" altLang="en-US" sz="2000" b="1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高转化</a:t>
              </a:r>
              <a:endParaRPr lang="en-US" altLang="zh-CN" sz="20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defTabSz="914354"/>
              <a:r>
                <a:rPr lang="zh-CN" altLang="en-US" sz="2000" b="1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文案</a:t>
              </a:r>
            </a:p>
          </p:txBody>
        </p:sp>
        <p:grpSp>
          <p:nvGrpSpPr>
            <p:cNvPr id="35" name="组合 34">
              <a:extLst>
                <a:ext uri="{FF2B5EF4-FFF2-40B4-BE49-F238E27FC236}">
                  <a16:creationId xmlns:a16="http://schemas.microsoft.com/office/drawing/2014/main" id="{B5947951-2C8B-A981-E822-B25CD4A629E9}"/>
                </a:ext>
              </a:extLst>
            </p:cNvPr>
            <p:cNvGrpSpPr/>
            <p:nvPr/>
          </p:nvGrpSpPr>
          <p:grpSpPr>
            <a:xfrm>
              <a:off x="7490144" y="2589514"/>
              <a:ext cx="1848262" cy="631532"/>
              <a:chOff x="7496495" y="2526504"/>
              <a:chExt cx="1848262" cy="631532"/>
            </a:xfrm>
          </p:grpSpPr>
          <p:sp>
            <p:nvSpPr>
              <p:cNvPr id="43" name="矩形: 圆角 15">
                <a:extLst>
                  <a:ext uri="{FF2B5EF4-FFF2-40B4-BE49-F238E27FC236}">
                    <a16:creationId xmlns:a16="http://schemas.microsoft.com/office/drawing/2014/main" id="{DA4CD405-F315-6A5B-BE9C-DEB2008F14BD}"/>
                  </a:ext>
                </a:extLst>
              </p:cNvPr>
              <p:cNvSpPr/>
              <p:nvPr/>
            </p:nvSpPr>
            <p:spPr>
              <a:xfrm>
                <a:off x="7496495" y="2526504"/>
                <a:ext cx="1848262" cy="631532"/>
              </a:xfrm>
              <a:prstGeom prst="roundRect">
                <a:avLst>
                  <a:gd name="adj" fmla="val 50000"/>
                </a:avLst>
              </a:prstGeom>
              <a:solidFill>
                <a:schemeClr val="accent1">
                  <a:alpha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 b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4" name="椭圆 43">
                <a:extLst>
                  <a:ext uri="{FF2B5EF4-FFF2-40B4-BE49-F238E27FC236}">
                    <a16:creationId xmlns:a16="http://schemas.microsoft.com/office/drawing/2014/main" id="{D01BCF42-1518-D42B-EA78-51C119795424}"/>
                  </a:ext>
                </a:extLst>
              </p:cNvPr>
              <p:cNvSpPr/>
              <p:nvPr/>
            </p:nvSpPr>
            <p:spPr>
              <a:xfrm>
                <a:off x="7625548" y="2622485"/>
                <a:ext cx="410200" cy="410198"/>
              </a:xfrm>
              <a:prstGeom prst="ellipse">
                <a:avLst/>
              </a:prstGeom>
              <a:solidFill>
                <a:schemeClr val="accent1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non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354"/>
                <a:endParaRPr lang="zh-CN" altLang="en-US" sz="14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5" name="文本框 44">
                <a:extLst>
                  <a:ext uri="{FF2B5EF4-FFF2-40B4-BE49-F238E27FC236}">
                    <a16:creationId xmlns:a16="http://schemas.microsoft.com/office/drawing/2014/main" id="{E84295DA-76DA-8DA5-D414-9582DD53F356}"/>
                  </a:ext>
                </a:extLst>
              </p:cNvPr>
              <p:cNvSpPr txBox="1"/>
              <p:nvPr/>
            </p:nvSpPr>
            <p:spPr>
              <a:xfrm>
                <a:off x="8038667" y="2680134"/>
                <a:ext cx="1071444" cy="3373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通用公式</a:t>
                </a:r>
              </a:p>
            </p:txBody>
          </p:sp>
        </p:grpSp>
        <p:grpSp>
          <p:nvGrpSpPr>
            <p:cNvPr id="36" name="组合 35">
              <a:extLst>
                <a:ext uri="{FF2B5EF4-FFF2-40B4-BE49-F238E27FC236}">
                  <a16:creationId xmlns:a16="http://schemas.microsoft.com/office/drawing/2014/main" id="{28EC0434-7FC5-ACF2-1288-A5D601803499}"/>
                </a:ext>
              </a:extLst>
            </p:cNvPr>
            <p:cNvGrpSpPr/>
            <p:nvPr/>
          </p:nvGrpSpPr>
          <p:grpSpPr>
            <a:xfrm>
              <a:off x="7493813" y="5532735"/>
              <a:ext cx="1844595" cy="631532"/>
              <a:chOff x="7500164" y="5469725"/>
              <a:chExt cx="1844595" cy="631532"/>
            </a:xfrm>
          </p:grpSpPr>
          <p:sp>
            <p:nvSpPr>
              <p:cNvPr id="38" name="矩形: 圆角 11">
                <a:extLst>
                  <a:ext uri="{FF2B5EF4-FFF2-40B4-BE49-F238E27FC236}">
                    <a16:creationId xmlns:a16="http://schemas.microsoft.com/office/drawing/2014/main" id="{FDAC64E0-E42B-02A3-2299-D6E824174367}"/>
                  </a:ext>
                </a:extLst>
              </p:cNvPr>
              <p:cNvSpPr/>
              <p:nvPr/>
            </p:nvSpPr>
            <p:spPr>
              <a:xfrm>
                <a:off x="7500164" y="5469725"/>
                <a:ext cx="1844595" cy="631532"/>
              </a:xfrm>
              <a:prstGeom prst="roundRect">
                <a:avLst>
                  <a:gd name="adj" fmla="val 50000"/>
                </a:avLst>
              </a:prstGeom>
              <a:solidFill>
                <a:schemeClr val="tx2">
                  <a:alpha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 b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9" name="椭圆 38">
                <a:extLst>
                  <a:ext uri="{FF2B5EF4-FFF2-40B4-BE49-F238E27FC236}">
                    <a16:creationId xmlns:a16="http://schemas.microsoft.com/office/drawing/2014/main" id="{61B471C6-5F68-E06A-B686-6782BCAA22E2}"/>
                  </a:ext>
                </a:extLst>
              </p:cNvPr>
              <p:cNvSpPr/>
              <p:nvPr/>
            </p:nvSpPr>
            <p:spPr>
              <a:xfrm>
                <a:off x="7629217" y="5565707"/>
                <a:ext cx="410200" cy="410198"/>
              </a:xfrm>
              <a:prstGeom prst="ellipse">
                <a:avLst/>
              </a:prstGeom>
              <a:solidFill>
                <a:schemeClr val="tx2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non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354"/>
                <a:endParaRPr lang="zh-CN" altLang="en-US" sz="14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1" name="文本框 40">
                <a:extLst>
                  <a:ext uri="{FF2B5EF4-FFF2-40B4-BE49-F238E27FC236}">
                    <a16:creationId xmlns:a16="http://schemas.microsoft.com/office/drawing/2014/main" id="{735DF2F0-D838-B348-4A9A-D7BFE6F802AA}"/>
                  </a:ext>
                </a:extLst>
              </p:cNvPr>
              <p:cNvSpPr txBox="1"/>
              <p:nvPr/>
            </p:nvSpPr>
            <p:spPr>
              <a:xfrm>
                <a:off x="8085523" y="5624914"/>
                <a:ext cx="1090289" cy="3373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实用内容</a:t>
                </a:r>
              </a:p>
            </p:txBody>
          </p:sp>
        </p:grpSp>
      </p:grpSp>
      <p:sp>
        <p:nvSpPr>
          <p:cNvPr id="29" name="矩形: 圆角 38">
            <a:extLst>
              <a:ext uri="{FF2B5EF4-FFF2-40B4-BE49-F238E27FC236}">
                <a16:creationId xmlns:a16="http://schemas.microsoft.com/office/drawing/2014/main" id="{E1529944-DE29-157E-10B0-4946A2A02561}"/>
              </a:ext>
            </a:extLst>
          </p:cNvPr>
          <p:cNvSpPr/>
          <p:nvPr/>
        </p:nvSpPr>
        <p:spPr>
          <a:xfrm>
            <a:off x="2894925" y="3293068"/>
            <a:ext cx="2026400" cy="691307"/>
          </a:xfrm>
          <a:prstGeom prst="roundRect">
            <a:avLst>
              <a:gd name="adj" fmla="val 50000"/>
            </a:avLst>
          </a:prstGeom>
          <a:solidFill>
            <a:schemeClr val="accent1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0" name="椭圆 29">
            <a:extLst>
              <a:ext uri="{FF2B5EF4-FFF2-40B4-BE49-F238E27FC236}">
                <a16:creationId xmlns:a16="http://schemas.microsoft.com/office/drawing/2014/main" id="{F94CAF9A-FF28-BEF3-CE0A-EA9162B57AE0}"/>
              </a:ext>
            </a:extLst>
          </p:cNvPr>
          <p:cNvSpPr/>
          <p:nvPr/>
        </p:nvSpPr>
        <p:spPr>
          <a:xfrm>
            <a:off x="3036193" y="3398135"/>
            <a:ext cx="449026" cy="449024"/>
          </a:xfrm>
          <a:prstGeom prst="ellipse">
            <a:avLst/>
          </a:prstGeom>
          <a:solidFill>
            <a:schemeClr val="accent1"/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1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95A75AEE-20D7-212C-57DD-09DCE9848D61}"/>
              </a:ext>
            </a:extLst>
          </p:cNvPr>
          <p:cNvSpPr txBox="1"/>
          <p:nvPr/>
        </p:nvSpPr>
        <p:spPr>
          <a:xfrm>
            <a:off x="3491609" y="3436459"/>
            <a:ext cx="12447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吸睛标题</a:t>
            </a:r>
          </a:p>
        </p:txBody>
      </p: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763E8C72-4322-8E84-2D48-CF75102A5DA4}"/>
              </a:ext>
            </a:extLst>
          </p:cNvPr>
          <p:cNvGrpSpPr/>
          <p:nvPr/>
        </p:nvGrpSpPr>
        <p:grpSpPr>
          <a:xfrm>
            <a:off x="4971791" y="1780711"/>
            <a:ext cx="4371872" cy="646331"/>
            <a:chOff x="6567426" y="1955661"/>
            <a:chExt cx="3993849" cy="590446"/>
          </a:xfrm>
        </p:grpSpPr>
        <p:cxnSp>
          <p:nvCxnSpPr>
            <p:cNvPr id="25" name="直接箭头连接符 24">
              <a:extLst>
                <a:ext uri="{FF2B5EF4-FFF2-40B4-BE49-F238E27FC236}">
                  <a16:creationId xmlns:a16="http://schemas.microsoft.com/office/drawing/2014/main" id="{5EEED379-483F-CCE4-24A8-FAFB958AEE97}"/>
                </a:ext>
              </a:extLst>
            </p:cNvPr>
            <p:cNvCxnSpPr>
              <a:cxnSpLocks/>
            </p:cNvCxnSpPr>
            <p:nvPr/>
          </p:nvCxnSpPr>
          <p:spPr>
            <a:xfrm>
              <a:off x="6567426" y="2152471"/>
              <a:ext cx="692191" cy="0"/>
            </a:xfrm>
            <a:prstGeom prst="straightConnector1">
              <a:avLst/>
            </a:prstGeom>
            <a:ln>
              <a:solidFill>
                <a:schemeClr val="tx1">
                  <a:lumMod val="50000"/>
                  <a:lumOff val="50000"/>
                  <a:alpha val="50000"/>
                </a:schemeClr>
              </a:solidFill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文本框 26">
              <a:extLst>
                <a:ext uri="{FF2B5EF4-FFF2-40B4-BE49-F238E27FC236}">
                  <a16:creationId xmlns:a16="http://schemas.microsoft.com/office/drawing/2014/main" id="{32711A21-28B9-41A2-2B0B-D1667E695AF4}"/>
                </a:ext>
              </a:extLst>
            </p:cNvPr>
            <p:cNvSpPr txBox="1"/>
            <p:nvPr/>
          </p:nvSpPr>
          <p:spPr>
            <a:xfrm>
              <a:off x="7321892" y="1955661"/>
              <a:ext cx="3239383" cy="5904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b="1" u="sng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吸睛标题</a:t>
              </a:r>
              <a:r>
                <a:rPr lang="en-US" altLang="zh-CN" b="1" u="sng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+</a:t>
              </a:r>
              <a:r>
                <a:rPr lang="zh-CN" altLang="en-US" b="1" u="sng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有趣开头</a:t>
              </a:r>
              <a:r>
                <a:rPr lang="en-US" altLang="zh-CN" b="1" u="sng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+</a:t>
              </a:r>
              <a:r>
                <a:rPr lang="zh-CN" altLang="en-US" b="1" u="sng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实用内容</a:t>
              </a:r>
              <a:r>
                <a:rPr lang="en-US" altLang="zh-CN" b="1" u="sng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+</a:t>
              </a:r>
              <a:r>
                <a:rPr lang="zh-CN" altLang="en-US" b="1" u="sng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行动指引</a:t>
              </a:r>
              <a:endParaRPr lang="en-US" altLang="zh-CN" b="1" u="sng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1" name="组合 20">
            <a:extLst>
              <a:ext uri="{FF2B5EF4-FFF2-40B4-BE49-F238E27FC236}">
                <a16:creationId xmlns:a16="http://schemas.microsoft.com/office/drawing/2014/main" id="{AC9BB0D9-A4E6-8C0E-2E69-A99534948407}"/>
              </a:ext>
            </a:extLst>
          </p:cNvPr>
          <p:cNvGrpSpPr/>
          <p:nvPr/>
        </p:nvGrpSpPr>
        <p:grpSpPr>
          <a:xfrm>
            <a:off x="4979004" y="4449217"/>
            <a:ext cx="4403202" cy="890033"/>
            <a:chOff x="6598669" y="1601767"/>
            <a:chExt cx="4022470" cy="813075"/>
          </a:xfrm>
        </p:grpSpPr>
        <p:cxnSp>
          <p:nvCxnSpPr>
            <p:cNvPr id="22" name="直接箭头连接符 21">
              <a:extLst>
                <a:ext uri="{FF2B5EF4-FFF2-40B4-BE49-F238E27FC236}">
                  <a16:creationId xmlns:a16="http://schemas.microsoft.com/office/drawing/2014/main" id="{4AECDAFD-7E69-A2D5-9CFA-704812BE465D}"/>
                </a:ext>
              </a:extLst>
            </p:cNvPr>
            <p:cNvCxnSpPr>
              <a:cxnSpLocks/>
            </p:cNvCxnSpPr>
            <p:nvPr/>
          </p:nvCxnSpPr>
          <p:spPr>
            <a:xfrm>
              <a:off x="6598669" y="2334956"/>
              <a:ext cx="692191" cy="0"/>
            </a:xfrm>
            <a:prstGeom prst="straightConnector1">
              <a:avLst/>
            </a:prstGeom>
            <a:ln>
              <a:solidFill>
                <a:schemeClr val="tx1">
                  <a:lumMod val="50000"/>
                  <a:lumOff val="50000"/>
                  <a:alpha val="50000"/>
                </a:schemeClr>
              </a:solidFill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文本框 22">
              <a:extLst>
                <a:ext uri="{FF2B5EF4-FFF2-40B4-BE49-F238E27FC236}">
                  <a16:creationId xmlns:a16="http://schemas.microsoft.com/office/drawing/2014/main" id="{9C5FC927-38E7-6765-61AB-EA641858B90E}"/>
                </a:ext>
              </a:extLst>
            </p:cNvPr>
            <p:cNvSpPr txBox="1"/>
            <p:nvPr/>
          </p:nvSpPr>
          <p:spPr>
            <a:xfrm>
              <a:off x="7408777" y="1601767"/>
              <a:ext cx="3212362" cy="3373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b="1" u="sng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一句话把产品特色转卖点</a:t>
              </a:r>
            </a:p>
          </p:txBody>
        </p:sp>
        <p:sp>
          <p:nvSpPr>
            <p:cNvPr id="24" name="文本框 23">
              <a:extLst>
                <a:ext uri="{FF2B5EF4-FFF2-40B4-BE49-F238E27FC236}">
                  <a16:creationId xmlns:a16="http://schemas.microsoft.com/office/drawing/2014/main" id="{5BA80321-5F53-E04C-5849-D8E4697DDCF3}"/>
                </a:ext>
              </a:extLst>
            </p:cNvPr>
            <p:cNvSpPr txBox="1"/>
            <p:nvPr/>
          </p:nvSpPr>
          <p:spPr>
            <a:xfrm>
              <a:off x="7408777" y="1936863"/>
              <a:ext cx="3212362" cy="4779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由于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……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（产品特色），意味着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……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（用户需求）</a:t>
              </a:r>
            </a:p>
          </p:txBody>
        </p:sp>
      </p:grpSp>
      <p:sp>
        <p:nvSpPr>
          <p:cNvPr id="57" name="文本框 56">
            <a:extLst>
              <a:ext uri="{FF2B5EF4-FFF2-40B4-BE49-F238E27FC236}">
                <a16:creationId xmlns:a16="http://schemas.microsoft.com/office/drawing/2014/main" id="{A74305F5-51E2-67F2-4783-9C083706BF94}"/>
              </a:ext>
            </a:extLst>
          </p:cNvPr>
          <p:cNvSpPr txBox="1"/>
          <p:nvPr/>
        </p:nvSpPr>
        <p:spPr>
          <a:xfrm>
            <a:off x="5865790" y="3633296"/>
            <a:ext cx="35164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u="sng" dirty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b="1" u="sng" dirty="0">
                <a:latin typeface="微软雅黑" panose="020B0503020204020204" pitchFamily="34" charset="-122"/>
                <a:ea typeface="微软雅黑" panose="020B0503020204020204" pitchFamily="34" charset="-122"/>
              </a:rPr>
              <a:t>种修饰手法</a:t>
            </a:r>
          </a:p>
        </p:txBody>
      </p:sp>
      <p:sp>
        <p:nvSpPr>
          <p:cNvPr id="58" name="文本框 57">
            <a:extLst>
              <a:ext uri="{FF2B5EF4-FFF2-40B4-BE49-F238E27FC236}">
                <a16:creationId xmlns:a16="http://schemas.microsoft.com/office/drawing/2014/main" id="{EF873D8E-11B5-C235-2B87-EF904B166801}"/>
              </a:ext>
            </a:extLst>
          </p:cNvPr>
          <p:cNvSpPr txBox="1"/>
          <p:nvPr/>
        </p:nvSpPr>
        <p:spPr>
          <a:xfrm>
            <a:off x="5841727" y="3928348"/>
            <a:ext cx="351641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多用有冲击力的词；傍大款；锚定用户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60" name="组合 59">
            <a:extLst>
              <a:ext uri="{FF2B5EF4-FFF2-40B4-BE49-F238E27FC236}">
                <a16:creationId xmlns:a16="http://schemas.microsoft.com/office/drawing/2014/main" id="{AC9BB0D9-A4E6-8C0E-2E69-A99534948407}"/>
              </a:ext>
            </a:extLst>
          </p:cNvPr>
          <p:cNvGrpSpPr/>
          <p:nvPr/>
        </p:nvGrpSpPr>
        <p:grpSpPr>
          <a:xfrm>
            <a:off x="5838804" y="5327515"/>
            <a:ext cx="3516416" cy="674590"/>
            <a:chOff x="7408777" y="1601767"/>
            <a:chExt cx="3212362" cy="616261"/>
          </a:xfrm>
        </p:grpSpPr>
        <p:sp>
          <p:nvSpPr>
            <p:cNvPr id="62" name="文本框 61">
              <a:extLst>
                <a:ext uri="{FF2B5EF4-FFF2-40B4-BE49-F238E27FC236}">
                  <a16:creationId xmlns:a16="http://schemas.microsoft.com/office/drawing/2014/main" id="{9C5FC927-38E7-6765-61AB-EA641858B90E}"/>
                </a:ext>
              </a:extLst>
            </p:cNvPr>
            <p:cNvSpPr txBox="1"/>
            <p:nvPr/>
          </p:nvSpPr>
          <p:spPr>
            <a:xfrm>
              <a:off x="7408777" y="1601767"/>
              <a:ext cx="3212362" cy="3373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b="1" u="sng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一句话把产品特色转卖点</a:t>
              </a:r>
            </a:p>
          </p:txBody>
        </p:sp>
        <p:sp>
          <p:nvSpPr>
            <p:cNvPr id="63" name="文本框 62">
              <a:extLst>
                <a:ext uri="{FF2B5EF4-FFF2-40B4-BE49-F238E27FC236}">
                  <a16:creationId xmlns:a16="http://schemas.microsoft.com/office/drawing/2014/main" id="{5BA80321-5F53-E04C-5849-D8E4697DDCF3}"/>
                </a:ext>
              </a:extLst>
            </p:cNvPr>
            <p:cNvSpPr txBox="1"/>
            <p:nvPr/>
          </p:nvSpPr>
          <p:spPr>
            <a:xfrm>
              <a:off x="7408777" y="1936863"/>
              <a:ext cx="3212362" cy="281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NFABE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法则，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5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个提问快速找到产品卖点</a:t>
              </a:r>
            </a:p>
          </p:txBody>
        </p:sp>
      </p:grpSp>
      <p:cxnSp>
        <p:nvCxnSpPr>
          <p:cNvPr id="12" name="直接连接符 11"/>
          <p:cNvCxnSpPr/>
          <p:nvPr/>
        </p:nvCxnSpPr>
        <p:spPr>
          <a:xfrm>
            <a:off x="5780909" y="3064093"/>
            <a:ext cx="0" cy="101529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直接连接符 63"/>
          <p:cNvCxnSpPr/>
          <p:nvPr/>
        </p:nvCxnSpPr>
        <p:spPr>
          <a:xfrm>
            <a:off x="5780909" y="4679992"/>
            <a:ext cx="0" cy="101529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右大括号 65"/>
          <p:cNvSpPr/>
          <p:nvPr/>
        </p:nvSpPr>
        <p:spPr>
          <a:xfrm>
            <a:off x="9428543" y="1927373"/>
            <a:ext cx="328773" cy="3839572"/>
          </a:xfrm>
          <a:prstGeom prst="rightBrace">
            <a:avLst/>
          </a:prstGeom>
          <a:ln>
            <a:solidFill>
              <a:schemeClr val="accent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7" name="文本框 66">
            <a:extLst>
              <a:ext uri="{FF2B5EF4-FFF2-40B4-BE49-F238E27FC236}">
                <a16:creationId xmlns:a16="http://schemas.microsoft.com/office/drawing/2014/main" id="{32711A21-28B9-41A2-2B0B-D1667E695AF4}"/>
              </a:ext>
            </a:extLst>
          </p:cNvPr>
          <p:cNvSpPr txBox="1"/>
          <p:nvPr/>
        </p:nvSpPr>
        <p:spPr>
          <a:xfrm>
            <a:off x="9842196" y="3610888"/>
            <a:ext cx="12386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u="sng" dirty="0">
                <a:solidFill>
                  <a:srgbClr val="F3774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个原则</a:t>
            </a:r>
            <a:endParaRPr lang="en-US" altLang="zh-CN" b="1" u="sng" dirty="0">
              <a:solidFill>
                <a:srgbClr val="F3774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8" name="文本框 67">
            <a:extLst>
              <a:ext uri="{FF2B5EF4-FFF2-40B4-BE49-F238E27FC236}">
                <a16:creationId xmlns:a16="http://schemas.microsoft.com/office/drawing/2014/main" id="{EF873D8E-11B5-C235-2B87-EF904B166801}"/>
              </a:ext>
            </a:extLst>
          </p:cNvPr>
          <p:cNvSpPr txBox="1"/>
          <p:nvPr/>
        </p:nvSpPr>
        <p:spPr>
          <a:xfrm>
            <a:off x="9776666" y="4002628"/>
            <a:ext cx="16610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以用户为中心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80221177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9" name="e7d195523061f1c0" descr="e7d195523061f1c0d318120d6aeaf1b6ccceb6ba3da59c0775C5DE19DDDEBC09ED96DBD9900D9848D623ECAD1D4904B78047D0015C22C8BE97228BE8B5BFF08FE7A3AE04126DA07312A96C0F69F9BAB71A8D4487C13BBD21E178D4F88753BF1C0AA2D476514934E2BFA1BCD92238D9398A04F1D9D25610EF52C0143E775B4548A6233544C90E9CB7" hidden="1">
            <a:extLst>
              <a:ext uri="{FF2B5EF4-FFF2-40B4-BE49-F238E27FC236}">
                <a16:creationId xmlns:a16="http://schemas.microsoft.com/office/drawing/2014/main" id="{4E552777-4412-4D28-87F1-58AB7948412F}"/>
              </a:ext>
            </a:extLst>
          </p:cNvPr>
          <p:cNvSpPr txBox="1"/>
          <p:nvPr/>
        </p:nvSpPr>
        <p:spPr>
          <a:xfrm>
            <a:off x="-355600" y="1803400"/>
            <a:ext cx="26225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华文楷体"/>
                <a:cs typeface="+mn-cs"/>
              </a:rPr>
              <a:t>e7d195523061f1c0d318120d6aeaf1b6ccceb6ba3da59c0775C5DE19DDDEBC09ED96DBD9900D9848D623ECAD1D4904B78047D0015C22C8BE97228BE8B5BFF08FE7A3AE04126DA07312A96C0F69F9BAB71A8D4487C13BBD21E178D4F88753BF1C0AA2D476514934E2BFA1BCD92238D9398A04F1D9D25610EF52C0143E775B4548A6233544C90E9CB7</a:t>
            </a:r>
            <a:endParaRPr kumimoji="0" lang="zh-CN" altLang="en-US" sz="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华文楷体"/>
              <a:cs typeface="+mn-cs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3062C623-795E-B76A-9679-0DA6E0A79431}"/>
              </a:ext>
            </a:extLst>
          </p:cNvPr>
          <p:cNvSpPr/>
          <p:nvPr/>
        </p:nvSpPr>
        <p:spPr>
          <a:xfrm rot="10800000">
            <a:off x="-1" y="0"/>
            <a:ext cx="12242799" cy="6858000"/>
          </a:xfrm>
          <a:prstGeom prst="rect">
            <a:avLst/>
          </a:prstGeom>
          <a:solidFill>
            <a:srgbClr val="000000">
              <a:alpha val="7098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1" name="object 3">
            <a:extLst>
              <a:ext uri="{FF2B5EF4-FFF2-40B4-BE49-F238E27FC236}">
                <a16:creationId xmlns:a16="http://schemas.microsoft.com/office/drawing/2014/main" id="{313048AF-CD66-8E26-5B09-BE628937EA26}"/>
              </a:ext>
            </a:extLst>
          </p:cNvPr>
          <p:cNvSpPr txBox="1">
            <a:spLocks/>
          </p:cNvSpPr>
          <p:nvPr/>
        </p:nvSpPr>
        <p:spPr>
          <a:xfrm>
            <a:off x="2476496" y="2547220"/>
            <a:ext cx="7289799" cy="187230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 lvl="0" algn="ctr" defTabSz="914400">
              <a:lnSpc>
                <a:spcPct val="150000"/>
              </a:lnSpc>
              <a:spcBef>
                <a:spcPts val="100"/>
              </a:spcBef>
              <a:defRPr/>
            </a:pPr>
            <a:r>
              <a:rPr lang="zh-CN" altLang="en-US" sz="4000" dirty="0">
                <a:solidFill>
                  <a:srgbClr val="FE8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写文案不是靠灵感乍现，</a:t>
            </a:r>
            <a:endParaRPr lang="en-US" altLang="zh-CN" sz="4000" dirty="0">
              <a:solidFill>
                <a:srgbClr val="FE8637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2700" lvl="0" algn="ctr" defTabSz="914400">
              <a:lnSpc>
                <a:spcPct val="150000"/>
              </a:lnSpc>
              <a:spcBef>
                <a:spcPts val="100"/>
              </a:spcBef>
              <a:defRPr/>
            </a:pPr>
            <a:r>
              <a:rPr lang="zh-CN" altLang="en-US" sz="4000" dirty="0">
                <a:solidFill>
                  <a:srgbClr val="FE8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而是有方法有步骤的</a:t>
            </a:r>
            <a:r>
              <a:rPr lang="zh-CN" altLang="en-US" sz="4000">
                <a:solidFill>
                  <a:srgbClr val="FE863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精心设计！</a:t>
            </a:r>
            <a:endParaRPr lang="en-US" altLang="zh-CN" sz="4000" dirty="0">
              <a:solidFill>
                <a:srgbClr val="FE8637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4452403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/>
        </p:nvSpPr>
        <p:spPr bwMode="auto">
          <a:xfrm>
            <a:off x="1243173" y="5649"/>
            <a:ext cx="2537717" cy="1300192"/>
          </a:xfrm>
          <a:prstGeom prst="rect">
            <a:avLst/>
          </a:prstGeom>
          <a:solidFill>
            <a:srgbClr val="FCEAE8">
              <a:alpha val="34000"/>
            </a:srgb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zh-CN" altLang="en-US"/>
          </a:p>
        </p:txBody>
      </p:sp>
      <p:sp>
        <p:nvSpPr>
          <p:cNvPr id="9" name="e7d195523061f1c0" descr="e7d195523061f1c0d318120d6aeaf1b6ccceb6ba3da59c0775C5DE19DDDEBC09ED96DBD9900D9848D623ECAD1D4904B78047D0015C22C8BE97228BE8B5BFF08FE7A3AE04126DA07312A96C0F69F9BAB71A8D4487C13BBD21E178D4F88753BF1C0AA2D476514934E2BFA1BCD92238D9398A04F1D9D25610EF52C0143E775B4548A6233544C90E9CB7" hidden="1">
            <a:extLst>
              <a:ext uri="{FF2B5EF4-FFF2-40B4-BE49-F238E27FC236}">
                <a16:creationId xmlns:a16="http://schemas.microsoft.com/office/drawing/2014/main" id="{4E552777-4412-4D28-87F1-58AB7948412F}"/>
              </a:ext>
            </a:extLst>
          </p:cNvPr>
          <p:cNvSpPr txBox="1"/>
          <p:nvPr/>
        </p:nvSpPr>
        <p:spPr>
          <a:xfrm>
            <a:off x="-355600" y="1803400"/>
            <a:ext cx="26225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华文楷体"/>
                <a:cs typeface="+mn-cs"/>
              </a:rPr>
              <a:t>e7d195523061f1c0d318120d6aeaf1b6ccceb6ba3da59c0775C5DE19DDDEBC09ED96DBD9900D9848D623ECAD1D4904B78047D0015C22C8BE97228BE8B5BFF08FE7A3AE04126DA07312A96C0F69F9BAB71A8D4487C13BBD21E178D4F88753BF1C0AA2D476514934E2BFA1BCD92238D9398A04F1D9D25610EF52C0143E775B4548A6233544C90E9CB7</a:t>
            </a:r>
            <a:endParaRPr kumimoji="0" lang="zh-CN" altLang="en-US" sz="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华文楷体"/>
              <a:cs typeface="+mn-cs"/>
            </a:endParaRPr>
          </a:p>
        </p:txBody>
      </p:sp>
      <p:grpSp>
        <p:nvGrpSpPr>
          <p:cNvPr id="11" name="组合 10">
            <a:extLst>
              <a:ext uri="{FF2B5EF4-FFF2-40B4-BE49-F238E27FC236}">
                <a16:creationId xmlns:a16="http://schemas.microsoft.com/office/drawing/2014/main" id="{F412C846-469E-9DB9-B8B0-314D3EE36710}"/>
              </a:ext>
            </a:extLst>
          </p:cNvPr>
          <p:cNvGrpSpPr/>
          <p:nvPr/>
        </p:nvGrpSpPr>
        <p:grpSpPr>
          <a:xfrm>
            <a:off x="5484291" y="1661111"/>
            <a:ext cx="4624029" cy="1046696"/>
            <a:chOff x="6574363" y="1508237"/>
            <a:chExt cx="4261485" cy="1046696"/>
          </a:xfrm>
        </p:grpSpPr>
        <p:sp>
          <p:nvSpPr>
            <p:cNvPr id="70" name="文本框 69">
              <a:extLst>
                <a:ext uri="{FF2B5EF4-FFF2-40B4-BE49-F238E27FC236}">
                  <a16:creationId xmlns:a16="http://schemas.microsoft.com/office/drawing/2014/main" id="{F746B3F5-2D42-4367-FEA6-7101C7B7BDCB}"/>
                </a:ext>
              </a:extLst>
            </p:cNvPr>
            <p:cNvSpPr txBox="1"/>
            <p:nvPr/>
          </p:nvSpPr>
          <p:spPr>
            <a:xfrm>
              <a:off x="6785364" y="1508237"/>
              <a:ext cx="4050484" cy="456535"/>
            </a:xfrm>
            <a:prstGeom prst="rect">
              <a:avLst/>
            </a:prstGeom>
            <a:noFill/>
          </p:spPr>
          <p:txBody>
            <a:bodyPr wrap="square" rtlCol="0" anchor="b" anchorCtr="0">
              <a:noAutofit/>
            </a:bodyPr>
            <a:lstStyle>
              <a:defPPr>
                <a:defRPr lang="zh-CN"/>
              </a:defPPr>
              <a:lvl1pPr>
                <a:lnSpc>
                  <a:spcPct val="150000"/>
                </a:lnSpc>
                <a:defRPr kumimoji="0" sz="1200" b="1" i="0" u="none" strike="noStrike" cap="none" spc="0" normalizeH="0" baseline="0">
                  <a:ln>
                    <a:noFill/>
                  </a:ln>
                  <a:effectLst/>
                  <a:uLnTx/>
                  <a:uFillTx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kumimoji="1" lang="zh-CN" altLang="en-US" sz="2400" dirty="0">
                  <a:solidFill>
                    <a:srgbClr val="F3774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文案之力，非同小可</a:t>
              </a:r>
              <a:endParaRPr kumimoji="1" lang="en-US" altLang="zh-CN" sz="2400" dirty="0">
                <a:solidFill>
                  <a:srgbClr val="F3774B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1" name="文本框 70">
              <a:extLst>
                <a:ext uri="{FF2B5EF4-FFF2-40B4-BE49-F238E27FC236}">
                  <a16:creationId xmlns:a16="http://schemas.microsoft.com/office/drawing/2014/main" id="{326708F5-B772-057F-2F4B-8A4906AC7533}"/>
                </a:ext>
              </a:extLst>
            </p:cNvPr>
            <p:cNvSpPr txBox="1"/>
            <p:nvPr/>
          </p:nvSpPr>
          <p:spPr>
            <a:xfrm>
              <a:off x="6785363" y="1973684"/>
              <a:ext cx="4050483" cy="560645"/>
            </a:xfrm>
            <a:prstGeom prst="rect">
              <a:avLst/>
            </a:prstGeom>
            <a:noFill/>
          </p:spPr>
          <p:txBody>
            <a:bodyPr wrap="square" rtlCol="0" anchor="t" anchorCtr="0">
              <a:noAutofit/>
            </a:bodyPr>
            <a:lstStyle>
              <a:defPPr>
                <a:defRPr lang="zh-CN"/>
              </a:defPPr>
              <a:lvl1pPr algn="ctr">
                <a:lnSpc>
                  <a:spcPct val="150000"/>
                </a:lnSpc>
                <a:defRPr kumimoji="0" sz="1200" i="0" u="none" strike="noStrike" cap="none" spc="0" normalizeH="0" baseline="0">
                  <a:ln>
                    <a:noFill/>
                  </a:ln>
                  <a:effectLst/>
                  <a:uLnTx/>
                  <a:uFillTx/>
                </a:defRPr>
              </a:lvl1pPr>
            </a:lstStyle>
            <a:p>
              <a:pPr marL="171450" indent="-171450" algn="l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kumimoji="1" lang="zh-CN" altLang="en-US" sz="18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文案带来的</a:t>
              </a:r>
              <a:r>
                <a:rPr kumimoji="1" lang="en-US" altLang="zh-CN" sz="18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2</a:t>
              </a:r>
              <a:r>
                <a:rPr kumimoji="1" lang="zh-CN" altLang="en-US" sz="18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个价值</a:t>
              </a:r>
              <a:endParaRPr kumimoji="1" lang="en-US" altLang="zh-CN" sz="18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71450" indent="-171450" algn="l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kumimoji="1" lang="zh-CN" altLang="en-US" sz="18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文案产生</a:t>
              </a:r>
              <a:r>
                <a:rPr kumimoji="1" lang="en-US" altLang="zh-CN" sz="18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100</a:t>
              </a:r>
              <a:r>
                <a:rPr kumimoji="1" lang="zh-CN" altLang="en-US" sz="18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倍的转化差异</a:t>
              </a:r>
              <a:endParaRPr kumimoji="1" lang="en-US" altLang="zh-CN" sz="18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3BA1051F-0199-2F4F-A177-68661D29AF49}"/>
                </a:ext>
              </a:extLst>
            </p:cNvPr>
            <p:cNvSpPr/>
            <p:nvPr/>
          </p:nvSpPr>
          <p:spPr>
            <a:xfrm>
              <a:off x="6574363" y="1690933"/>
              <a:ext cx="45719" cy="864000"/>
            </a:xfrm>
            <a:prstGeom prst="rect">
              <a:avLst/>
            </a:prstGeom>
            <a:solidFill>
              <a:schemeClr val="accent1"/>
            </a:solidFill>
            <a:ln w="12700" cap="rnd">
              <a:noFill/>
              <a:prstDash val="solid"/>
              <a:round/>
              <a:headEnd/>
              <a:tailEnd/>
            </a:ln>
            <a:effectLst>
              <a:outerShdw blurRad="254000" dist="127000" algn="ctr" rotWithShape="0">
                <a:schemeClr val="tx2">
                  <a:alpha val="32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32"/>
              <a:endParaRPr lang="zh-CN" altLang="en-US" sz="28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" name="组合 2"/>
          <p:cNvGrpSpPr/>
          <p:nvPr/>
        </p:nvGrpSpPr>
        <p:grpSpPr>
          <a:xfrm>
            <a:off x="5484291" y="3096943"/>
            <a:ext cx="4606077" cy="1046696"/>
            <a:chOff x="3680875" y="2683672"/>
            <a:chExt cx="4606077" cy="1046696"/>
          </a:xfrm>
        </p:grpSpPr>
        <p:grpSp>
          <p:nvGrpSpPr>
            <p:cNvPr id="2" name="组合 1"/>
            <p:cNvGrpSpPr/>
            <p:nvPr/>
          </p:nvGrpSpPr>
          <p:grpSpPr>
            <a:xfrm>
              <a:off x="3891875" y="2683672"/>
              <a:ext cx="4395077" cy="1026092"/>
              <a:chOff x="3891875" y="2683672"/>
              <a:chExt cx="4395077" cy="1026092"/>
            </a:xfrm>
          </p:grpSpPr>
          <p:sp>
            <p:nvSpPr>
              <p:cNvPr id="66" name="文本框 65">
                <a:extLst>
                  <a:ext uri="{FF2B5EF4-FFF2-40B4-BE49-F238E27FC236}">
                    <a16:creationId xmlns:a16="http://schemas.microsoft.com/office/drawing/2014/main" id="{679E0D0F-F6D8-AA06-239B-A4EEFD28C697}"/>
                  </a:ext>
                </a:extLst>
              </p:cNvPr>
              <p:cNvSpPr txBox="1"/>
              <p:nvPr/>
            </p:nvSpPr>
            <p:spPr>
              <a:xfrm>
                <a:off x="3891875" y="2683672"/>
                <a:ext cx="4395077" cy="456535"/>
              </a:xfrm>
              <a:prstGeom prst="rect">
                <a:avLst/>
              </a:prstGeom>
              <a:noFill/>
            </p:spPr>
            <p:txBody>
              <a:bodyPr wrap="square" rtlCol="0" anchor="b" anchorCtr="0">
                <a:noAutofit/>
              </a:bodyPr>
              <a:lstStyle>
                <a:defPPr>
                  <a:defRPr lang="zh-CN"/>
                </a:defPPr>
                <a:lvl1pPr>
                  <a:lnSpc>
                    <a:spcPct val="150000"/>
                  </a:lnSpc>
                  <a:defRPr kumimoji="0" sz="1200" b="1" i="0" u="none" strike="noStrike" cap="none" spc="0" normalizeH="0" baseline="0">
                    <a:ln>
                      <a:noFill/>
                    </a:ln>
                    <a:effectLst/>
                    <a:uLnTx/>
                    <a:uFillTx/>
                  </a:defRPr>
                </a:lvl1pPr>
              </a:lstStyle>
              <a:p>
                <a:pPr>
                  <a:lnSpc>
                    <a:spcPct val="100000"/>
                  </a:lnSpc>
                </a:pPr>
                <a:r>
                  <a:rPr kumimoji="1" lang="zh-CN" altLang="en-US" sz="2400" dirty="0">
                    <a:solidFill>
                      <a:srgbClr val="F3774B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转化之道，有迹可循</a:t>
                </a:r>
                <a:endParaRPr kumimoji="1" lang="en-US" altLang="zh-CN" sz="2400" dirty="0">
                  <a:solidFill>
                    <a:srgbClr val="F3774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67" name="文本框 66">
                <a:extLst>
                  <a:ext uri="{FF2B5EF4-FFF2-40B4-BE49-F238E27FC236}">
                    <a16:creationId xmlns:a16="http://schemas.microsoft.com/office/drawing/2014/main" id="{B03B03A7-0A7D-1AB8-60D1-A9A03F733393}"/>
                  </a:ext>
                </a:extLst>
              </p:cNvPr>
              <p:cNvSpPr txBox="1"/>
              <p:nvPr/>
            </p:nvSpPr>
            <p:spPr>
              <a:xfrm>
                <a:off x="3891875" y="3149119"/>
                <a:ext cx="4395076" cy="560645"/>
              </a:xfrm>
              <a:prstGeom prst="rect">
                <a:avLst/>
              </a:prstGeom>
              <a:noFill/>
            </p:spPr>
            <p:txBody>
              <a:bodyPr wrap="square" rtlCol="0" anchor="t" anchorCtr="0">
                <a:noAutofit/>
              </a:bodyPr>
              <a:lstStyle>
                <a:defPPr>
                  <a:defRPr lang="zh-CN"/>
                </a:defPPr>
                <a:lvl1pPr algn="ctr">
                  <a:lnSpc>
                    <a:spcPct val="150000"/>
                  </a:lnSpc>
                  <a:defRPr kumimoji="0" sz="1200" i="0" u="none" strike="noStrike" cap="none" spc="0" normalizeH="0" baseline="0">
                    <a:ln>
                      <a:noFill/>
                    </a:ln>
                    <a:effectLst/>
                    <a:uLnTx/>
                    <a:uFillTx/>
                  </a:defRPr>
                </a:lvl1pPr>
              </a:lstStyle>
              <a:p>
                <a:pPr marL="285750" indent="-285750" algn="l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kumimoji="1" lang="en-US" altLang="zh-CN" sz="18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AIDA</a:t>
                </a:r>
                <a:r>
                  <a:rPr kumimoji="1" lang="zh-CN" altLang="en-US" sz="18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营销模型，文案转化的本质</a:t>
                </a:r>
                <a:endParaRPr kumimoji="1" lang="en-US" altLang="zh-CN" sz="18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285750" indent="-285750" algn="l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kumimoji="1" lang="zh-CN" altLang="en-US" sz="18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高转化文案背后的</a:t>
                </a:r>
                <a:r>
                  <a:rPr kumimoji="1" lang="en-US" altLang="zh-CN" sz="18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1</a:t>
                </a:r>
                <a:r>
                  <a:rPr kumimoji="1" lang="zh-CN" altLang="en-US" sz="18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个通用公式</a:t>
                </a:r>
                <a:endParaRPr kumimoji="1" lang="en-US" altLang="zh-CN" sz="18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68" name="矩形 67">
              <a:extLst>
                <a:ext uri="{FF2B5EF4-FFF2-40B4-BE49-F238E27FC236}">
                  <a16:creationId xmlns:a16="http://schemas.microsoft.com/office/drawing/2014/main" id="{CD7B7C54-472F-144A-D73A-8AC7562B9B00}"/>
                </a:ext>
              </a:extLst>
            </p:cNvPr>
            <p:cNvSpPr/>
            <p:nvPr/>
          </p:nvSpPr>
          <p:spPr>
            <a:xfrm>
              <a:off x="3680875" y="2866368"/>
              <a:ext cx="49609" cy="864000"/>
            </a:xfrm>
            <a:prstGeom prst="rect">
              <a:avLst/>
            </a:prstGeom>
            <a:solidFill>
              <a:schemeClr val="accent1"/>
            </a:solidFill>
            <a:ln w="12700" cap="rnd">
              <a:noFill/>
              <a:prstDash val="solid"/>
              <a:round/>
              <a:headEnd/>
              <a:tailEnd/>
            </a:ln>
            <a:effectLst>
              <a:outerShdw blurRad="254000" dist="127000" algn="ctr" rotWithShape="0">
                <a:schemeClr val="tx2">
                  <a:alpha val="32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32"/>
              <a:endParaRPr lang="zh-CN" altLang="en-US" sz="28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69" name="文本框 68">
            <a:extLst>
              <a:ext uri="{FF2B5EF4-FFF2-40B4-BE49-F238E27FC236}">
                <a16:creationId xmlns:a16="http://schemas.microsoft.com/office/drawing/2014/main" id="{CF127B54-F24C-0ECD-0129-DAA939EDA6F3}"/>
              </a:ext>
            </a:extLst>
          </p:cNvPr>
          <p:cNvSpPr txBox="1">
            <a:spLocks/>
          </p:cNvSpPr>
          <p:nvPr/>
        </p:nvSpPr>
        <p:spPr>
          <a:xfrm>
            <a:off x="4474413" y="3220309"/>
            <a:ext cx="886781" cy="923330"/>
          </a:xfrm>
          <a:prstGeom prst="rect">
            <a:avLst/>
          </a:prstGeom>
          <a:noFill/>
        </p:spPr>
        <p:txBody>
          <a:bodyPr wrap="none" lIns="91440" tIns="45720" rIns="91440" bIns="45720" rtlCol="0" anchor="ctr" anchorCtr="0">
            <a:spAutoFit/>
          </a:bodyPr>
          <a:lstStyle/>
          <a:p>
            <a:pPr algn="ctr"/>
            <a:r>
              <a:rPr kumimoji="1" lang="en-US" altLang="zh-CN" sz="5400" b="1" dirty="0">
                <a:effectLst>
                  <a:outerShdw blurRad="127000" dist="63500" dir="2700000" algn="ctr" rotWithShape="0">
                    <a:schemeClr val="accent1">
                      <a:alpha val="40000"/>
                    </a:schemeClr>
                  </a:outerShdw>
                </a:effectLst>
                <a:latin typeface="Calibri" panose="020F0502020204030204" pitchFamily="34" charset="0"/>
                <a:ea typeface="宋体" panose="02010600030101010101" pitchFamily="2" charset="-122"/>
              </a:rPr>
              <a:t>02</a:t>
            </a:r>
            <a:endParaRPr kumimoji="1" lang="zh-CN" altLang="en-US" sz="5400" b="1" dirty="0">
              <a:effectLst>
                <a:outerShdw blurRad="127000" dist="63500" dir="2700000" algn="ctr" rotWithShape="0">
                  <a:schemeClr val="accent1">
                    <a:alpha val="40000"/>
                  </a:schemeClr>
                </a:outerShdw>
              </a:effectLst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grpSp>
        <p:nvGrpSpPr>
          <p:cNvPr id="56" name="组合 55">
            <a:extLst>
              <a:ext uri="{FF2B5EF4-FFF2-40B4-BE49-F238E27FC236}">
                <a16:creationId xmlns:a16="http://schemas.microsoft.com/office/drawing/2014/main" id="{5C75F40A-99A4-70E2-9421-EB854FFB1C20}"/>
              </a:ext>
            </a:extLst>
          </p:cNvPr>
          <p:cNvGrpSpPr/>
          <p:nvPr/>
        </p:nvGrpSpPr>
        <p:grpSpPr>
          <a:xfrm>
            <a:off x="5484291" y="4532775"/>
            <a:ext cx="4624029" cy="1693875"/>
            <a:chOff x="6574363" y="3886659"/>
            <a:chExt cx="4261485" cy="1693875"/>
          </a:xfrm>
        </p:grpSpPr>
        <p:sp>
          <p:nvSpPr>
            <p:cNvPr id="62" name="文本框 61">
              <a:extLst>
                <a:ext uri="{FF2B5EF4-FFF2-40B4-BE49-F238E27FC236}">
                  <a16:creationId xmlns:a16="http://schemas.microsoft.com/office/drawing/2014/main" id="{E2511CC9-EA68-4181-A547-B4312C07EBAA}"/>
                </a:ext>
              </a:extLst>
            </p:cNvPr>
            <p:cNvSpPr txBox="1"/>
            <p:nvPr/>
          </p:nvSpPr>
          <p:spPr>
            <a:xfrm>
              <a:off x="6785364" y="3886659"/>
              <a:ext cx="4050484" cy="456535"/>
            </a:xfrm>
            <a:prstGeom prst="rect">
              <a:avLst/>
            </a:prstGeom>
            <a:noFill/>
          </p:spPr>
          <p:txBody>
            <a:bodyPr wrap="square" rtlCol="0" anchor="b" anchorCtr="0">
              <a:noAutofit/>
            </a:bodyPr>
            <a:lstStyle>
              <a:defPPr>
                <a:defRPr lang="zh-CN"/>
              </a:defPPr>
              <a:lvl1pPr>
                <a:lnSpc>
                  <a:spcPct val="150000"/>
                </a:lnSpc>
                <a:defRPr kumimoji="0" sz="1200" b="1" i="0" u="none" strike="noStrike" cap="none" spc="0" normalizeH="0" baseline="0">
                  <a:ln>
                    <a:noFill/>
                  </a:ln>
                  <a:effectLst/>
                  <a:uLnTx/>
                  <a:uFillTx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kumimoji="1" lang="zh-CN" altLang="en-US" sz="2400" dirty="0">
                  <a:solidFill>
                    <a:srgbClr val="F3774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解密之钥，人人可取</a:t>
              </a:r>
              <a:endParaRPr kumimoji="1" lang="en-US" altLang="zh-CN" sz="2400" dirty="0">
                <a:solidFill>
                  <a:srgbClr val="F3774B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3" name="文本框 62">
              <a:extLst>
                <a:ext uri="{FF2B5EF4-FFF2-40B4-BE49-F238E27FC236}">
                  <a16:creationId xmlns:a16="http://schemas.microsoft.com/office/drawing/2014/main" id="{B37465F5-1046-70BD-2597-F49625217B76}"/>
                </a:ext>
              </a:extLst>
            </p:cNvPr>
            <p:cNvSpPr txBox="1"/>
            <p:nvPr/>
          </p:nvSpPr>
          <p:spPr>
            <a:xfrm>
              <a:off x="6785363" y="4352106"/>
              <a:ext cx="4050483" cy="1228428"/>
            </a:xfrm>
            <a:prstGeom prst="rect">
              <a:avLst/>
            </a:prstGeom>
            <a:noFill/>
          </p:spPr>
          <p:txBody>
            <a:bodyPr wrap="square" rtlCol="0" anchor="t" anchorCtr="0">
              <a:noAutofit/>
            </a:bodyPr>
            <a:lstStyle>
              <a:defPPr>
                <a:defRPr lang="zh-CN"/>
              </a:defPPr>
              <a:lvl1pPr algn="ctr">
                <a:lnSpc>
                  <a:spcPct val="150000"/>
                </a:lnSpc>
                <a:defRPr kumimoji="0" sz="1200" i="0" u="none" strike="noStrike" cap="none" spc="0" normalizeH="0" baseline="0">
                  <a:ln>
                    <a:noFill/>
                  </a:ln>
                  <a:effectLst/>
                  <a:uLnTx/>
                  <a:uFillTx/>
                </a:defRPr>
              </a:lvl1pPr>
            </a:lstStyle>
            <a:p>
              <a:pPr marL="171450" indent="-171450" algn="l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kumimoji="1" lang="en-US" altLang="zh-CN" sz="18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3</a:t>
              </a:r>
              <a:r>
                <a:rPr kumimoji="1" lang="zh-CN" altLang="en-US" sz="18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步走，用好通用公式</a:t>
              </a:r>
              <a:endParaRPr kumimoji="1" lang="en-US" altLang="zh-CN" sz="18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71450" indent="-171450" algn="l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kumimoji="1" lang="en-US" altLang="zh-CN" sz="18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1</a:t>
              </a:r>
              <a:r>
                <a:rPr kumimoji="1" lang="zh-CN" altLang="en-US" sz="18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个原则，不偏离主道</a:t>
              </a:r>
            </a:p>
            <a:p>
              <a:pPr marL="171450" indent="-171450" algn="l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kumimoji="1" lang="en-US" altLang="zh-CN" sz="18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1</a:t>
              </a:r>
              <a:r>
                <a:rPr kumimoji="1" lang="zh-CN" altLang="en-US" sz="18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份自检清单，多一层转化保障</a:t>
              </a:r>
              <a:endParaRPr kumimoji="1" lang="en-US" altLang="zh-CN" sz="18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519648C8-C2BD-099E-4C69-570692684DB0}"/>
                </a:ext>
              </a:extLst>
            </p:cNvPr>
            <p:cNvSpPr/>
            <p:nvPr/>
          </p:nvSpPr>
          <p:spPr>
            <a:xfrm>
              <a:off x="6574363" y="4069355"/>
              <a:ext cx="45719" cy="1188000"/>
            </a:xfrm>
            <a:prstGeom prst="rect">
              <a:avLst/>
            </a:prstGeom>
            <a:solidFill>
              <a:schemeClr val="accent1"/>
            </a:solidFill>
            <a:ln w="12700" cap="rnd">
              <a:noFill/>
              <a:prstDash val="solid"/>
              <a:round/>
              <a:headEnd/>
              <a:tailEnd/>
            </a:ln>
            <a:effectLst>
              <a:outerShdw blurRad="254000" dist="127000" algn="ctr" rotWithShape="0">
                <a:schemeClr val="tx2">
                  <a:alpha val="32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32"/>
              <a:endParaRPr lang="zh-CN" altLang="en-US" sz="28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86" name="文本框 85">
            <a:extLst>
              <a:ext uri="{FF2B5EF4-FFF2-40B4-BE49-F238E27FC236}">
                <a16:creationId xmlns:a16="http://schemas.microsoft.com/office/drawing/2014/main" id="{7455D805-6DF5-77D4-1F05-1E871AAB955E}"/>
              </a:ext>
            </a:extLst>
          </p:cNvPr>
          <p:cNvSpPr txBox="1">
            <a:spLocks/>
          </p:cNvSpPr>
          <p:nvPr/>
        </p:nvSpPr>
        <p:spPr>
          <a:xfrm>
            <a:off x="4474413" y="1793535"/>
            <a:ext cx="886781" cy="923330"/>
          </a:xfrm>
          <a:prstGeom prst="rect">
            <a:avLst/>
          </a:prstGeom>
          <a:noFill/>
        </p:spPr>
        <p:txBody>
          <a:bodyPr wrap="none" lIns="91440" tIns="45720" rIns="91440" bIns="45720" rtlCol="0" anchor="ctr" anchorCtr="0">
            <a:spAutoFit/>
          </a:bodyPr>
          <a:lstStyle/>
          <a:p>
            <a:pPr algn="ctr"/>
            <a:r>
              <a:rPr kumimoji="1" lang="en-US" altLang="zh-CN" sz="5400" b="1" dirty="0">
                <a:effectLst>
                  <a:outerShdw blurRad="127000" dist="63500" dir="2700000" algn="ctr" rotWithShape="0">
                    <a:schemeClr val="accent1">
                      <a:alpha val="40000"/>
                    </a:schemeClr>
                  </a:outerShdw>
                </a:effectLst>
                <a:latin typeface="Calibri" panose="020F0502020204030204" pitchFamily="34" charset="0"/>
                <a:ea typeface="宋体" panose="02010600030101010101" pitchFamily="2" charset="-122"/>
              </a:rPr>
              <a:t>01</a:t>
            </a:r>
            <a:endParaRPr kumimoji="1" lang="zh-CN" altLang="en-US" sz="5400" b="1" dirty="0">
              <a:effectLst>
                <a:outerShdw blurRad="127000" dist="63500" dir="2700000" algn="ctr" rotWithShape="0">
                  <a:schemeClr val="accent1">
                    <a:alpha val="40000"/>
                  </a:schemeClr>
                </a:outerShdw>
              </a:effectLst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sp>
        <p:nvSpPr>
          <p:cNvPr id="87" name="文本框 86">
            <a:extLst>
              <a:ext uri="{FF2B5EF4-FFF2-40B4-BE49-F238E27FC236}">
                <a16:creationId xmlns:a16="http://schemas.microsoft.com/office/drawing/2014/main" id="{FBB4734D-87BB-2FEE-F3EB-F84D4989D342}"/>
              </a:ext>
            </a:extLst>
          </p:cNvPr>
          <p:cNvSpPr txBox="1">
            <a:spLocks/>
          </p:cNvSpPr>
          <p:nvPr/>
        </p:nvSpPr>
        <p:spPr>
          <a:xfrm>
            <a:off x="4474413" y="4847806"/>
            <a:ext cx="886781" cy="923330"/>
          </a:xfrm>
          <a:prstGeom prst="rect">
            <a:avLst/>
          </a:prstGeom>
          <a:noFill/>
        </p:spPr>
        <p:txBody>
          <a:bodyPr wrap="none" lIns="91440" tIns="45720" rIns="91440" bIns="45720" rtlCol="0" anchor="ctr" anchorCtr="0">
            <a:spAutoFit/>
          </a:bodyPr>
          <a:lstStyle/>
          <a:p>
            <a:pPr algn="ctr"/>
            <a:r>
              <a:rPr kumimoji="1" lang="en-US" altLang="zh-CN" sz="5400" b="1" dirty="0">
                <a:effectLst>
                  <a:outerShdw blurRad="127000" dist="63500" dir="2700000" algn="ctr" rotWithShape="0">
                    <a:schemeClr val="accent1">
                      <a:alpha val="40000"/>
                    </a:schemeClr>
                  </a:outerShdw>
                </a:effectLst>
                <a:latin typeface="Calibri" panose="020F0502020204030204" pitchFamily="34" charset="0"/>
                <a:ea typeface="宋体" panose="02010600030101010101" pitchFamily="2" charset="-122"/>
              </a:rPr>
              <a:t>03</a:t>
            </a:r>
            <a:endParaRPr kumimoji="1" lang="zh-CN" altLang="en-US" sz="5400" b="1" dirty="0">
              <a:effectLst>
                <a:outerShdw blurRad="127000" dist="63500" dir="2700000" algn="ctr" rotWithShape="0">
                  <a:schemeClr val="accent1">
                    <a:alpha val="40000"/>
                  </a:schemeClr>
                </a:outerShdw>
              </a:effectLst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sp>
        <p:nvSpPr>
          <p:cNvPr id="4" name="矩形 3"/>
          <p:cNvSpPr/>
          <p:nvPr/>
        </p:nvSpPr>
        <p:spPr bwMode="auto">
          <a:xfrm>
            <a:off x="0" y="5649"/>
            <a:ext cx="1243173" cy="1300192"/>
          </a:xfrm>
          <a:prstGeom prst="rect">
            <a:avLst/>
          </a:prstGeom>
          <a:solidFill>
            <a:srgbClr val="FCEAE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altLang="zh-CN" sz="11500" dirty="0">
                <a:solidFill>
                  <a:srgbClr val="F3774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</a:t>
            </a:r>
            <a:endParaRPr lang="zh-CN" altLang="en-US" sz="11500" dirty="0">
              <a:solidFill>
                <a:srgbClr val="F3774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068512" y="59333"/>
            <a:ext cx="2250041" cy="542729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marL="105750" algn="dist"/>
            <a:r>
              <a:rPr lang="zh-CN" altLang="en-US" sz="3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目录</a:t>
            </a:r>
          </a:p>
        </p:txBody>
      </p:sp>
      <p:sp>
        <p:nvSpPr>
          <p:cNvPr id="21" name="文本框 20"/>
          <p:cNvSpPr txBox="1"/>
          <p:nvPr/>
        </p:nvSpPr>
        <p:spPr>
          <a:xfrm>
            <a:off x="1068511" y="763112"/>
            <a:ext cx="2404155" cy="542729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marL="105750" algn="dist"/>
            <a:r>
              <a:rPr lang="en-US" altLang="zh-CN" sz="3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ONTENTS</a:t>
            </a:r>
            <a:endParaRPr lang="zh-CN" altLang="en-US" sz="3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2731175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805780" y="3816481"/>
            <a:ext cx="10934700" cy="720000"/>
          </a:xfrm>
        </p:spPr>
        <p:txBody>
          <a:bodyPr/>
          <a:lstStyle/>
          <a:p>
            <a:pPr algn="ctr"/>
            <a:r>
              <a:rPr lang="zh-CN" altLang="en-US" sz="3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文案之力 非同小可</a:t>
            </a:r>
          </a:p>
        </p:txBody>
      </p:sp>
      <p:sp>
        <p:nvSpPr>
          <p:cNvPr id="33" name="文本框 32">
            <a:extLst>
              <a:ext uri="{FF2B5EF4-FFF2-40B4-BE49-F238E27FC236}">
                <a16:creationId xmlns:a16="http://schemas.microsoft.com/office/drawing/2014/main" id="{7AFC2838-CF4E-43A9-9D9C-867B10CE8878}"/>
              </a:ext>
            </a:extLst>
          </p:cNvPr>
          <p:cNvSpPr txBox="1">
            <a:spLocks/>
          </p:cNvSpPr>
          <p:nvPr/>
        </p:nvSpPr>
        <p:spPr>
          <a:xfrm>
            <a:off x="5567362" y="2921131"/>
            <a:ext cx="1057275" cy="89535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10000"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6600" dirty="0">
                <a:solidFill>
                  <a:srgbClr val="FC6C1C"/>
                </a:solidFill>
                <a:latin typeface="Arial" panose="020B0604020202020204" pitchFamily="34" charset="0"/>
                <a:ea typeface="华文楷体" panose="02010600040101010101" pitchFamily="2" charset="-122"/>
              </a:rPr>
              <a:t>01</a:t>
            </a:r>
            <a:endParaRPr lang="zh-CN" altLang="en-US" sz="6600" dirty="0">
              <a:solidFill>
                <a:srgbClr val="FC6C1C"/>
              </a:solidFill>
              <a:latin typeface="Arial" panose="020B0604020202020204" pitchFamily="34" charset="0"/>
              <a:ea typeface="华文楷体" panose="02010600040101010101" pitchFamily="2" charset="-122"/>
            </a:endParaRPr>
          </a:p>
        </p:txBody>
      </p:sp>
      <p:pic>
        <p:nvPicPr>
          <p:cNvPr id="122" name="图片 121">
            <a:extLst>
              <a:ext uri="{FF2B5EF4-FFF2-40B4-BE49-F238E27FC236}">
                <a16:creationId xmlns:a16="http://schemas.microsoft.com/office/drawing/2014/main" id="{150FA2AE-8371-873E-0E67-A9B69B9AD5D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3035" y="299594"/>
            <a:ext cx="1837445" cy="5014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47087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图片 39">
            <a:extLst>
              <a:ext uri="{FF2B5EF4-FFF2-40B4-BE49-F238E27FC236}">
                <a16:creationId xmlns:a16="http://schemas.microsoft.com/office/drawing/2014/main" id="{7CB1490E-39EF-785B-93D8-3B5E023A7BD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9418" y="253211"/>
            <a:ext cx="1837445" cy="501494"/>
          </a:xfrm>
          <a:prstGeom prst="rect">
            <a:avLst/>
          </a:prstGeom>
        </p:spPr>
      </p:pic>
      <p:sp>
        <p:nvSpPr>
          <p:cNvPr id="2" name="PA_文本框 21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>
            <a:extLst>
              <a:ext uri="{FF2B5EF4-FFF2-40B4-BE49-F238E27FC236}">
                <a16:creationId xmlns:a16="http://schemas.microsoft.com/office/drawing/2014/main" id="{EB15CC80-CF2A-2BCF-9F74-8937D327667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80230" y="330214"/>
            <a:ext cx="5152913" cy="46166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zh-CN"/>
            </a:defPPr>
            <a:lvl1pPr marL="12700" marR="0" lvl="0" indent="0" fontAlgn="auto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F05A23"/>
                </a:solidFill>
                <a:effectLst/>
                <a:uLnTx/>
                <a:uFillTx/>
                <a:latin typeface="Arial"/>
                <a:ea typeface="华文楷体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  <a:lvl6pPr>
              <a:defRPr>
                <a:latin typeface="+mn-lt"/>
                <a:ea typeface="+mn-ea"/>
                <a:cs typeface="+mn-cs"/>
              </a:defRPr>
            </a:lvl6pPr>
            <a:lvl7pPr>
              <a:defRPr>
                <a:latin typeface="+mn-lt"/>
                <a:ea typeface="+mn-ea"/>
                <a:cs typeface="+mn-cs"/>
              </a:defRPr>
            </a:lvl7pPr>
            <a:lvl8pPr>
              <a:defRPr>
                <a:latin typeface="+mn-lt"/>
                <a:ea typeface="+mn-ea"/>
                <a:cs typeface="+mn-cs"/>
              </a:defRPr>
            </a:lvl8pPr>
            <a:lvl9pPr>
              <a:defRPr>
                <a:latin typeface="+mn-lt"/>
                <a:ea typeface="+mn-ea"/>
                <a:cs typeface="+mn-cs"/>
              </a:defRPr>
            </a:lvl9pPr>
          </a:lstStyle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文案之力，非同小可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2B23F7BC-282A-284C-1BC8-0CF3B481E51A}"/>
              </a:ext>
            </a:extLst>
          </p:cNvPr>
          <p:cNvSpPr txBox="1"/>
          <p:nvPr/>
        </p:nvSpPr>
        <p:spPr>
          <a:xfrm>
            <a:off x="280650" y="358385"/>
            <a:ext cx="6744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1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椭圆 2">
            <a:extLst>
              <a:ext uri="{FF2B5EF4-FFF2-40B4-BE49-F238E27FC236}">
                <a16:creationId xmlns:a16="http://schemas.microsoft.com/office/drawing/2014/main" id="{4127600D-53E6-76FF-17BE-31E3E1529846}"/>
              </a:ext>
            </a:extLst>
          </p:cNvPr>
          <p:cNvSpPr/>
          <p:nvPr/>
        </p:nvSpPr>
        <p:spPr>
          <a:xfrm>
            <a:off x="2194717" y="3342938"/>
            <a:ext cx="3195021" cy="2603351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4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引发传播</a:t>
            </a:r>
          </a:p>
        </p:txBody>
      </p:sp>
      <p:sp>
        <p:nvSpPr>
          <p:cNvPr id="4" name="标题 24">
            <a:extLst>
              <a:ext uri="{FF2B5EF4-FFF2-40B4-BE49-F238E27FC236}">
                <a16:creationId xmlns:a16="http://schemas.microsoft.com/office/drawing/2014/main" id="{446ED8A4-5DD8-3695-EE44-E04F5E6A25D7}"/>
              </a:ext>
            </a:extLst>
          </p:cNvPr>
          <p:cNvSpPr txBox="1">
            <a:spLocks/>
          </p:cNvSpPr>
          <p:nvPr/>
        </p:nvSpPr>
        <p:spPr>
          <a:xfrm>
            <a:off x="4083171" y="2061882"/>
            <a:ext cx="4025657" cy="659803"/>
          </a:xfr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文案带来的</a:t>
            </a:r>
            <a:r>
              <a:rPr lang="en-US" altLang="zh-CN" sz="3000" dirty="0">
                <a:solidFill>
                  <a:srgbClr val="F05A2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</a:t>
            </a:r>
            <a:r>
              <a:rPr lang="zh-CN" altLang="en-US" sz="3000" dirty="0">
                <a:solidFill>
                  <a:srgbClr val="F05A2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个价值</a:t>
            </a:r>
            <a:endParaRPr lang="zh-CN" altLang="en-US" sz="3000" b="0" dirty="0">
              <a:solidFill>
                <a:srgbClr val="F05A2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椭圆 6">
            <a:extLst>
              <a:ext uri="{FF2B5EF4-FFF2-40B4-BE49-F238E27FC236}">
                <a16:creationId xmlns:a16="http://schemas.microsoft.com/office/drawing/2014/main" id="{2E9E4AB2-2AD2-399E-D570-6AB966E25744}"/>
              </a:ext>
            </a:extLst>
          </p:cNvPr>
          <p:cNvSpPr/>
          <p:nvPr/>
        </p:nvSpPr>
        <p:spPr>
          <a:xfrm>
            <a:off x="6230627" y="3342937"/>
            <a:ext cx="3195021" cy="2603351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4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制造转化</a:t>
            </a:r>
          </a:p>
        </p:txBody>
      </p:sp>
    </p:spTree>
    <p:extLst>
      <p:ext uri="{BB962C8B-B14F-4D97-AF65-F5344CB8AC3E}">
        <p14:creationId xmlns:p14="http://schemas.microsoft.com/office/powerpoint/2010/main" val="396762302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图片 39">
            <a:extLst>
              <a:ext uri="{FF2B5EF4-FFF2-40B4-BE49-F238E27FC236}">
                <a16:creationId xmlns:a16="http://schemas.microsoft.com/office/drawing/2014/main" id="{7CB1490E-39EF-785B-93D8-3B5E023A7BD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9418" y="253211"/>
            <a:ext cx="1837445" cy="501494"/>
          </a:xfrm>
          <a:prstGeom prst="rect">
            <a:avLst/>
          </a:prstGeom>
        </p:spPr>
      </p:pic>
      <p:sp>
        <p:nvSpPr>
          <p:cNvPr id="2" name="PA_文本框 21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>
            <a:extLst>
              <a:ext uri="{FF2B5EF4-FFF2-40B4-BE49-F238E27FC236}">
                <a16:creationId xmlns:a16="http://schemas.microsoft.com/office/drawing/2014/main" id="{EB15CC80-CF2A-2BCF-9F74-8937D327667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80230" y="330214"/>
            <a:ext cx="5152913" cy="46166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zh-CN"/>
            </a:defPPr>
            <a:lvl1pPr marL="12700" marR="0" lvl="0" indent="0" fontAlgn="auto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F05A23"/>
                </a:solidFill>
                <a:effectLst/>
                <a:uLnTx/>
                <a:uFillTx/>
                <a:latin typeface="Arial"/>
                <a:ea typeface="华文楷体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  <a:lvl6pPr>
              <a:defRPr>
                <a:latin typeface="+mn-lt"/>
                <a:ea typeface="+mn-ea"/>
                <a:cs typeface="+mn-cs"/>
              </a:defRPr>
            </a:lvl6pPr>
            <a:lvl7pPr>
              <a:defRPr>
                <a:latin typeface="+mn-lt"/>
                <a:ea typeface="+mn-ea"/>
                <a:cs typeface="+mn-cs"/>
              </a:defRPr>
            </a:lvl7pPr>
            <a:lvl8pPr>
              <a:defRPr>
                <a:latin typeface="+mn-lt"/>
                <a:ea typeface="+mn-ea"/>
                <a:cs typeface="+mn-cs"/>
              </a:defRPr>
            </a:lvl8pPr>
            <a:lvl9pPr>
              <a:defRPr>
                <a:latin typeface="+mn-lt"/>
                <a:ea typeface="+mn-ea"/>
                <a:cs typeface="+mn-cs"/>
              </a:defRPr>
            </a:lvl9pPr>
          </a:lstStyle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文案之力，非同小可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2B23F7BC-282A-284C-1BC8-0CF3B481E51A}"/>
              </a:ext>
            </a:extLst>
          </p:cNvPr>
          <p:cNvSpPr txBox="1"/>
          <p:nvPr/>
        </p:nvSpPr>
        <p:spPr>
          <a:xfrm>
            <a:off x="280650" y="358385"/>
            <a:ext cx="6744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1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标题 24">
            <a:extLst>
              <a:ext uri="{FF2B5EF4-FFF2-40B4-BE49-F238E27FC236}">
                <a16:creationId xmlns:a16="http://schemas.microsoft.com/office/drawing/2014/main" id="{C9E16FE8-BDA4-8F74-A5CD-731675915BE8}"/>
              </a:ext>
            </a:extLst>
          </p:cNvPr>
          <p:cNvSpPr txBox="1">
            <a:spLocks/>
          </p:cNvSpPr>
          <p:nvPr/>
        </p:nvSpPr>
        <p:spPr>
          <a:xfrm>
            <a:off x="3276348" y="1530364"/>
            <a:ext cx="5866247" cy="659803"/>
          </a:xfr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2200" dirty="0"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不同文案可产生</a:t>
            </a:r>
            <a:r>
              <a:rPr lang="en-US" altLang="zh-CN" sz="3000" dirty="0">
                <a:solidFill>
                  <a:srgbClr val="F05A2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00</a:t>
            </a:r>
            <a:r>
              <a:rPr lang="zh-CN" altLang="en-US" sz="3000" dirty="0">
                <a:solidFill>
                  <a:srgbClr val="F05A2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倍</a:t>
            </a:r>
            <a:r>
              <a:rPr lang="zh-CN" altLang="en-US" sz="2200" dirty="0"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甚至更大的差异</a:t>
            </a:r>
            <a:endParaRPr lang="zh-CN" altLang="en-US" sz="3000" b="0" dirty="0">
              <a:solidFill>
                <a:srgbClr val="F05A2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70EB471E-B6D7-F776-E630-53FA65A2F71F}"/>
              </a:ext>
            </a:extLst>
          </p:cNvPr>
          <p:cNvSpPr txBox="1"/>
          <p:nvPr/>
        </p:nvSpPr>
        <p:spPr>
          <a:xfrm>
            <a:off x="841853" y="3433961"/>
            <a:ext cx="42192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1</a:t>
            </a:r>
            <a:r>
              <a:rPr lang="zh-CN" altLang="en-US" dirty="0"/>
              <a:t>、成长记录，科学监测宝宝成长</a:t>
            </a:r>
            <a:endParaRPr lang="en-US" altLang="zh-CN" dirty="0"/>
          </a:p>
        </p:txBody>
      </p:sp>
      <p:grpSp>
        <p:nvGrpSpPr>
          <p:cNvPr id="17" name="组合 16">
            <a:extLst>
              <a:ext uri="{FF2B5EF4-FFF2-40B4-BE49-F238E27FC236}">
                <a16:creationId xmlns:a16="http://schemas.microsoft.com/office/drawing/2014/main" id="{5BB19427-8309-4AE6-C7D3-0052DEF1A3EF}"/>
              </a:ext>
            </a:extLst>
          </p:cNvPr>
          <p:cNvGrpSpPr/>
          <p:nvPr/>
        </p:nvGrpSpPr>
        <p:grpSpPr>
          <a:xfrm>
            <a:off x="1371913" y="2536176"/>
            <a:ext cx="1579587" cy="369332"/>
            <a:chOff x="1371913" y="2536176"/>
            <a:chExt cx="1579587" cy="369332"/>
          </a:xfrm>
        </p:grpSpPr>
        <p:sp>
          <p:nvSpPr>
            <p:cNvPr id="12" name="文本框 11">
              <a:extLst>
                <a:ext uri="{FF2B5EF4-FFF2-40B4-BE49-F238E27FC236}">
                  <a16:creationId xmlns:a16="http://schemas.microsoft.com/office/drawing/2014/main" id="{4BD3F23C-BDCE-EA96-848F-2C3DD1440519}"/>
                </a:ext>
              </a:extLst>
            </p:cNvPr>
            <p:cNvSpPr txBox="1"/>
            <p:nvPr/>
          </p:nvSpPr>
          <p:spPr>
            <a:xfrm>
              <a:off x="1371913" y="2536176"/>
              <a:ext cx="137749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altLang="zh-CN" b="1" u="sng" dirty="0"/>
                <a:t>PUSH</a:t>
              </a:r>
              <a:endParaRPr lang="zh-CN" altLang="en-US" b="1" u="sng" dirty="0"/>
            </a:p>
          </p:txBody>
        </p:sp>
        <p:sp>
          <p:nvSpPr>
            <p:cNvPr id="13" name="稻壳儿小白白(http://dwz.cn/Wu2UP)">
              <a:extLst>
                <a:ext uri="{FF2B5EF4-FFF2-40B4-BE49-F238E27FC236}">
                  <a16:creationId xmlns:a16="http://schemas.microsoft.com/office/drawing/2014/main" id="{8584BB5D-5F02-6240-45CC-66EAB95F5A68}"/>
                </a:ext>
              </a:extLst>
            </p:cNvPr>
            <p:cNvSpPr>
              <a:spLocks noEditPoints="1"/>
            </p:cNvSpPr>
            <p:nvPr/>
          </p:nvSpPr>
          <p:spPr bwMode="auto">
            <a:xfrm rot="5400000">
              <a:off x="2660987" y="2586698"/>
              <a:ext cx="312737" cy="268288"/>
            </a:xfrm>
            <a:custGeom>
              <a:avLst/>
              <a:gdLst>
                <a:gd name="T0" fmla="*/ 41 w 48"/>
                <a:gd name="T1" fmla="*/ 24 h 41"/>
                <a:gd name="T2" fmla="*/ 36 w 48"/>
                <a:gd name="T3" fmla="*/ 24 h 41"/>
                <a:gd name="T4" fmla="*/ 35 w 48"/>
                <a:gd name="T5" fmla="*/ 27 h 41"/>
                <a:gd name="T6" fmla="*/ 36 w 48"/>
                <a:gd name="T7" fmla="*/ 28 h 41"/>
                <a:gd name="T8" fmla="*/ 34 w 48"/>
                <a:gd name="T9" fmla="*/ 33 h 41"/>
                <a:gd name="T10" fmla="*/ 26 w 48"/>
                <a:gd name="T11" fmla="*/ 41 h 41"/>
                <a:gd name="T12" fmla="*/ 17 w 48"/>
                <a:gd name="T13" fmla="*/ 39 h 41"/>
                <a:gd name="T14" fmla="*/ 11 w 48"/>
                <a:gd name="T15" fmla="*/ 38 h 41"/>
                <a:gd name="T16" fmla="*/ 3 w 48"/>
                <a:gd name="T17" fmla="*/ 38 h 41"/>
                <a:gd name="T18" fmla="*/ 0 w 48"/>
                <a:gd name="T19" fmla="*/ 34 h 41"/>
                <a:gd name="T20" fmla="*/ 0 w 48"/>
                <a:gd name="T21" fmla="*/ 17 h 41"/>
                <a:gd name="T22" fmla="*/ 3 w 48"/>
                <a:gd name="T23" fmla="*/ 14 h 41"/>
                <a:gd name="T24" fmla="*/ 11 w 48"/>
                <a:gd name="T25" fmla="*/ 14 h 41"/>
                <a:gd name="T26" fmla="*/ 15 w 48"/>
                <a:gd name="T27" fmla="*/ 10 h 41"/>
                <a:gd name="T28" fmla="*/ 18 w 48"/>
                <a:gd name="T29" fmla="*/ 7 h 41"/>
                <a:gd name="T30" fmla="*/ 24 w 48"/>
                <a:gd name="T31" fmla="*/ 0 h 41"/>
                <a:gd name="T32" fmla="*/ 32 w 48"/>
                <a:gd name="T33" fmla="*/ 7 h 41"/>
                <a:gd name="T34" fmla="*/ 31 w 48"/>
                <a:gd name="T35" fmla="*/ 10 h 41"/>
                <a:gd name="T36" fmla="*/ 41 w 48"/>
                <a:gd name="T37" fmla="*/ 10 h 41"/>
                <a:gd name="T38" fmla="*/ 48 w 48"/>
                <a:gd name="T39" fmla="*/ 17 h 41"/>
                <a:gd name="T40" fmla="*/ 41 w 48"/>
                <a:gd name="T41" fmla="*/ 24 h 41"/>
                <a:gd name="T42" fmla="*/ 5 w 48"/>
                <a:gd name="T43" fmla="*/ 31 h 41"/>
                <a:gd name="T44" fmla="*/ 3 w 48"/>
                <a:gd name="T45" fmla="*/ 32 h 41"/>
                <a:gd name="T46" fmla="*/ 5 w 48"/>
                <a:gd name="T47" fmla="*/ 34 h 41"/>
                <a:gd name="T48" fmla="*/ 7 w 48"/>
                <a:gd name="T49" fmla="*/ 32 h 41"/>
                <a:gd name="T50" fmla="*/ 5 w 48"/>
                <a:gd name="T51" fmla="*/ 31 h 41"/>
                <a:gd name="T52" fmla="*/ 41 w 48"/>
                <a:gd name="T53" fmla="*/ 14 h 41"/>
                <a:gd name="T54" fmla="*/ 26 w 48"/>
                <a:gd name="T55" fmla="*/ 14 h 41"/>
                <a:gd name="T56" fmla="*/ 28 w 48"/>
                <a:gd name="T57" fmla="*/ 7 h 41"/>
                <a:gd name="T58" fmla="*/ 24 w 48"/>
                <a:gd name="T59" fmla="*/ 3 h 41"/>
                <a:gd name="T60" fmla="*/ 21 w 48"/>
                <a:gd name="T61" fmla="*/ 7 h 41"/>
                <a:gd name="T62" fmla="*/ 20 w 48"/>
                <a:gd name="T63" fmla="*/ 9 h 41"/>
                <a:gd name="T64" fmla="*/ 17 w 48"/>
                <a:gd name="T65" fmla="*/ 13 h 41"/>
                <a:gd name="T66" fmla="*/ 11 w 48"/>
                <a:gd name="T67" fmla="*/ 17 h 41"/>
                <a:gd name="T68" fmla="*/ 10 w 48"/>
                <a:gd name="T69" fmla="*/ 17 h 41"/>
                <a:gd name="T70" fmla="*/ 10 w 48"/>
                <a:gd name="T71" fmla="*/ 34 h 41"/>
                <a:gd name="T72" fmla="*/ 11 w 48"/>
                <a:gd name="T73" fmla="*/ 34 h 41"/>
                <a:gd name="T74" fmla="*/ 25 w 48"/>
                <a:gd name="T75" fmla="*/ 38 h 41"/>
                <a:gd name="T76" fmla="*/ 30 w 48"/>
                <a:gd name="T77" fmla="*/ 33 h 41"/>
                <a:gd name="T78" fmla="*/ 30 w 48"/>
                <a:gd name="T79" fmla="*/ 32 h 41"/>
                <a:gd name="T80" fmla="*/ 32 w 48"/>
                <a:gd name="T81" fmla="*/ 28 h 41"/>
                <a:gd name="T82" fmla="*/ 32 w 48"/>
                <a:gd name="T83" fmla="*/ 26 h 41"/>
                <a:gd name="T84" fmla="*/ 33 w 48"/>
                <a:gd name="T85" fmla="*/ 23 h 41"/>
                <a:gd name="T86" fmla="*/ 32 w 48"/>
                <a:gd name="T87" fmla="*/ 20 h 41"/>
                <a:gd name="T88" fmla="*/ 41 w 48"/>
                <a:gd name="T89" fmla="*/ 20 h 41"/>
                <a:gd name="T90" fmla="*/ 44 w 48"/>
                <a:gd name="T91" fmla="*/ 17 h 41"/>
                <a:gd name="T92" fmla="*/ 41 w 48"/>
                <a:gd name="T93" fmla="*/ 1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8" h="41">
                  <a:moveTo>
                    <a:pt x="41" y="24"/>
                  </a:moveTo>
                  <a:cubicBezTo>
                    <a:pt x="36" y="24"/>
                    <a:pt x="36" y="24"/>
                    <a:pt x="36" y="24"/>
                  </a:cubicBezTo>
                  <a:cubicBezTo>
                    <a:pt x="36" y="25"/>
                    <a:pt x="36" y="26"/>
                    <a:pt x="35" y="27"/>
                  </a:cubicBezTo>
                  <a:cubicBezTo>
                    <a:pt x="36" y="27"/>
                    <a:pt x="36" y="28"/>
                    <a:pt x="36" y="28"/>
                  </a:cubicBezTo>
                  <a:cubicBezTo>
                    <a:pt x="36" y="30"/>
                    <a:pt x="35" y="32"/>
                    <a:pt x="34" y="33"/>
                  </a:cubicBezTo>
                  <a:cubicBezTo>
                    <a:pt x="34" y="38"/>
                    <a:pt x="31" y="41"/>
                    <a:pt x="26" y="41"/>
                  </a:cubicBezTo>
                  <a:cubicBezTo>
                    <a:pt x="23" y="41"/>
                    <a:pt x="20" y="40"/>
                    <a:pt x="17" y="39"/>
                  </a:cubicBezTo>
                  <a:cubicBezTo>
                    <a:pt x="15" y="39"/>
                    <a:pt x="13" y="38"/>
                    <a:pt x="11" y="38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1" y="38"/>
                    <a:pt x="0" y="36"/>
                    <a:pt x="0" y="34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5"/>
                    <a:pt x="1" y="14"/>
                    <a:pt x="3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2" y="14"/>
                    <a:pt x="14" y="11"/>
                    <a:pt x="15" y="10"/>
                  </a:cubicBezTo>
                  <a:cubicBezTo>
                    <a:pt x="16" y="9"/>
                    <a:pt x="17" y="8"/>
                    <a:pt x="18" y="7"/>
                  </a:cubicBezTo>
                  <a:cubicBezTo>
                    <a:pt x="19" y="4"/>
                    <a:pt x="20" y="0"/>
                    <a:pt x="24" y="0"/>
                  </a:cubicBezTo>
                  <a:cubicBezTo>
                    <a:pt x="28" y="0"/>
                    <a:pt x="32" y="2"/>
                    <a:pt x="32" y="7"/>
                  </a:cubicBezTo>
                  <a:cubicBezTo>
                    <a:pt x="32" y="8"/>
                    <a:pt x="31" y="9"/>
                    <a:pt x="31" y="10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45" y="10"/>
                    <a:pt x="48" y="13"/>
                    <a:pt x="48" y="17"/>
                  </a:cubicBezTo>
                  <a:cubicBezTo>
                    <a:pt x="48" y="21"/>
                    <a:pt x="45" y="24"/>
                    <a:pt x="41" y="24"/>
                  </a:cubicBezTo>
                  <a:close/>
                  <a:moveTo>
                    <a:pt x="5" y="31"/>
                  </a:moveTo>
                  <a:cubicBezTo>
                    <a:pt x="4" y="31"/>
                    <a:pt x="3" y="32"/>
                    <a:pt x="3" y="32"/>
                  </a:cubicBezTo>
                  <a:cubicBezTo>
                    <a:pt x="3" y="33"/>
                    <a:pt x="4" y="34"/>
                    <a:pt x="5" y="34"/>
                  </a:cubicBezTo>
                  <a:cubicBezTo>
                    <a:pt x="6" y="34"/>
                    <a:pt x="7" y="33"/>
                    <a:pt x="7" y="32"/>
                  </a:cubicBezTo>
                  <a:cubicBezTo>
                    <a:pt x="7" y="32"/>
                    <a:pt x="6" y="31"/>
                    <a:pt x="5" y="31"/>
                  </a:cubicBezTo>
                  <a:close/>
                  <a:moveTo>
                    <a:pt x="41" y="14"/>
                  </a:moveTo>
                  <a:cubicBezTo>
                    <a:pt x="26" y="14"/>
                    <a:pt x="26" y="14"/>
                    <a:pt x="26" y="14"/>
                  </a:cubicBezTo>
                  <a:cubicBezTo>
                    <a:pt x="26" y="12"/>
                    <a:pt x="28" y="10"/>
                    <a:pt x="28" y="7"/>
                  </a:cubicBezTo>
                  <a:cubicBezTo>
                    <a:pt x="28" y="4"/>
                    <a:pt x="26" y="3"/>
                    <a:pt x="24" y="3"/>
                  </a:cubicBezTo>
                  <a:cubicBezTo>
                    <a:pt x="23" y="3"/>
                    <a:pt x="22" y="6"/>
                    <a:pt x="21" y="7"/>
                  </a:cubicBezTo>
                  <a:cubicBezTo>
                    <a:pt x="21" y="8"/>
                    <a:pt x="21" y="8"/>
                    <a:pt x="20" y="9"/>
                  </a:cubicBezTo>
                  <a:cubicBezTo>
                    <a:pt x="20" y="10"/>
                    <a:pt x="19" y="11"/>
                    <a:pt x="17" y="13"/>
                  </a:cubicBezTo>
                  <a:cubicBezTo>
                    <a:pt x="16" y="15"/>
                    <a:pt x="14" y="17"/>
                    <a:pt x="11" y="17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6" y="34"/>
                    <a:pt x="20" y="38"/>
                    <a:pt x="25" y="38"/>
                  </a:cubicBezTo>
                  <a:cubicBezTo>
                    <a:pt x="28" y="38"/>
                    <a:pt x="30" y="36"/>
                    <a:pt x="30" y="33"/>
                  </a:cubicBezTo>
                  <a:cubicBezTo>
                    <a:pt x="30" y="33"/>
                    <a:pt x="30" y="32"/>
                    <a:pt x="30" y="32"/>
                  </a:cubicBezTo>
                  <a:cubicBezTo>
                    <a:pt x="31" y="31"/>
                    <a:pt x="32" y="29"/>
                    <a:pt x="32" y="28"/>
                  </a:cubicBezTo>
                  <a:cubicBezTo>
                    <a:pt x="32" y="28"/>
                    <a:pt x="32" y="27"/>
                    <a:pt x="32" y="26"/>
                  </a:cubicBezTo>
                  <a:cubicBezTo>
                    <a:pt x="33" y="26"/>
                    <a:pt x="33" y="24"/>
                    <a:pt x="33" y="23"/>
                  </a:cubicBezTo>
                  <a:cubicBezTo>
                    <a:pt x="33" y="22"/>
                    <a:pt x="33" y="21"/>
                    <a:pt x="32" y="20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3" y="20"/>
                    <a:pt x="44" y="19"/>
                    <a:pt x="44" y="17"/>
                  </a:cubicBezTo>
                  <a:cubicBezTo>
                    <a:pt x="44" y="15"/>
                    <a:pt x="43" y="14"/>
                    <a:pt x="41" y="14"/>
                  </a:cubicBezTo>
                  <a:close/>
                </a:path>
              </a:pathLst>
            </a:custGeom>
            <a:solidFill>
              <a:srgbClr val="F05A23"/>
            </a:solidFill>
            <a:ln>
              <a:noFill/>
            </a:ln>
          </p:spPr>
          <p:txBody>
            <a:bodyPr lIns="121920" tIns="60960" rIns="121920" bIns="6096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id-ID" sz="3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Arial" panose="020B0604020202020204" pitchFamily="34" charset="0"/>
              </a:endParaRPr>
            </a:p>
          </p:txBody>
        </p:sp>
      </p:grpSp>
      <p:grpSp>
        <p:nvGrpSpPr>
          <p:cNvPr id="19" name="组合 18">
            <a:extLst>
              <a:ext uri="{FF2B5EF4-FFF2-40B4-BE49-F238E27FC236}">
                <a16:creationId xmlns:a16="http://schemas.microsoft.com/office/drawing/2014/main" id="{0CAB8932-659E-520D-52B4-B37A4512CF3B}"/>
              </a:ext>
            </a:extLst>
          </p:cNvPr>
          <p:cNvGrpSpPr/>
          <p:nvPr/>
        </p:nvGrpSpPr>
        <p:grpSpPr>
          <a:xfrm>
            <a:off x="7679323" y="2564473"/>
            <a:ext cx="1579587" cy="369332"/>
            <a:chOff x="1371913" y="2536176"/>
            <a:chExt cx="1579587" cy="369332"/>
          </a:xfrm>
        </p:grpSpPr>
        <p:sp>
          <p:nvSpPr>
            <p:cNvPr id="20" name="文本框 19">
              <a:extLst>
                <a:ext uri="{FF2B5EF4-FFF2-40B4-BE49-F238E27FC236}">
                  <a16:creationId xmlns:a16="http://schemas.microsoft.com/office/drawing/2014/main" id="{49F06867-BFB0-3C1C-F815-CE890655B838}"/>
                </a:ext>
              </a:extLst>
            </p:cNvPr>
            <p:cNvSpPr txBox="1"/>
            <p:nvPr/>
          </p:nvSpPr>
          <p:spPr>
            <a:xfrm>
              <a:off x="1371913" y="2536176"/>
              <a:ext cx="137749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zh-CN" altLang="en-US" b="1" u="sng" dirty="0"/>
                <a:t>弹屏</a:t>
              </a:r>
            </a:p>
          </p:txBody>
        </p:sp>
        <p:sp>
          <p:nvSpPr>
            <p:cNvPr id="21" name="稻壳儿小白白(http://dwz.cn/Wu2UP)">
              <a:extLst>
                <a:ext uri="{FF2B5EF4-FFF2-40B4-BE49-F238E27FC236}">
                  <a16:creationId xmlns:a16="http://schemas.microsoft.com/office/drawing/2014/main" id="{37EA9A9C-5C8E-0ADA-C558-F269CA046D19}"/>
                </a:ext>
              </a:extLst>
            </p:cNvPr>
            <p:cNvSpPr>
              <a:spLocks noEditPoints="1"/>
            </p:cNvSpPr>
            <p:nvPr/>
          </p:nvSpPr>
          <p:spPr bwMode="auto">
            <a:xfrm rot="5400000">
              <a:off x="2660987" y="2586698"/>
              <a:ext cx="312737" cy="268288"/>
            </a:xfrm>
            <a:custGeom>
              <a:avLst/>
              <a:gdLst>
                <a:gd name="T0" fmla="*/ 41 w 48"/>
                <a:gd name="T1" fmla="*/ 24 h 41"/>
                <a:gd name="T2" fmla="*/ 36 w 48"/>
                <a:gd name="T3" fmla="*/ 24 h 41"/>
                <a:gd name="T4" fmla="*/ 35 w 48"/>
                <a:gd name="T5" fmla="*/ 27 h 41"/>
                <a:gd name="T6" fmla="*/ 36 w 48"/>
                <a:gd name="T7" fmla="*/ 28 h 41"/>
                <a:gd name="T8" fmla="*/ 34 w 48"/>
                <a:gd name="T9" fmla="*/ 33 h 41"/>
                <a:gd name="T10" fmla="*/ 26 w 48"/>
                <a:gd name="T11" fmla="*/ 41 h 41"/>
                <a:gd name="T12" fmla="*/ 17 w 48"/>
                <a:gd name="T13" fmla="*/ 39 h 41"/>
                <a:gd name="T14" fmla="*/ 11 w 48"/>
                <a:gd name="T15" fmla="*/ 38 h 41"/>
                <a:gd name="T16" fmla="*/ 3 w 48"/>
                <a:gd name="T17" fmla="*/ 38 h 41"/>
                <a:gd name="T18" fmla="*/ 0 w 48"/>
                <a:gd name="T19" fmla="*/ 34 h 41"/>
                <a:gd name="T20" fmla="*/ 0 w 48"/>
                <a:gd name="T21" fmla="*/ 17 h 41"/>
                <a:gd name="T22" fmla="*/ 3 w 48"/>
                <a:gd name="T23" fmla="*/ 14 h 41"/>
                <a:gd name="T24" fmla="*/ 11 w 48"/>
                <a:gd name="T25" fmla="*/ 14 h 41"/>
                <a:gd name="T26" fmla="*/ 15 w 48"/>
                <a:gd name="T27" fmla="*/ 10 h 41"/>
                <a:gd name="T28" fmla="*/ 18 w 48"/>
                <a:gd name="T29" fmla="*/ 7 h 41"/>
                <a:gd name="T30" fmla="*/ 24 w 48"/>
                <a:gd name="T31" fmla="*/ 0 h 41"/>
                <a:gd name="T32" fmla="*/ 32 w 48"/>
                <a:gd name="T33" fmla="*/ 7 h 41"/>
                <a:gd name="T34" fmla="*/ 31 w 48"/>
                <a:gd name="T35" fmla="*/ 10 h 41"/>
                <a:gd name="T36" fmla="*/ 41 w 48"/>
                <a:gd name="T37" fmla="*/ 10 h 41"/>
                <a:gd name="T38" fmla="*/ 48 w 48"/>
                <a:gd name="T39" fmla="*/ 17 h 41"/>
                <a:gd name="T40" fmla="*/ 41 w 48"/>
                <a:gd name="T41" fmla="*/ 24 h 41"/>
                <a:gd name="T42" fmla="*/ 5 w 48"/>
                <a:gd name="T43" fmla="*/ 31 h 41"/>
                <a:gd name="T44" fmla="*/ 3 w 48"/>
                <a:gd name="T45" fmla="*/ 32 h 41"/>
                <a:gd name="T46" fmla="*/ 5 w 48"/>
                <a:gd name="T47" fmla="*/ 34 h 41"/>
                <a:gd name="T48" fmla="*/ 7 w 48"/>
                <a:gd name="T49" fmla="*/ 32 h 41"/>
                <a:gd name="T50" fmla="*/ 5 w 48"/>
                <a:gd name="T51" fmla="*/ 31 h 41"/>
                <a:gd name="T52" fmla="*/ 41 w 48"/>
                <a:gd name="T53" fmla="*/ 14 h 41"/>
                <a:gd name="T54" fmla="*/ 26 w 48"/>
                <a:gd name="T55" fmla="*/ 14 h 41"/>
                <a:gd name="T56" fmla="*/ 28 w 48"/>
                <a:gd name="T57" fmla="*/ 7 h 41"/>
                <a:gd name="T58" fmla="*/ 24 w 48"/>
                <a:gd name="T59" fmla="*/ 3 h 41"/>
                <a:gd name="T60" fmla="*/ 21 w 48"/>
                <a:gd name="T61" fmla="*/ 7 h 41"/>
                <a:gd name="T62" fmla="*/ 20 w 48"/>
                <a:gd name="T63" fmla="*/ 9 h 41"/>
                <a:gd name="T64" fmla="*/ 17 w 48"/>
                <a:gd name="T65" fmla="*/ 13 h 41"/>
                <a:gd name="T66" fmla="*/ 11 w 48"/>
                <a:gd name="T67" fmla="*/ 17 h 41"/>
                <a:gd name="T68" fmla="*/ 10 w 48"/>
                <a:gd name="T69" fmla="*/ 17 h 41"/>
                <a:gd name="T70" fmla="*/ 10 w 48"/>
                <a:gd name="T71" fmla="*/ 34 h 41"/>
                <a:gd name="T72" fmla="*/ 11 w 48"/>
                <a:gd name="T73" fmla="*/ 34 h 41"/>
                <a:gd name="T74" fmla="*/ 25 w 48"/>
                <a:gd name="T75" fmla="*/ 38 h 41"/>
                <a:gd name="T76" fmla="*/ 30 w 48"/>
                <a:gd name="T77" fmla="*/ 33 h 41"/>
                <a:gd name="T78" fmla="*/ 30 w 48"/>
                <a:gd name="T79" fmla="*/ 32 h 41"/>
                <a:gd name="T80" fmla="*/ 32 w 48"/>
                <a:gd name="T81" fmla="*/ 28 h 41"/>
                <a:gd name="T82" fmla="*/ 32 w 48"/>
                <a:gd name="T83" fmla="*/ 26 h 41"/>
                <a:gd name="T84" fmla="*/ 33 w 48"/>
                <a:gd name="T85" fmla="*/ 23 h 41"/>
                <a:gd name="T86" fmla="*/ 32 w 48"/>
                <a:gd name="T87" fmla="*/ 20 h 41"/>
                <a:gd name="T88" fmla="*/ 41 w 48"/>
                <a:gd name="T89" fmla="*/ 20 h 41"/>
                <a:gd name="T90" fmla="*/ 44 w 48"/>
                <a:gd name="T91" fmla="*/ 17 h 41"/>
                <a:gd name="T92" fmla="*/ 41 w 48"/>
                <a:gd name="T93" fmla="*/ 1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8" h="41">
                  <a:moveTo>
                    <a:pt x="41" y="24"/>
                  </a:moveTo>
                  <a:cubicBezTo>
                    <a:pt x="36" y="24"/>
                    <a:pt x="36" y="24"/>
                    <a:pt x="36" y="24"/>
                  </a:cubicBezTo>
                  <a:cubicBezTo>
                    <a:pt x="36" y="25"/>
                    <a:pt x="36" y="26"/>
                    <a:pt x="35" y="27"/>
                  </a:cubicBezTo>
                  <a:cubicBezTo>
                    <a:pt x="36" y="27"/>
                    <a:pt x="36" y="28"/>
                    <a:pt x="36" y="28"/>
                  </a:cubicBezTo>
                  <a:cubicBezTo>
                    <a:pt x="36" y="30"/>
                    <a:pt x="35" y="32"/>
                    <a:pt x="34" y="33"/>
                  </a:cubicBezTo>
                  <a:cubicBezTo>
                    <a:pt x="34" y="38"/>
                    <a:pt x="31" y="41"/>
                    <a:pt x="26" y="41"/>
                  </a:cubicBezTo>
                  <a:cubicBezTo>
                    <a:pt x="23" y="41"/>
                    <a:pt x="20" y="40"/>
                    <a:pt x="17" y="39"/>
                  </a:cubicBezTo>
                  <a:cubicBezTo>
                    <a:pt x="15" y="39"/>
                    <a:pt x="13" y="38"/>
                    <a:pt x="11" y="38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1" y="38"/>
                    <a:pt x="0" y="36"/>
                    <a:pt x="0" y="34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5"/>
                    <a:pt x="1" y="14"/>
                    <a:pt x="3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2" y="14"/>
                    <a:pt x="14" y="11"/>
                    <a:pt x="15" y="10"/>
                  </a:cubicBezTo>
                  <a:cubicBezTo>
                    <a:pt x="16" y="9"/>
                    <a:pt x="17" y="8"/>
                    <a:pt x="18" y="7"/>
                  </a:cubicBezTo>
                  <a:cubicBezTo>
                    <a:pt x="19" y="4"/>
                    <a:pt x="20" y="0"/>
                    <a:pt x="24" y="0"/>
                  </a:cubicBezTo>
                  <a:cubicBezTo>
                    <a:pt x="28" y="0"/>
                    <a:pt x="32" y="2"/>
                    <a:pt x="32" y="7"/>
                  </a:cubicBezTo>
                  <a:cubicBezTo>
                    <a:pt x="32" y="8"/>
                    <a:pt x="31" y="9"/>
                    <a:pt x="31" y="10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45" y="10"/>
                    <a:pt x="48" y="13"/>
                    <a:pt x="48" y="17"/>
                  </a:cubicBezTo>
                  <a:cubicBezTo>
                    <a:pt x="48" y="21"/>
                    <a:pt x="45" y="24"/>
                    <a:pt x="41" y="24"/>
                  </a:cubicBezTo>
                  <a:close/>
                  <a:moveTo>
                    <a:pt x="5" y="31"/>
                  </a:moveTo>
                  <a:cubicBezTo>
                    <a:pt x="4" y="31"/>
                    <a:pt x="3" y="32"/>
                    <a:pt x="3" y="32"/>
                  </a:cubicBezTo>
                  <a:cubicBezTo>
                    <a:pt x="3" y="33"/>
                    <a:pt x="4" y="34"/>
                    <a:pt x="5" y="34"/>
                  </a:cubicBezTo>
                  <a:cubicBezTo>
                    <a:pt x="6" y="34"/>
                    <a:pt x="7" y="33"/>
                    <a:pt x="7" y="32"/>
                  </a:cubicBezTo>
                  <a:cubicBezTo>
                    <a:pt x="7" y="32"/>
                    <a:pt x="6" y="31"/>
                    <a:pt x="5" y="31"/>
                  </a:cubicBezTo>
                  <a:close/>
                  <a:moveTo>
                    <a:pt x="41" y="14"/>
                  </a:moveTo>
                  <a:cubicBezTo>
                    <a:pt x="26" y="14"/>
                    <a:pt x="26" y="14"/>
                    <a:pt x="26" y="14"/>
                  </a:cubicBezTo>
                  <a:cubicBezTo>
                    <a:pt x="26" y="12"/>
                    <a:pt x="28" y="10"/>
                    <a:pt x="28" y="7"/>
                  </a:cubicBezTo>
                  <a:cubicBezTo>
                    <a:pt x="28" y="4"/>
                    <a:pt x="26" y="3"/>
                    <a:pt x="24" y="3"/>
                  </a:cubicBezTo>
                  <a:cubicBezTo>
                    <a:pt x="23" y="3"/>
                    <a:pt x="22" y="6"/>
                    <a:pt x="21" y="7"/>
                  </a:cubicBezTo>
                  <a:cubicBezTo>
                    <a:pt x="21" y="8"/>
                    <a:pt x="21" y="8"/>
                    <a:pt x="20" y="9"/>
                  </a:cubicBezTo>
                  <a:cubicBezTo>
                    <a:pt x="20" y="10"/>
                    <a:pt x="19" y="11"/>
                    <a:pt x="17" y="13"/>
                  </a:cubicBezTo>
                  <a:cubicBezTo>
                    <a:pt x="16" y="15"/>
                    <a:pt x="14" y="17"/>
                    <a:pt x="11" y="17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6" y="34"/>
                    <a:pt x="20" y="38"/>
                    <a:pt x="25" y="38"/>
                  </a:cubicBezTo>
                  <a:cubicBezTo>
                    <a:pt x="28" y="38"/>
                    <a:pt x="30" y="36"/>
                    <a:pt x="30" y="33"/>
                  </a:cubicBezTo>
                  <a:cubicBezTo>
                    <a:pt x="30" y="33"/>
                    <a:pt x="30" y="32"/>
                    <a:pt x="30" y="32"/>
                  </a:cubicBezTo>
                  <a:cubicBezTo>
                    <a:pt x="31" y="31"/>
                    <a:pt x="32" y="29"/>
                    <a:pt x="32" y="28"/>
                  </a:cubicBezTo>
                  <a:cubicBezTo>
                    <a:pt x="32" y="28"/>
                    <a:pt x="32" y="27"/>
                    <a:pt x="32" y="26"/>
                  </a:cubicBezTo>
                  <a:cubicBezTo>
                    <a:pt x="33" y="26"/>
                    <a:pt x="33" y="24"/>
                    <a:pt x="33" y="23"/>
                  </a:cubicBezTo>
                  <a:cubicBezTo>
                    <a:pt x="33" y="22"/>
                    <a:pt x="33" y="21"/>
                    <a:pt x="32" y="20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3" y="20"/>
                    <a:pt x="44" y="19"/>
                    <a:pt x="44" y="17"/>
                  </a:cubicBezTo>
                  <a:cubicBezTo>
                    <a:pt x="44" y="15"/>
                    <a:pt x="43" y="14"/>
                    <a:pt x="41" y="14"/>
                  </a:cubicBezTo>
                  <a:close/>
                </a:path>
              </a:pathLst>
            </a:custGeom>
            <a:solidFill>
              <a:srgbClr val="F05A23"/>
            </a:solidFill>
            <a:ln>
              <a:noFill/>
            </a:ln>
          </p:spPr>
          <p:txBody>
            <a:bodyPr lIns="121920" tIns="60960" rIns="121920" bIns="6096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id-ID" sz="3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Arial" panose="020B0604020202020204" pitchFamily="34" charset="0"/>
              </a:endParaRPr>
            </a:p>
          </p:txBody>
        </p:sp>
      </p:grpSp>
      <p:sp>
        <p:nvSpPr>
          <p:cNvPr id="22" name="矩形 21">
            <a:extLst>
              <a:ext uri="{FF2B5EF4-FFF2-40B4-BE49-F238E27FC236}">
                <a16:creationId xmlns:a16="http://schemas.microsoft.com/office/drawing/2014/main" id="{87F0A949-09D7-729F-680F-7F127305F7BC}"/>
              </a:ext>
            </a:extLst>
          </p:cNvPr>
          <p:cNvSpPr/>
          <p:nvPr/>
        </p:nvSpPr>
        <p:spPr>
          <a:xfrm>
            <a:off x="6677226" y="3429000"/>
            <a:ext cx="2111582" cy="2487706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36000" tIns="108000" rIns="36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endParaRPr lang="zh-CN" altLang="en-US" sz="1100" b="1" kern="0">
              <a:solidFill>
                <a:prstClr val="black"/>
              </a:solidFill>
              <a:latin typeface="Arial"/>
              <a:ea typeface="华文楷体"/>
              <a:sym typeface="Arial" panose="020B0604020202020204" pitchFamily="34" charset="0"/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2BF93CBC-CFC2-24D4-DD0F-B2E5001468F5}"/>
              </a:ext>
            </a:extLst>
          </p:cNvPr>
          <p:cNvSpPr/>
          <p:nvPr/>
        </p:nvSpPr>
        <p:spPr>
          <a:xfrm>
            <a:off x="8986221" y="3429000"/>
            <a:ext cx="2004195" cy="2487706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36000" tIns="108000" rIns="36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endParaRPr lang="zh-CN" altLang="en-US" sz="1100" b="1" kern="0">
              <a:solidFill>
                <a:prstClr val="black"/>
              </a:solidFill>
              <a:latin typeface="Arial"/>
              <a:ea typeface="华文楷体"/>
              <a:sym typeface="Arial" panose="020B0604020202020204" pitchFamily="34" charset="0"/>
            </a:endParaRP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C801DE01-7287-D17C-049C-1E96EFE8F91B}"/>
              </a:ext>
            </a:extLst>
          </p:cNvPr>
          <p:cNvSpPr txBox="1"/>
          <p:nvPr/>
        </p:nvSpPr>
        <p:spPr>
          <a:xfrm>
            <a:off x="6677226" y="4298502"/>
            <a:ext cx="200419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dirty="0"/>
              <a:t>流感疫苗到货了</a:t>
            </a:r>
          </a:p>
        </p:txBody>
      </p:sp>
      <p:sp>
        <p:nvSpPr>
          <p:cNvPr id="26" name="流程图: 终止 25">
            <a:extLst>
              <a:ext uri="{FF2B5EF4-FFF2-40B4-BE49-F238E27FC236}">
                <a16:creationId xmlns:a16="http://schemas.microsoft.com/office/drawing/2014/main" id="{AF30D2FA-70A0-8EB4-1B45-356F8E3B3D16}"/>
              </a:ext>
            </a:extLst>
          </p:cNvPr>
          <p:cNvSpPr/>
          <p:nvPr/>
        </p:nvSpPr>
        <p:spPr>
          <a:xfrm>
            <a:off x="7177518" y="4978363"/>
            <a:ext cx="1003610" cy="369332"/>
          </a:xfrm>
          <a:prstGeom prst="flowChartTerminator">
            <a:avLst/>
          </a:prstGeom>
          <a:solidFill>
            <a:srgbClr val="FECEAF"/>
          </a:solidFill>
          <a:ln w="9525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zh-CN" altLang="en-US" sz="1100" b="1" kern="0" dirty="0">
                <a:solidFill>
                  <a:prstClr val="black"/>
                </a:solidFill>
                <a:latin typeface="Arial"/>
                <a:ea typeface="华文楷体"/>
                <a:sym typeface="Arial" panose="020B0604020202020204" pitchFamily="34" charset="0"/>
              </a:rPr>
              <a:t>点击查看</a:t>
            </a: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9D11DB98-8803-F032-6CAD-0A97CE85EC98}"/>
              </a:ext>
            </a:extLst>
          </p:cNvPr>
          <p:cNvSpPr txBox="1"/>
          <p:nvPr/>
        </p:nvSpPr>
        <p:spPr>
          <a:xfrm>
            <a:off x="8986221" y="4218131"/>
            <a:ext cx="2034848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dirty="0"/>
              <a:t>今年的流感疫苗</a:t>
            </a:r>
            <a:endParaRPr lang="en-US" altLang="zh-CN" sz="1600" dirty="0"/>
          </a:p>
          <a:p>
            <a:pPr algn="ctr"/>
            <a:r>
              <a:rPr lang="zh-CN" altLang="en-US" b="1" dirty="0"/>
              <a:t>你给宝宝接种了吗</a:t>
            </a:r>
          </a:p>
        </p:txBody>
      </p:sp>
      <p:sp>
        <p:nvSpPr>
          <p:cNvPr id="28" name="流程图: 终止 27">
            <a:extLst>
              <a:ext uri="{FF2B5EF4-FFF2-40B4-BE49-F238E27FC236}">
                <a16:creationId xmlns:a16="http://schemas.microsoft.com/office/drawing/2014/main" id="{D8A78A2C-E34E-9B1F-F72D-67FCAEAE4B54}"/>
              </a:ext>
            </a:extLst>
          </p:cNvPr>
          <p:cNvSpPr/>
          <p:nvPr/>
        </p:nvSpPr>
        <p:spPr>
          <a:xfrm>
            <a:off x="9258910" y="5008496"/>
            <a:ext cx="732913" cy="369332"/>
          </a:xfrm>
          <a:prstGeom prst="flowChartTerminator">
            <a:avLst/>
          </a:prstGeom>
          <a:solidFill>
            <a:srgbClr val="FECEAF"/>
          </a:solidFill>
          <a:ln w="9525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zh-CN" altLang="en-US" sz="1100" b="1" kern="0" dirty="0">
                <a:solidFill>
                  <a:prstClr val="black"/>
                </a:solidFill>
                <a:latin typeface="Arial"/>
                <a:ea typeface="华文楷体"/>
                <a:sym typeface="Arial" panose="020B0604020202020204" pitchFamily="34" charset="0"/>
              </a:rPr>
              <a:t>没有</a:t>
            </a:r>
          </a:p>
        </p:txBody>
      </p:sp>
      <p:sp>
        <p:nvSpPr>
          <p:cNvPr id="29" name="流程图: 终止 28">
            <a:extLst>
              <a:ext uri="{FF2B5EF4-FFF2-40B4-BE49-F238E27FC236}">
                <a16:creationId xmlns:a16="http://schemas.microsoft.com/office/drawing/2014/main" id="{E34B92E1-EB07-B945-E72B-69C3E6512BD9}"/>
              </a:ext>
            </a:extLst>
          </p:cNvPr>
          <p:cNvSpPr/>
          <p:nvPr/>
        </p:nvSpPr>
        <p:spPr>
          <a:xfrm>
            <a:off x="10130367" y="5017000"/>
            <a:ext cx="732913" cy="369332"/>
          </a:xfrm>
          <a:prstGeom prst="flowChartTerminator">
            <a:avLst/>
          </a:prstGeom>
          <a:solidFill>
            <a:srgbClr val="FECEAF"/>
          </a:solidFill>
          <a:ln w="9525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zh-CN" altLang="en-US" sz="1100" b="1" kern="0" dirty="0">
                <a:solidFill>
                  <a:prstClr val="black"/>
                </a:solidFill>
                <a:latin typeface="Arial"/>
                <a:ea typeface="华文楷体"/>
                <a:sym typeface="Arial" panose="020B0604020202020204" pitchFamily="34" charset="0"/>
              </a:rPr>
              <a:t>接种了</a:t>
            </a: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8A838496-608D-7009-29BC-74FD62728611}"/>
              </a:ext>
            </a:extLst>
          </p:cNvPr>
          <p:cNvSpPr txBox="1"/>
          <p:nvPr/>
        </p:nvSpPr>
        <p:spPr>
          <a:xfrm>
            <a:off x="7034132" y="6057958"/>
            <a:ext cx="1397770" cy="338554"/>
          </a:xfrm>
          <a:prstGeom prst="rect">
            <a:avLst/>
          </a:prstGeom>
        </p:spPr>
        <p:txBody>
          <a:bodyPr vert="horz" wrap="square" lIns="90000" tIns="45720" rIns="91440" bIns="45720" rtlCol="0" anchor="ctr" anchorCtr="1">
            <a:spAutoFit/>
          </a:bodyPr>
          <a:lstStyle/>
          <a:p>
            <a:pPr algn="l"/>
            <a:r>
              <a:rPr lang="zh-CN" altLang="en-US" sz="1600" b="1" dirty="0">
                <a:solidFill>
                  <a:srgbClr val="F05A23"/>
                </a:solidFill>
                <a:latin typeface="+mn-ea"/>
              </a:rPr>
              <a:t>点击率</a:t>
            </a:r>
            <a:r>
              <a:rPr lang="en-US" altLang="zh-CN" sz="1600" b="1" dirty="0">
                <a:solidFill>
                  <a:srgbClr val="F05A23"/>
                </a:solidFill>
                <a:latin typeface="+mn-ea"/>
              </a:rPr>
              <a:t>0.62%</a:t>
            </a:r>
            <a:endParaRPr lang="zh-CN" altLang="en-US" sz="1600" b="1" dirty="0">
              <a:solidFill>
                <a:srgbClr val="F05A23"/>
              </a:solidFill>
              <a:latin typeface="+mn-ea"/>
            </a:endParaRP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0FB004DA-A1B9-27A8-702D-E63286EEB604}"/>
              </a:ext>
            </a:extLst>
          </p:cNvPr>
          <p:cNvSpPr txBox="1"/>
          <p:nvPr/>
        </p:nvSpPr>
        <p:spPr>
          <a:xfrm>
            <a:off x="9258910" y="6077888"/>
            <a:ext cx="1414225" cy="338554"/>
          </a:xfrm>
          <a:prstGeom prst="rect">
            <a:avLst/>
          </a:prstGeom>
        </p:spPr>
        <p:txBody>
          <a:bodyPr vert="horz" wrap="square" lIns="90000" tIns="45720" rIns="91440" bIns="45720" rtlCol="0" anchor="ctr" anchorCtr="1">
            <a:spAutoFit/>
          </a:bodyPr>
          <a:lstStyle/>
          <a:p>
            <a:pPr algn="l"/>
            <a:r>
              <a:rPr lang="zh-CN" altLang="en-US" sz="1600" b="1" dirty="0">
                <a:solidFill>
                  <a:srgbClr val="F05A23"/>
                </a:solidFill>
                <a:latin typeface="+mn-ea"/>
              </a:rPr>
              <a:t>点击率</a:t>
            </a:r>
            <a:r>
              <a:rPr lang="en-US" altLang="zh-CN" sz="1600" b="1" dirty="0">
                <a:solidFill>
                  <a:srgbClr val="F05A23"/>
                </a:solidFill>
                <a:latin typeface="+mn-ea"/>
              </a:rPr>
              <a:t>21.04%</a:t>
            </a:r>
            <a:endParaRPr lang="zh-CN" altLang="en-US" sz="1600" b="1" dirty="0">
              <a:solidFill>
                <a:srgbClr val="F05A23"/>
              </a:solidFill>
              <a:latin typeface="+mn-ea"/>
            </a:endParaRPr>
          </a:p>
        </p:txBody>
      </p:sp>
      <p:sp>
        <p:nvSpPr>
          <p:cNvPr id="33" name="文本框 32">
            <a:extLst>
              <a:ext uri="{FF2B5EF4-FFF2-40B4-BE49-F238E27FC236}">
                <a16:creationId xmlns:a16="http://schemas.microsoft.com/office/drawing/2014/main" id="{E4E92F21-134A-41F1-C86F-8FAC3C378EDD}"/>
              </a:ext>
            </a:extLst>
          </p:cNvPr>
          <p:cNvSpPr txBox="1"/>
          <p:nvPr/>
        </p:nvSpPr>
        <p:spPr>
          <a:xfrm>
            <a:off x="841853" y="4290807"/>
            <a:ext cx="453303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/>
              <a:t>2</a:t>
            </a:r>
            <a:r>
              <a:rPr lang="zh-CN" altLang="en-US" dirty="0"/>
              <a:t>、你的宝宝生长发育达标吗？添加成长记录，帮你科学监测！立即添加</a:t>
            </a:r>
            <a:r>
              <a:rPr lang="en-US" altLang="zh-CN" dirty="0"/>
              <a:t>&gt;&gt;</a:t>
            </a:r>
            <a:endParaRPr lang="zh-CN" altLang="en-US" dirty="0"/>
          </a:p>
        </p:txBody>
      </p:sp>
      <p:sp>
        <p:nvSpPr>
          <p:cNvPr id="34" name="文本框 33">
            <a:extLst>
              <a:ext uri="{FF2B5EF4-FFF2-40B4-BE49-F238E27FC236}">
                <a16:creationId xmlns:a16="http://schemas.microsoft.com/office/drawing/2014/main" id="{29938D08-3D2D-8FE5-8ABD-F6B5E282F456}"/>
              </a:ext>
            </a:extLst>
          </p:cNvPr>
          <p:cNvSpPr txBox="1"/>
          <p:nvPr/>
        </p:nvSpPr>
        <p:spPr>
          <a:xfrm>
            <a:off x="1984326" y="3803293"/>
            <a:ext cx="1397770" cy="338554"/>
          </a:xfrm>
          <a:prstGeom prst="rect">
            <a:avLst/>
          </a:prstGeom>
        </p:spPr>
        <p:txBody>
          <a:bodyPr vert="horz" wrap="square" lIns="90000" tIns="45720" rIns="91440" bIns="45720" rtlCol="0" anchor="ctr" anchorCtr="1">
            <a:spAutoFit/>
          </a:bodyPr>
          <a:lstStyle/>
          <a:p>
            <a:pPr algn="l"/>
            <a:r>
              <a:rPr lang="zh-CN" altLang="en-US" sz="1600" b="1" dirty="0">
                <a:solidFill>
                  <a:srgbClr val="F05A23"/>
                </a:solidFill>
                <a:latin typeface="+mn-ea"/>
              </a:rPr>
              <a:t>点击率</a:t>
            </a:r>
            <a:r>
              <a:rPr lang="en-US" altLang="zh-CN" sz="1600" b="1" dirty="0">
                <a:solidFill>
                  <a:srgbClr val="F05A23"/>
                </a:solidFill>
                <a:latin typeface="+mn-ea"/>
              </a:rPr>
              <a:t>1.49%</a:t>
            </a:r>
            <a:endParaRPr lang="zh-CN" altLang="en-US" sz="1600" b="1" dirty="0">
              <a:solidFill>
                <a:srgbClr val="F05A23"/>
              </a:solidFill>
              <a:latin typeface="+mn-ea"/>
            </a:endParaRPr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4B9ABEC4-2A6B-BA2C-4ED9-869A318B4A22}"/>
              </a:ext>
            </a:extLst>
          </p:cNvPr>
          <p:cNvSpPr txBox="1"/>
          <p:nvPr/>
        </p:nvSpPr>
        <p:spPr>
          <a:xfrm>
            <a:off x="1984326" y="5047778"/>
            <a:ext cx="1397770" cy="338554"/>
          </a:xfrm>
          <a:prstGeom prst="rect">
            <a:avLst/>
          </a:prstGeom>
        </p:spPr>
        <p:txBody>
          <a:bodyPr vert="horz" wrap="square" lIns="90000" tIns="45720" rIns="91440" bIns="45720" rtlCol="0" anchor="ctr" anchorCtr="1">
            <a:spAutoFit/>
          </a:bodyPr>
          <a:lstStyle/>
          <a:p>
            <a:pPr algn="l"/>
            <a:r>
              <a:rPr lang="zh-CN" altLang="en-US" sz="1600" b="1" dirty="0">
                <a:solidFill>
                  <a:srgbClr val="F05A23"/>
                </a:solidFill>
                <a:latin typeface="+mn-ea"/>
              </a:rPr>
              <a:t>点击率</a:t>
            </a:r>
            <a:r>
              <a:rPr lang="en-US" altLang="zh-CN" sz="1600" b="1" dirty="0">
                <a:solidFill>
                  <a:srgbClr val="F05A23"/>
                </a:solidFill>
                <a:latin typeface="+mn-ea"/>
              </a:rPr>
              <a:t>25.76%</a:t>
            </a:r>
            <a:endParaRPr lang="zh-CN" altLang="en-US" sz="1600" b="1" dirty="0">
              <a:solidFill>
                <a:srgbClr val="F05A23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8722211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805780" y="3816481"/>
            <a:ext cx="10934700" cy="720000"/>
          </a:xfrm>
        </p:spPr>
        <p:txBody>
          <a:bodyPr/>
          <a:lstStyle/>
          <a:p>
            <a:pPr algn="ctr"/>
            <a:r>
              <a:rPr lang="zh-CN" altLang="en-US" sz="3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转化之道 有迹可循</a:t>
            </a:r>
          </a:p>
        </p:txBody>
      </p:sp>
      <p:sp>
        <p:nvSpPr>
          <p:cNvPr id="33" name="文本框 32">
            <a:extLst>
              <a:ext uri="{FF2B5EF4-FFF2-40B4-BE49-F238E27FC236}">
                <a16:creationId xmlns:a16="http://schemas.microsoft.com/office/drawing/2014/main" id="{7AFC2838-CF4E-43A9-9D9C-867B10CE8878}"/>
              </a:ext>
            </a:extLst>
          </p:cNvPr>
          <p:cNvSpPr txBox="1">
            <a:spLocks/>
          </p:cNvSpPr>
          <p:nvPr/>
        </p:nvSpPr>
        <p:spPr>
          <a:xfrm>
            <a:off x="5567362" y="2921131"/>
            <a:ext cx="1057275" cy="89535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10000"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6600" dirty="0">
                <a:solidFill>
                  <a:srgbClr val="FC6C1C"/>
                </a:solidFill>
                <a:latin typeface="Arial" panose="020B0604020202020204" pitchFamily="34" charset="0"/>
                <a:ea typeface="华文楷体" panose="02010600040101010101" pitchFamily="2" charset="-122"/>
              </a:rPr>
              <a:t>02</a:t>
            </a:r>
            <a:endParaRPr lang="zh-CN" altLang="en-US" sz="6600" dirty="0">
              <a:solidFill>
                <a:srgbClr val="FC6C1C"/>
              </a:solidFill>
              <a:latin typeface="Arial" panose="020B0604020202020204" pitchFamily="34" charset="0"/>
              <a:ea typeface="华文楷体" panose="02010600040101010101" pitchFamily="2" charset="-122"/>
            </a:endParaRPr>
          </a:p>
        </p:txBody>
      </p:sp>
      <p:pic>
        <p:nvPicPr>
          <p:cNvPr id="122" name="图片 121">
            <a:extLst>
              <a:ext uri="{FF2B5EF4-FFF2-40B4-BE49-F238E27FC236}">
                <a16:creationId xmlns:a16="http://schemas.microsoft.com/office/drawing/2014/main" id="{150FA2AE-8371-873E-0E67-A9B69B9AD5D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3035" y="299594"/>
            <a:ext cx="1837445" cy="5014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0194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1.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R7ZrdbSp6sj4BiaRrhM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g6F_FgQmWgvO7pRubLv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g6F_FgQmWgvO7pRubLv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R7ZrdbSp6sj4BiaRrhM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R7ZrdbSp6sj4BiaRrhM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R7ZrdbSp6sj4BiaRrhM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g6F_FgQmWgvO7pRubLv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R7ZrdbSp6sj4BiaRrhM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g6F_FgQmWgvO7pRubLv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JWICArRGOUzWgcxeJV6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R7ZrdbSp6sj4BiaRrhM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g6F_FgQmWgvO7pRubLv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JWICArRGOUzWgcxeJV6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JWICArRGOUzWgcxeJV6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JWICArRGOUzWgcxeJV6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R7ZrdbSp6sj4BiaRrhM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g6F_FgQmWgvO7pRubLv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g6F_FgQmWgvO7pRubLv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1.3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1.3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1.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1.3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1.3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1.3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1.3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1.3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1.3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1.3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1.3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1.3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1.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1.3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1.3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1.3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1.3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1.3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1.3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1.3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1.3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1.3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1.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1.3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1.3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1.3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1.3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1.3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1.3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1.3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1.3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1.3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1.3"/>
</p:tagLst>
</file>

<file path=ppt/theme/theme1.xml><?xml version="1.0" encoding="utf-8"?>
<a:theme xmlns:a="http://schemas.openxmlformats.org/drawingml/2006/main" name="1_主题5">
  <a:themeElements>
    <a:clrScheme name="2019机要模板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05A23"/>
      </a:accent1>
      <a:accent2>
        <a:srgbClr val="F05A23"/>
      </a:accent2>
      <a:accent3>
        <a:srgbClr val="FECEAF"/>
      </a:accent3>
      <a:accent4>
        <a:srgbClr val="FECEAF"/>
      </a:accent4>
      <a:accent5>
        <a:srgbClr val="7F7F7F"/>
      </a:accent5>
      <a:accent6>
        <a:srgbClr val="5B9BD5"/>
      </a:accent6>
      <a:hlink>
        <a:srgbClr val="0563C1"/>
      </a:hlink>
      <a:folHlink>
        <a:srgbClr val="954F72"/>
      </a:folHlink>
    </a:clrScheme>
    <a:fontScheme name="font">
      <a:majorFont>
        <a:latin typeface="Arial"/>
        <a:ea typeface="华文楷体"/>
        <a:cs typeface=""/>
      </a:majorFont>
      <a:minorFont>
        <a:latin typeface="Arial"/>
        <a:ea typeface="华文楷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chemeClr val="bg1"/>
        </a:solidFill>
        <a:ln w="28575">
          <a:noFill/>
          <a:prstDash val="solid"/>
          <a:round/>
          <a:headEnd/>
          <a:tailEnd/>
        </a:ln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algn="ctr">
          <a:defRPr dirty="0"/>
        </a:defPPr>
      </a:lstStyle>
    </a:spDef>
    <a:lnDef>
      <a:spPr>
        <a:ln>
          <a:solidFill>
            <a:schemeClr val="bg1">
              <a:lumMod val="75000"/>
            </a:scheme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91440" tIns="45720" rIns="91440" bIns="45720" rtlCol="0">
        <a:normAutofit/>
      </a:bodyPr>
      <a:lstStyle>
        <a:defPPr marL="285750" indent="-180000">
          <a:buFont typeface="Arial" panose="020B0604020202020204" pitchFamily="34" charset="0"/>
          <a:buChar char="•"/>
          <a:defRPr sz="1800" b="1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演示文稿13" id="{ACF0B2A5-81DC-4750-BE2C-C12175841C30}" vid="{CFB14263-37E8-4E67-A847-6DE9DF2635E7}"/>
    </a:ext>
  </a:extLst>
</a:theme>
</file>

<file path=ppt/theme/theme10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5_主题5">
  <a:themeElements>
    <a:clrScheme name="平安橙">
      <a:dk1>
        <a:srgbClr val="000000"/>
      </a:dk1>
      <a:lt1>
        <a:srgbClr val="FFFFFF"/>
      </a:lt1>
      <a:dk2>
        <a:srgbClr val="F05A23"/>
      </a:dk2>
      <a:lt2>
        <a:srgbClr val="FFFFFF"/>
      </a:lt2>
      <a:accent1>
        <a:srgbClr val="F05A23"/>
      </a:accent1>
      <a:accent2>
        <a:srgbClr val="FE8637"/>
      </a:accent2>
      <a:accent3>
        <a:srgbClr val="FEB687"/>
      </a:accent3>
      <a:accent4>
        <a:srgbClr val="FECEAF"/>
      </a:accent4>
      <a:accent5>
        <a:srgbClr val="FEE6D7"/>
      </a:accent5>
      <a:accent6>
        <a:srgbClr val="ABABAB"/>
      </a:accent6>
      <a:hlink>
        <a:srgbClr val="FE8637"/>
      </a:hlink>
      <a:folHlink>
        <a:srgbClr val="7F7F7F"/>
      </a:folHlink>
    </a:clrScheme>
    <a:fontScheme name="font">
      <a:majorFont>
        <a:latin typeface="Arial"/>
        <a:ea typeface="华文楷体"/>
        <a:cs typeface=""/>
      </a:majorFont>
      <a:minorFont>
        <a:latin typeface="Arial"/>
        <a:ea typeface="华文楷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ysClr val="window" lastClr="FFFFFF"/>
        </a:solidFill>
        <a:ln w="9525" cap="flat" cmpd="sng" algn="ctr">
          <a:solidFill>
            <a:schemeClr val="accent1">
              <a:lumMod val="60000"/>
              <a:lumOff val="40000"/>
            </a:schemeClr>
          </a:solidFill>
          <a:prstDash val="solid"/>
          <a:miter lim="800000"/>
        </a:ln>
        <a:effectLst/>
      </a:spPr>
      <a:bodyPr rot="0" spcFirstLastPara="0" vertOverflow="overflow" horzOverflow="overflow" vert="horz" wrap="square" lIns="36000" tIns="108000" rIns="36000" bIns="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1" fontAlgn="auto" latinLnBrk="0" hangingPunct="1">
          <a:lnSpc>
            <a:spcPct val="100000"/>
          </a:lnSpc>
          <a:spcBef>
            <a:spcPts val="0"/>
          </a:spcBef>
          <a:buClrTx/>
          <a:buSzTx/>
          <a:buFontTx/>
          <a:buNone/>
          <a:tabLst/>
          <a:defRPr sz="1100" b="1" kern="0">
            <a:solidFill>
              <a:prstClr val="black"/>
            </a:solidFill>
            <a:latin typeface="Arial"/>
            <a:ea typeface="华文楷体"/>
            <a:sym typeface="Arial" panose="020B0604020202020204" pitchFamily="34" charset="0"/>
          </a:defRPr>
        </a:defPPr>
      </a:lstStyle>
    </a:spDef>
    <a:lnDef>
      <a:spPr>
        <a:ln>
          <a:solidFill>
            <a:schemeClr val="accent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none" lIns="90000" tIns="45720" rIns="91440" bIns="45720" rtlCol="0" anchor="ctr" anchorCtr="1">
        <a:spAutoFit/>
      </a:bodyPr>
      <a:lstStyle>
        <a:defPPr algn="l">
          <a:defRPr sz="1600" smtClean="0">
            <a:latin typeface="+mn-e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PingAn 16:9">
  <a:themeElements>
    <a:clrScheme name="PingAn">
      <a:dk1>
        <a:sysClr val="windowText" lastClr="000000"/>
      </a:dk1>
      <a:lt1>
        <a:sysClr val="window" lastClr="FFFFFF"/>
      </a:lt1>
      <a:dk2>
        <a:srgbClr val="575F6D"/>
      </a:dk2>
      <a:lt2>
        <a:srgbClr val="E3E4E6"/>
      </a:lt2>
      <a:accent1>
        <a:srgbClr val="FE8637"/>
      </a:accent1>
      <a:accent2>
        <a:srgbClr val="B32C16"/>
      </a:accent2>
      <a:accent3>
        <a:srgbClr val="FFCC00"/>
      </a:accent3>
      <a:accent4>
        <a:srgbClr val="B96400"/>
      </a:accent4>
      <a:accent5>
        <a:srgbClr val="777C84"/>
      </a:accent5>
      <a:accent6>
        <a:srgbClr val="5B9BD5"/>
      </a:accent6>
      <a:hlink>
        <a:srgbClr val="7598D9"/>
      </a:hlink>
      <a:folHlink>
        <a:srgbClr val="3B435B"/>
      </a:folHlink>
    </a:clrScheme>
    <a:fontScheme name="Ping An">
      <a:majorFont>
        <a:latin typeface="Arial"/>
        <a:ea typeface="华文楷体"/>
        <a:cs typeface=""/>
      </a:majorFont>
      <a:minorFont>
        <a:latin typeface="Arial"/>
        <a:ea typeface="华文楷体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9525" cap="rnd" cmpd="sng" algn="ctr">
          <a:noFill/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概念结构 - Slide 13.potx" id="{E0ADC910-3E14-4CF4-B8F7-83936D44F557}" vid="{F8EABB20-FA57-4AA7-9397-5ECEDB0D144F}"/>
    </a:ext>
  </a:extLst>
</a:theme>
</file>

<file path=ppt/theme/theme4.xml><?xml version="1.0" encoding="utf-8"?>
<a:theme xmlns:a="http://schemas.openxmlformats.org/drawingml/2006/main" name="1_PingAn 16:9">
  <a:themeElements>
    <a:clrScheme name="PingAn">
      <a:dk1>
        <a:sysClr val="windowText" lastClr="000000"/>
      </a:dk1>
      <a:lt1>
        <a:sysClr val="window" lastClr="FFFFFF"/>
      </a:lt1>
      <a:dk2>
        <a:srgbClr val="575F6D"/>
      </a:dk2>
      <a:lt2>
        <a:srgbClr val="E3E4E6"/>
      </a:lt2>
      <a:accent1>
        <a:srgbClr val="FE8637"/>
      </a:accent1>
      <a:accent2>
        <a:srgbClr val="B32C16"/>
      </a:accent2>
      <a:accent3>
        <a:srgbClr val="FFCC00"/>
      </a:accent3>
      <a:accent4>
        <a:srgbClr val="B96400"/>
      </a:accent4>
      <a:accent5>
        <a:srgbClr val="777C84"/>
      </a:accent5>
      <a:accent6>
        <a:srgbClr val="5B9BD5"/>
      </a:accent6>
      <a:hlink>
        <a:srgbClr val="7598D9"/>
      </a:hlink>
      <a:folHlink>
        <a:srgbClr val="3B435B"/>
      </a:folHlink>
    </a:clrScheme>
    <a:fontScheme name="Ping An">
      <a:majorFont>
        <a:latin typeface="Arial"/>
        <a:ea typeface="华文楷体"/>
        <a:cs typeface=""/>
      </a:majorFont>
      <a:minorFont>
        <a:latin typeface="Arial"/>
        <a:ea typeface="华文楷体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9525" cap="rnd" cmpd="sng" algn="ctr">
          <a:noFill/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概念结构 - Slide 9.potx" id="{CD1E8BFA-D056-40D1-8ED7-E3432B813A39}" vid="{A4F627E0-B8D2-4886-B743-D338CDC6FC43}"/>
    </a:ext>
  </a:extLst>
</a:theme>
</file>

<file path=ppt/theme/theme5.xml><?xml version="1.0" encoding="utf-8"?>
<a:theme xmlns:a="http://schemas.openxmlformats.org/drawingml/2006/main" name="2_主题5">
  <a:themeElements>
    <a:clrScheme name="2019机要模板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05A23"/>
      </a:accent1>
      <a:accent2>
        <a:srgbClr val="F05A23"/>
      </a:accent2>
      <a:accent3>
        <a:srgbClr val="FECEAF"/>
      </a:accent3>
      <a:accent4>
        <a:srgbClr val="FECEAF"/>
      </a:accent4>
      <a:accent5>
        <a:srgbClr val="7F7F7F"/>
      </a:accent5>
      <a:accent6>
        <a:srgbClr val="5B9BD5"/>
      </a:accent6>
      <a:hlink>
        <a:srgbClr val="0563C1"/>
      </a:hlink>
      <a:folHlink>
        <a:srgbClr val="954F72"/>
      </a:folHlink>
    </a:clrScheme>
    <a:fontScheme name="font">
      <a:majorFont>
        <a:latin typeface="Arial"/>
        <a:ea typeface="华文楷体"/>
        <a:cs typeface=""/>
      </a:majorFont>
      <a:minorFont>
        <a:latin typeface="Arial"/>
        <a:ea typeface="华文楷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chemeClr val="accent1">
            <a:lumMod val="40000"/>
            <a:lumOff val="60000"/>
          </a:schemeClr>
        </a:solidFill>
        <a:ln w="0">
          <a:noFill/>
          <a:prstDash val="solid"/>
          <a:round/>
          <a:headEnd/>
          <a:tailEnd/>
        </a:ln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>
          <a:defRPr/>
        </a:defPPr>
      </a:lstStyle>
    </a:spDef>
    <a:lnDef>
      <a:spPr>
        <a:ln>
          <a:solidFill>
            <a:schemeClr val="bg1">
              <a:lumMod val="75000"/>
            </a:scheme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91440" tIns="45720" rIns="91440" bIns="45720" rtlCol="0">
        <a:normAutofit/>
      </a:bodyPr>
      <a:lstStyle>
        <a:defPPr marL="285750" indent="-180000">
          <a:buFont typeface="Arial" panose="020B0604020202020204" pitchFamily="34" charset="0"/>
          <a:buChar char="•"/>
          <a:defRPr sz="1800" b="1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演示文稿13" id="{ACF0B2A5-81DC-4750-BE2C-C12175841C30}" vid="{CFB14263-37E8-4E67-A847-6DE9DF2635E7}"/>
    </a:ext>
  </a:extLst>
</a:theme>
</file>

<file path=ppt/theme/theme6.xml><?xml version="1.0" encoding="utf-8"?>
<a:theme xmlns:a="http://schemas.openxmlformats.org/drawingml/2006/main" name="3_主题5">
  <a:themeElements>
    <a:clrScheme name="2019机要模板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05A23"/>
      </a:accent1>
      <a:accent2>
        <a:srgbClr val="F05A23"/>
      </a:accent2>
      <a:accent3>
        <a:srgbClr val="FECEAF"/>
      </a:accent3>
      <a:accent4>
        <a:srgbClr val="FECEAF"/>
      </a:accent4>
      <a:accent5>
        <a:srgbClr val="7F7F7F"/>
      </a:accent5>
      <a:accent6>
        <a:srgbClr val="5B9BD5"/>
      </a:accent6>
      <a:hlink>
        <a:srgbClr val="0563C1"/>
      </a:hlink>
      <a:folHlink>
        <a:srgbClr val="954F72"/>
      </a:folHlink>
    </a:clrScheme>
    <a:fontScheme name="font">
      <a:majorFont>
        <a:latin typeface="Arial"/>
        <a:ea typeface="华文楷体"/>
        <a:cs typeface=""/>
      </a:majorFont>
      <a:minorFont>
        <a:latin typeface="Arial"/>
        <a:ea typeface="华文楷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chemeClr val="accent1">
            <a:lumMod val="40000"/>
            <a:lumOff val="60000"/>
          </a:schemeClr>
        </a:solidFill>
        <a:ln w="0">
          <a:noFill/>
          <a:prstDash val="solid"/>
          <a:round/>
          <a:headEnd/>
          <a:tailEnd/>
        </a:ln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>
          <a:defRPr/>
        </a:defPPr>
      </a:lstStyle>
    </a:spDef>
    <a:lnDef>
      <a:spPr>
        <a:ln>
          <a:solidFill>
            <a:schemeClr val="bg1">
              <a:lumMod val="75000"/>
            </a:scheme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91440" tIns="45720" rIns="91440" bIns="45720" rtlCol="0">
        <a:normAutofit/>
      </a:bodyPr>
      <a:lstStyle>
        <a:defPPr marL="285750" indent="-180000">
          <a:buFont typeface="Arial" panose="020B0604020202020204" pitchFamily="34" charset="0"/>
          <a:buChar char="•"/>
          <a:defRPr sz="1800" b="1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演示文稿13" id="{ACF0B2A5-81DC-4750-BE2C-C12175841C30}" vid="{CFB14263-37E8-4E67-A847-6DE9DF2635E7}"/>
    </a:ext>
  </a:extLst>
</a:theme>
</file>

<file path=ppt/theme/theme7.xml><?xml version="1.0" encoding="utf-8"?>
<a:theme xmlns:a="http://schemas.openxmlformats.org/drawingml/2006/main" name="中国平安">
  <a:themeElements>
    <a:clrScheme name="自定义 2">
      <a:dk1>
        <a:srgbClr val="000000"/>
      </a:dk1>
      <a:lt1>
        <a:srgbClr val="FFFFFF"/>
      </a:lt1>
      <a:dk2>
        <a:srgbClr val="323232"/>
      </a:dk2>
      <a:lt2>
        <a:srgbClr val="E5DCD8"/>
      </a:lt2>
      <a:accent1>
        <a:srgbClr val="F25822"/>
      </a:accent1>
      <a:accent2>
        <a:srgbClr val="B19C7D"/>
      </a:accent2>
      <a:accent3>
        <a:srgbClr val="C02C04"/>
      </a:accent3>
      <a:accent4>
        <a:srgbClr val="7D5D50"/>
      </a:accent4>
      <a:accent5>
        <a:srgbClr val="B27D49"/>
      </a:accent5>
      <a:accent6>
        <a:srgbClr val="00713D"/>
      </a:accent6>
      <a:hlink>
        <a:srgbClr val="D35615"/>
      </a:hlink>
      <a:folHlink>
        <a:srgbClr val="B06A01"/>
      </a:folHlink>
    </a:clrScheme>
    <a:fontScheme name="自定义 11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lnSpc>
            <a:spcPct val="120000"/>
          </a:lnSpc>
          <a:defRPr kern="600" spc="16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6_主题5">
  <a:themeElements>
    <a:clrScheme name="平安橙">
      <a:dk1>
        <a:srgbClr val="000000"/>
      </a:dk1>
      <a:lt1>
        <a:srgbClr val="FFFFFF"/>
      </a:lt1>
      <a:dk2>
        <a:srgbClr val="F05A23"/>
      </a:dk2>
      <a:lt2>
        <a:srgbClr val="FFFFFF"/>
      </a:lt2>
      <a:accent1>
        <a:srgbClr val="F05A23"/>
      </a:accent1>
      <a:accent2>
        <a:srgbClr val="FE8637"/>
      </a:accent2>
      <a:accent3>
        <a:srgbClr val="FEB687"/>
      </a:accent3>
      <a:accent4>
        <a:srgbClr val="FECEAF"/>
      </a:accent4>
      <a:accent5>
        <a:srgbClr val="FEE6D7"/>
      </a:accent5>
      <a:accent6>
        <a:srgbClr val="ABABAB"/>
      </a:accent6>
      <a:hlink>
        <a:srgbClr val="FE8637"/>
      </a:hlink>
      <a:folHlink>
        <a:srgbClr val="7F7F7F"/>
      </a:folHlink>
    </a:clrScheme>
    <a:fontScheme name="font">
      <a:majorFont>
        <a:latin typeface="Arial"/>
        <a:ea typeface="华文楷体"/>
        <a:cs typeface=""/>
      </a:majorFont>
      <a:minorFont>
        <a:latin typeface="Arial"/>
        <a:ea typeface="华文楷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ysClr val="window" lastClr="FFFFFF"/>
        </a:solidFill>
        <a:ln w="9525" cap="flat" cmpd="sng" algn="ctr">
          <a:solidFill>
            <a:schemeClr val="accent1">
              <a:lumMod val="60000"/>
              <a:lumOff val="40000"/>
            </a:schemeClr>
          </a:solidFill>
          <a:prstDash val="solid"/>
          <a:miter lim="800000"/>
        </a:ln>
        <a:effectLst/>
      </a:spPr>
      <a:bodyPr rot="0" spcFirstLastPara="0" vertOverflow="overflow" horzOverflow="overflow" vert="horz" wrap="square" lIns="36000" tIns="108000" rIns="36000" bIns="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1" fontAlgn="auto" latinLnBrk="0" hangingPunct="1">
          <a:lnSpc>
            <a:spcPct val="100000"/>
          </a:lnSpc>
          <a:spcBef>
            <a:spcPts val="0"/>
          </a:spcBef>
          <a:buClrTx/>
          <a:buSzTx/>
          <a:buFontTx/>
          <a:buNone/>
          <a:tabLst/>
          <a:defRPr sz="1100" b="1" kern="0">
            <a:solidFill>
              <a:prstClr val="black"/>
            </a:solidFill>
            <a:latin typeface="Arial"/>
            <a:ea typeface="华文楷体"/>
            <a:sym typeface="Arial" panose="020B0604020202020204" pitchFamily="34" charset="0"/>
          </a:defRPr>
        </a:defPPr>
      </a:lstStyle>
    </a:spDef>
    <a:lnDef>
      <a:spPr>
        <a:ln>
          <a:solidFill>
            <a:schemeClr val="accent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none" lIns="90000" tIns="45720" rIns="91440" bIns="45720" rtlCol="0" anchor="ctr" anchorCtr="1">
        <a:spAutoFit/>
      </a:bodyPr>
      <a:lstStyle>
        <a:defPPr algn="l">
          <a:defRPr sz="1600" smtClean="0">
            <a:latin typeface="+mn-e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个人工作总结</Template>
  <TotalTime>76603</TotalTime>
  <Words>3019</Words>
  <Application>Microsoft Office PowerPoint</Application>
  <PresentationFormat>宽屏</PresentationFormat>
  <Paragraphs>454</Paragraphs>
  <Slides>42</Slides>
  <Notes>36</Notes>
  <HiddenSlides>0</HiddenSlides>
  <MMClips>0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8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42</vt:i4>
      </vt:variant>
    </vt:vector>
  </HeadingPairs>
  <TitlesOfParts>
    <vt:vector size="62" baseType="lpstr">
      <vt:lpstr>DengXian</vt:lpstr>
      <vt:lpstr>DengXian</vt:lpstr>
      <vt:lpstr>华文楷体</vt:lpstr>
      <vt:lpstr>Microsoft YaHei</vt:lpstr>
      <vt:lpstr>Microsoft YaHei</vt:lpstr>
      <vt:lpstr>Arial</vt:lpstr>
      <vt:lpstr>Calibri</vt:lpstr>
      <vt:lpstr>Impact</vt:lpstr>
      <vt:lpstr>Trebuchet MS</vt:lpstr>
      <vt:lpstr>Wingdings</vt:lpstr>
      <vt:lpstr>1_主题5</vt:lpstr>
      <vt:lpstr>5_主题5</vt:lpstr>
      <vt:lpstr>PingAn 16:9</vt:lpstr>
      <vt:lpstr>1_PingAn 16:9</vt:lpstr>
      <vt:lpstr>2_主题5</vt:lpstr>
      <vt:lpstr>3_主题5</vt:lpstr>
      <vt:lpstr>中国平安</vt:lpstr>
      <vt:lpstr>6_主题5</vt:lpstr>
      <vt:lpstr>think-cell Slide</vt:lpstr>
      <vt:lpstr>think-cell 幻灯片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文案之力 非同小可</vt:lpstr>
      <vt:lpstr>PowerPoint 演示文稿</vt:lpstr>
      <vt:lpstr>PowerPoint 演示文稿</vt:lpstr>
      <vt:lpstr>转化之道 有迹可循</vt:lpstr>
      <vt:lpstr>PowerPoint 演示文稿</vt:lpstr>
      <vt:lpstr>PowerPoint 演示文稿</vt:lpstr>
      <vt:lpstr>PowerPoint 演示文稿</vt:lpstr>
      <vt:lpstr>解密之钥 人人可取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PAI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Windows 用户</dc:creator>
  <cp:lastModifiedBy>wxf 666</cp:lastModifiedBy>
  <cp:revision>654</cp:revision>
  <cp:lastPrinted>2024-02-29T13:26:05Z</cp:lastPrinted>
  <dcterms:created xsi:type="dcterms:W3CDTF">2022-04-25T10:45:31Z</dcterms:created>
  <dcterms:modified xsi:type="dcterms:W3CDTF">2024-08-13T01:52:21Z</dcterms:modified>
</cp:coreProperties>
</file>